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Ex2.xml" ContentType="application/vnd.ms-office.chartex+xml"/>
  <Override PartName="/ppt/charts/style6.xml" ContentType="application/vnd.ms-office.chartstyle+xml"/>
  <Override PartName="/ppt/charts/colors6.xml" ContentType="application/vnd.ms-office.chartcolorstyle+xml"/>
  <Override PartName="/ppt/charts/chartEx3.xml" ContentType="application/vnd.ms-office.chartex+xml"/>
  <Override PartName="/ppt/charts/style7.xml" ContentType="application/vnd.ms-office.chartstyle+xml"/>
  <Override PartName="/ppt/charts/colors7.xml" ContentType="application/vnd.ms-office.chartcolorstyle+xml"/>
  <Override PartName="/ppt/charts/chartEx4.xml" ContentType="application/vnd.ms-office.chartex+xml"/>
  <Override PartName="/ppt/charts/style8.xml" ContentType="application/vnd.ms-office.chartstyle+xml"/>
  <Override PartName="/ppt/charts/colors8.xml" ContentType="application/vnd.ms-office.chartcolorstyle+xml"/>
  <Override PartName="/ppt/notesSlides/notesSlide2.xml" ContentType="application/vnd.openxmlformats-officedocument.presentationml.notesSlide+xml"/>
  <Override PartName="/ppt/charts/chart5.xml" ContentType="application/vnd.openxmlformats-officedocument.drawingml.chart+xml"/>
  <Override PartName="/ppt/charts/style9.xml" ContentType="application/vnd.ms-office.chartstyle+xml"/>
  <Override PartName="/ppt/charts/colors9.xml" ContentType="application/vnd.ms-office.chartcolorstyle+xml"/>
  <Override PartName="/ppt/charts/chart6.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7.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8.xml" ContentType="application/vnd.openxmlformats-officedocument.drawingml.chart+xml"/>
  <Override PartName="/ppt/charts/style12.xml" ContentType="application/vnd.ms-office.chartstyle+xml"/>
  <Override PartName="/ppt/charts/colors1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EF2"/>
    <a:srgbClr val="2F5597"/>
    <a:srgbClr val="002C46"/>
    <a:srgbClr val="FDE6B8"/>
    <a:srgbClr val="FDDA95"/>
    <a:srgbClr val="FFFFFF"/>
    <a:srgbClr val="FBC14E"/>
    <a:srgbClr val="AABFD6"/>
    <a:srgbClr val="8497B0"/>
    <a:srgbClr val="657E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80" d="100"/>
          <a:sy n="80" d="100"/>
        </p:scale>
        <p:origin x="360"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D:\SpringBorad%20Projects\8.Statistics\SWC%20Inferential%20Statistics%20Demoti%20Ravi%20Chandra.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SpringBorad%20Projects\8.Statistics\SWC%20Inferential%20Statistics%20Demoti%20Ravi%20Chandr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SpringBorad%20Projects\8.Statistics\SWC%20Inferential%20Statistics%20Demoti%20Ravi%20Chandra.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SpringBorad%20Projects\8.Statistics\SWC%20Inferential%20Statistics%20Demoti%20Ravi%20Chandra.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D:\SpringBorad%20Projects\8.Statistics\SWC%20Inferential%20Statistics%20Demoti%20Ravi%20Chandra.xlsx" TargetMode="External"/><Relationship Id="rId2" Type="http://schemas.microsoft.com/office/2011/relationships/chartColorStyle" Target="colors9.xml"/><Relationship Id="rId1" Type="http://schemas.microsoft.com/office/2011/relationships/chartStyle" Target="style9.xml"/></Relationships>
</file>

<file path=ppt/charts/_rels/chart6.xml.rels><?xml version="1.0" encoding="UTF-8" standalone="yes"?>
<Relationships xmlns="http://schemas.openxmlformats.org/package/2006/relationships"><Relationship Id="rId3" Type="http://schemas.openxmlformats.org/officeDocument/2006/relationships/oleObject" Target="file:///D:\SpringBorad%20Projects\8.Statistics\SWC%20Inferential%20Statistics%20Demoti%20Ravi%20Chandra.xlsx" TargetMode="External"/><Relationship Id="rId2" Type="http://schemas.microsoft.com/office/2011/relationships/chartColorStyle" Target="colors10.xml"/><Relationship Id="rId1" Type="http://schemas.microsoft.com/office/2011/relationships/chartStyle" Target="style10.xml"/></Relationships>
</file>

<file path=ppt/charts/_rels/chart7.xml.rels><?xml version="1.0" encoding="UTF-8" standalone="yes"?>
<Relationships xmlns="http://schemas.openxmlformats.org/package/2006/relationships"><Relationship Id="rId3" Type="http://schemas.openxmlformats.org/officeDocument/2006/relationships/oleObject" Target="file:///D:\SpringBorad%20Projects\8.Statistics\SWC%20Inferential%20Statistics%20Demoti%20Ravi%20Chandra.xlsx" TargetMode="External"/><Relationship Id="rId2" Type="http://schemas.microsoft.com/office/2011/relationships/chartColorStyle" Target="colors11.xml"/><Relationship Id="rId1" Type="http://schemas.microsoft.com/office/2011/relationships/chartStyle" Target="style11.xml"/></Relationships>
</file>

<file path=ppt/charts/_rels/chart8.xml.rels><?xml version="1.0" encoding="UTF-8" standalone="yes"?>
<Relationships xmlns="http://schemas.openxmlformats.org/package/2006/relationships"><Relationship Id="rId3" Type="http://schemas.openxmlformats.org/officeDocument/2006/relationships/oleObject" Target="file:///D:\SpringBorad%20Projects\8.Statistics\SWC%20Inferential%20Statistics%20Demoti%20Ravi%20Chandra.xlsx" TargetMode="External"/><Relationship Id="rId2" Type="http://schemas.microsoft.com/office/2011/relationships/chartColorStyle" Target="colors12.xml"/><Relationship Id="rId1" Type="http://schemas.microsoft.com/office/2011/relationships/chartStyle" Target="style12.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D:\SpringBorad%20Projects\8.Statistics\SWC%20Descriptive%20Statistics%20Demoti%20Ravi%20Chandra.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file:///D:\SpringBorad%20Projects\8.Statistics\SWC%20Descriptive%20Statistics%20Demoti%20Ravi%20Chandra.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file:///D:\SpringBorad%20Projects\8.Statistics\SWC%20Descriptive%20Statistics%20Demoti%20Ravi%20Chandra.xlsx"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oleObject" Target="file:///D:\SpringBorad%20Projects\8.Statistics\SWC%20Descriptive%20Statistics%20Demoti%20Ravi%20Chandra.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highlight>
                  <a:srgbClr val="2F5597"/>
                </a:highlight>
                <a:latin typeface="+mn-lt"/>
                <a:ea typeface="+mn-ea"/>
                <a:cs typeface="+mn-cs"/>
              </a:defRPr>
            </a:pPr>
            <a:r>
              <a:rPr lang="en-US" b="1" dirty="0">
                <a:solidFill>
                  <a:schemeClr val="bg1"/>
                </a:solidFill>
                <a:highlight>
                  <a:srgbClr val="2F5597"/>
                </a:highlight>
              </a:rPr>
              <a:t>Statistics Alarm Plot</a:t>
            </a:r>
          </a:p>
        </c:rich>
      </c:tx>
      <c:layout>
        <c:manualLayout>
          <c:xMode val="edge"/>
          <c:yMode val="edge"/>
          <c:x val="1.4749244643838085E-2"/>
          <c:y val="3.244410690570443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highlight>
                <a:srgbClr val="2F5597"/>
              </a:highlight>
              <a:latin typeface="+mn-lt"/>
              <a:ea typeface="+mn-ea"/>
              <a:cs typeface="+mn-cs"/>
            </a:defRPr>
          </a:pPr>
          <a:endParaRPr lang="en-US"/>
        </a:p>
      </c:txPr>
    </c:title>
    <c:autoTitleDeleted val="0"/>
    <c:plotArea>
      <c:layout/>
      <c:lineChart>
        <c:grouping val="standard"/>
        <c:varyColors val="0"/>
        <c:ser>
          <c:idx val="1"/>
          <c:order val="1"/>
          <c:tx>
            <c:strRef>
              <c:f>'Data Preparation'!$I$1</c:f>
              <c:strCache>
                <c:ptCount val="1"/>
                <c:pt idx="0">
                  <c:v>Pump Efficiency</c:v>
                </c:pt>
              </c:strCache>
            </c:strRef>
          </c:tx>
          <c:spPr>
            <a:ln w="28575" cap="rnd">
              <a:solidFill>
                <a:schemeClr val="accent2"/>
              </a:solidFill>
              <a:round/>
            </a:ln>
            <a:effectLst/>
          </c:spPr>
          <c:marker>
            <c:symbol val="none"/>
          </c:marker>
          <c:val>
            <c:numRef>
              <c:f>'Data Preparation'!$I$2:$I$2453</c:f>
              <c:numCache>
                <c:formatCode>#,##0.00</c:formatCode>
                <c:ptCount val="2452"/>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0-8557-4C82-A1D5-51153CF70F63}"/>
            </c:ext>
          </c:extLst>
        </c:ser>
        <c:dLbls>
          <c:showLegendKey val="0"/>
          <c:showVal val="0"/>
          <c:showCatName val="0"/>
          <c:showSerName val="0"/>
          <c:showPercent val="0"/>
          <c:showBubbleSize val="0"/>
        </c:dLbls>
        <c:marker val="1"/>
        <c:smooth val="0"/>
        <c:axId val="569150176"/>
        <c:axId val="569153784"/>
      </c:lineChart>
      <c:lineChart>
        <c:grouping val="standard"/>
        <c:varyColors val="0"/>
        <c:ser>
          <c:idx val="0"/>
          <c:order val="0"/>
          <c:tx>
            <c:strRef>
              <c:f>'Data Preparation'!$H$1</c:f>
              <c:strCache>
                <c:ptCount val="1"/>
                <c:pt idx="0">
                  <c:v>Horse Power</c:v>
                </c:pt>
              </c:strCache>
            </c:strRef>
          </c:tx>
          <c:spPr>
            <a:ln w="28575" cap="rnd">
              <a:solidFill>
                <a:schemeClr val="accent1"/>
              </a:solidFill>
              <a:round/>
            </a:ln>
            <a:effectLst/>
          </c:spPr>
          <c:marker>
            <c:symbol val="none"/>
          </c:marker>
          <c:val>
            <c:numRef>
              <c:f>'Data Preparation'!$H$2:$H$2453</c:f>
              <c:numCache>
                <c:formatCode>#,##0.00</c:formatCode>
                <c:ptCount val="2452"/>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1-8557-4C82-A1D5-51153CF70F63}"/>
            </c:ext>
          </c:extLst>
        </c:ser>
        <c:ser>
          <c:idx val="2"/>
          <c:order val="2"/>
          <c:tx>
            <c:strRef>
              <c:f>'Data Preparation'!$J$1</c:f>
              <c:strCache>
                <c:ptCount val="1"/>
                <c:pt idx="0">
                  <c:v>PUMP FAILURE (1 or 0)</c:v>
                </c:pt>
              </c:strCache>
            </c:strRef>
          </c:tx>
          <c:spPr>
            <a:ln w="28575" cap="rnd">
              <a:solidFill>
                <a:schemeClr val="accent3"/>
              </a:solidFill>
              <a:round/>
            </a:ln>
            <a:effectLst/>
          </c:spPr>
          <c:marker>
            <c:symbol val="none"/>
          </c:marker>
          <c:val>
            <c:numRef>
              <c:f>'Data Preparation'!$J$2:$J$2453</c:f>
              <c:numCache>
                <c:formatCode>#,##0.00</c:formatCode>
                <c:ptCount val="2452"/>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2-8557-4C82-A1D5-51153CF70F63}"/>
            </c:ext>
          </c:extLst>
        </c:ser>
        <c:ser>
          <c:idx val="3"/>
          <c:order val="3"/>
          <c:tx>
            <c:strRef>
              <c:f>'Data Preparation'!$K$1</c:f>
              <c:strCache>
                <c:ptCount val="1"/>
                <c:pt idx="0">
                  <c:v>Regressive Equation</c:v>
                </c:pt>
              </c:strCache>
            </c:strRef>
          </c:tx>
          <c:spPr>
            <a:ln w="28575" cap="rnd">
              <a:solidFill>
                <a:schemeClr val="accent4"/>
              </a:solidFill>
              <a:round/>
            </a:ln>
            <a:effectLst/>
          </c:spPr>
          <c:marker>
            <c:symbol val="none"/>
          </c:marker>
          <c:val>
            <c:numRef>
              <c:f>'Data Preparation'!$K$2:$K$2453</c:f>
              <c:numCache>
                <c:formatCode>0.00</c:formatCode>
                <c:ptCount val="2452"/>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675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8557-4C82-A1D5-51153CF70F63}"/>
            </c:ext>
          </c:extLst>
        </c:ser>
        <c:dLbls>
          <c:showLegendKey val="0"/>
          <c:showVal val="0"/>
          <c:showCatName val="0"/>
          <c:showSerName val="0"/>
          <c:showPercent val="0"/>
          <c:showBubbleSize val="0"/>
        </c:dLbls>
        <c:marker val="1"/>
        <c:smooth val="0"/>
        <c:axId val="612408808"/>
        <c:axId val="612405200"/>
      </c:lineChart>
      <c:catAx>
        <c:axId val="569150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9153784"/>
        <c:crosses val="autoZero"/>
        <c:auto val="1"/>
        <c:lblAlgn val="ctr"/>
        <c:lblOffset val="100"/>
        <c:noMultiLvlLbl val="0"/>
      </c:catAx>
      <c:valAx>
        <c:axId val="569153784"/>
        <c:scaling>
          <c:orientation val="minMax"/>
          <c:max val="45"/>
          <c:min val="0"/>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9150176"/>
        <c:crosses val="autoZero"/>
        <c:crossBetween val="between"/>
        <c:majorUnit val="5"/>
      </c:valAx>
      <c:valAx>
        <c:axId val="612405200"/>
        <c:scaling>
          <c:orientation val="minMax"/>
          <c:max val="3.5"/>
          <c:min val="-0.5"/>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2408808"/>
        <c:crosses val="max"/>
        <c:crossBetween val="between"/>
      </c:valAx>
      <c:catAx>
        <c:axId val="612408808"/>
        <c:scaling>
          <c:orientation val="minMax"/>
        </c:scaling>
        <c:delete val="1"/>
        <c:axPos val="b"/>
        <c:majorTickMark val="out"/>
        <c:minorTickMark val="none"/>
        <c:tickLblPos val="nextTo"/>
        <c:crossAx val="612405200"/>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highlight>
                  <a:srgbClr val="002C46"/>
                </a:highlight>
                <a:latin typeface="+mn-lt"/>
                <a:ea typeface="+mn-ea"/>
                <a:cs typeface="+mn-cs"/>
              </a:defRPr>
            </a:pPr>
            <a:r>
              <a:rPr lang="en-US" dirty="0">
                <a:solidFill>
                  <a:schemeClr val="bg1"/>
                </a:solidFill>
                <a:highlight>
                  <a:srgbClr val="002C46"/>
                </a:highlight>
              </a:rPr>
              <a:t>DRT</a:t>
            </a:r>
            <a:r>
              <a:rPr lang="en-US" baseline="0" dirty="0">
                <a:solidFill>
                  <a:schemeClr val="bg1"/>
                </a:solidFill>
                <a:highlight>
                  <a:srgbClr val="002C46"/>
                </a:highlight>
              </a:rPr>
              <a:t> Rolling Standard Deviation Correlation Coefficient</a:t>
            </a:r>
            <a:endParaRPr lang="en-US" dirty="0">
              <a:solidFill>
                <a:schemeClr val="bg1"/>
              </a:solidFill>
              <a:highlight>
                <a:srgbClr val="002C46"/>
              </a:highligh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highlight>
                <a:srgbClr val="002C46"/>
              </a:highlight>
              <a:latin typeface="+mn-lt"/>
              <a:ea typeface="+mn-ea"/>
              <a:cs typeface="+mn-cs"/>
            </a:defRPr>
          </a:pPr>
          <a:endParaRPr lang="en-US"/>
        </a:p>
      </c:txPr>
    </c:title>
    <c:autoTitleDeleted val="0"/>
    <c:plotArea>
      <c:layout/>
      <c:barChart>
        <c:barDir val="col"/>
        <c:grouping val="clustered"/>
        <c:varyColors val="0"/>
        <c:ser>
          <c:idx val="0"/>
          <c:order val="0"/>
          <c:tx>
            <c:strRef>
              <c:f>Sheet4!$AI$3</c:f>
              <c:strCache>
                <c:ptCount val="1"/>
                <c:pt idx="0">
                  <c:v>Horse Pow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AJ$2:$AL$2</c:f>
              <c:strCache>
                <c:ptCount val="1"/>
                <c:pt idx="0">
                  <c:v>Rolling STD Corr. Coeff.</c:v>
                </c:pt>
              </c:strCache>
            </c:strRef>
          </c:cat>
          <c:val>
            <c:numRef>
              <c:f>Sheet4!$AJ$3:$AL$3</c:f>
              <c:numCache>
                <c:formatCode>0.00</c:formatCode>
                <c:ptCount val="1"/>
                <c:pt idx="0">
                  <c:v>0.69</c:v>
                </c:pt>
              </c:numCache>
            </c:numRef>
          </c:val>
          <c:extLst>
            <c:ext xmlns:c16="http://schemas.microsoft.com/office/drawing/2014/chart" uri="{C3380CC4-5D6E-409C-BE32-E72D297353CC}">
              <c16:uniqueId val="{00000000-0820-482C-A24A-2008D58F77FC}"/>
            </c:ext>
          </c:extLst>
        </c:ser>
        <c:ser>
          <c:idx val="1"/>
          <c:order val="1"/>
          <c:tx>
            <c:strRef>
              <c:f>Sheet4!$AI$4</c:f>
              <c:strCache>
                <c:ptCount val="1"/>
                <c:pt idx="0">
                  <c:v>Pump Speed (RPM)</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AJ$2:$AL$2</c:f>
              <c:strCache>
                <c:ptCount val="1"/>
                <c:pt idx="0">
                  <c:v>Rolling STD Corr. Coeff.</c:v>
                </c:pt>
              </c:strCache>
            </c:strRef>
          </c:cat>
          <c:val>
            <c:numRef>
              <c:f>Sheet4!$AJ$4:$AL$4</c:f>
              <c:numCache>
                <c:formatCode>0.00</c:formatCode>
                <c:ptCount val="1"/>
                <c:pt idx="0">
                  <c:v>0.64</c:v>
                </c:pt>
              </c:numCache>
            </c:numRef>
          </c:val>
          <c:extLst>
            <c:ext xmlns:c16="http://schemas.microsoft.com/office/drawing/2014/chart" uri="{C3380CC4-5D6E-409C-BE32-E72D297353CC}">
              <c16:uniqueId val="{00000001-0820-482C-A24A-2008D58F77FC}"/>
            </c:ext>
          </c:extLst>
        </c:ser>
        <c:ser>
          <c:idx val="2"/>
          <c:order val="2"/>
          <c:tx>
            <c:strRef>
              <c:f>Sheet4!$AI$5</c:f>
              <c:strCache>
                <c:ptCount val="1"/>
                <c:pt idx="0">
                  <c:v>Pump Torque </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AJ$2:$AL$2</c:f>
              <c:strCache>
                <c:ptCount val="1"/>
                <c:pt idx="0">
                  <c:v>Rolling STD Corr. Coeff.</c:v>
                </c:pt>
              </c:strCache>
            </c:strRef>
          </c:cat>
          <c:val>
            <c:numRef>
              <c:f>Sheet4!$AJ$5:$AL$5</c:f>
              <c:numCache>
                <c:formatCode>0.00</c:formatCode>
                <c:ptCount val="1"/>
                <c:pt idx="0">
                  <c:v>0.64</c:v>
                </c:pt>
              </c:numCache>
            </c:numRef>
          </c:val>
          <c:extLst>
            <c:ext xmlns:c16="http://schemas.microsoft.com/office/drawing/2014/chart" uri="{C3380CC4-5D6E-409C-BE32-E72D297353CC}">
              <c16:uniqueId val="{00000002-0820-482C-A24A-2008D58F77FC}"/>
            </c:ext>
          </c:extLst>
        </c:ser>
        <c:ser>
          <c:idx val="3"/>
          <c:order val="3"/>
          <c:tx>
            <c:strRef>
              <c:f>Sheet4!$AI$6</c:f>
              <c:strCache>
                <c:ptCount val="1"/>
                <c:pt idx="0">
                  <c:v>Ambient Temperatu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AJ$2:$AL$2</c:f>
              <c:strCache>
                <c:ptCount val="1"/>
                <c:pt idx="0">
                  <c:v>Rolling STD Corr. Coeff.</c:v>
                </c:pt>
              </c:strCache>
            </c:strRef>
          </c:cat>
          <c:val>
            <c:numRef>
              <c:f>Sheet4!$AJ$6:$AL$6</c:f>
              <c:numCache>
                <c:formatCode>0.00</c:formatCode>
                <c:ptCount val="1"/>
                <c:pt idx="0">
                  <c:v>0.63</c:v>
                </c:pt>
              </c:numCache>
            </c:numRef>
          </c:val>
          <c:extLst>
            <c:ext xmlns:c16="http://schemas.microsoft.com/office/drawing/2014/chart" uri="{C3380CC4-5D6E-409C-BE32-E72D297353CC}">
              <c16:uniqueId val="{00000003-0820-482C-A24A-2008D58F77FC}"/>
            </c:ext>
          </c:extLst>
        </c:ser>
        <c:ser>
          <c:idx val="4"/>
          <c:order val="4"/>
          <c:tx>
            <c:strRef>
              <c:f>Sheet4!$AI$7</c:f>
              <c:strCache>
                <c:ptCount val="1"/>
                <c:pt idx="0">
                  <c:v>Volumetric Flow Meter 1</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AJ$2:$AL$2</c:f>
              <c:strCache>
                <c:ptCount val="1"/>
                <c:pt idx="0">
                  <c:v>Rolling STD Corr. Coeff.</c:v>
                </c:pt>
              </c:strCache>
            </c:strRef>
          </c:cat>
          <c:val>
            <c:numRef>
              <c:f>Sheet4!$AJ$7:$AL$7</c:f>
              <c:numCache>
                <c:formatCode>0.00</c:formatCode>
                <c:ptCount val="1"/>
                <c:pt idx="0">
                  <c:v>0.62</c:v>
                </c:pt>
              </c:numCache>
            </c:numRef>
          </c:val>
          <c:extLst>
            <c:ext xmlns:c16="http://schemas.microsoft.com/office/drawing/2014/chart" uri="{C3380CC4-5D6E-409C-BE32-E72D297353CC}">
              <c16:uniqueId val="{00000004-0820-482C-A24A-2008D58F77FC}"/>
            </c:ext>
          </c:extLst>
        </c:ser>
        <c:ser>
          <c:idx val="5"/>
          <c:order val="5"/>
          <c:tx>
            <c:strRef>
              <c:f>Sheet4!$AI$8</c:f>
              <c:strCache>
                <c:ptCount val="1"/>
                <c:pt idx="0">
                  <c:v>Pump Efficiency</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AJ$2:$AL$2</c:f>
              <c:strCache>
                <c:ptCount val="1"/>
                <c:pt idx="0">
                  <c:v>Rolling STD Corr. Coeff.</c:v>
                </c:pt>
              </c:strCache>
            </c:strRef>
          </c:cat>
          <c:val>
            <c:numRef>
              <c:f>Sheet4!$AJ$8:$AL$8</c:f>
              <c:numCache>
                <c:formatCode>0.00</c:formatCode>
                <c:ptCount val="1"/>
                <c:pt idx="0">
                  <c:v>0.6</c:v>
                </c:pt>
              </c:numCache>
            </c:numRef>
          </c:val>
          <c:extLst>
            <c:ext xmlns:c16="http://schemas.microsoft.com/office/drawing/2014/chart" uri="{C3380CC4-5D6E-409C-BE32-E72D297353CC}">
              <c16:uniqueId val="{00000005-0820-482C-A24A-2008D58F77FC}"/>
            </c:ext>
          </c:extLst>
        </c:ser>
        <c:ser>
          <c:idx val="6"/>
          <c:order val="6"/>
          <c:tx>
            <c:strRef>
              <c:f>Sheet4!$AI$9</c:f>
              <c:strCache>
                <c:ptCount val="1"/>
                <c:pt idx="0">
                  <c:v>Volumetric Flow Meter 2</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AJ$2:$AL$2</c:f>
              <c:strCache>
                <c:ptCount val="1"/>
                <c:pt idx="0">
                  <c:v>Rolling STD Corr. Coeff.</c:v>
                </c:pt>
              </c:strCache>
            </c:strRef>
          </c:cat>
          <c:val>
            <c:numRef>
              <c:f>Sheet4!$AJ$9:$AL$9</c:f>
              <c:numCache>
                <c:formatCode>0.00</c:formatCode>
                <c:ptCount val="1"/>
                <c:pt idx="0">
                  <c:v>0.6</c:v>
                </c:pt>
              </c:numCache>
            </c:numRef>
          </c:val>
          <c:extLst>
            <c:ext xmlns:c16="http://schemas.microsoft.com/office/drawing/2014/chart" uri="{C3380CC4-5D6E-409C-BE32-E72D297353CC}">
              <c16:uniqueId val="{00000006-0820-482C-A24A-2008D58F77FC}"/>
            </c:ext>
          </c:extLst>
        </c:ser>
        <c:dLbls>
          <c:dLblPos val="outEnd"/>
          <c:showLegendKey val="0"/>
          <c:showVal val="1"/>
          <c:showCatName val="0"/>
          <c:showSerName val="0"/>
          <c:showPercent val="0"/>
          <c:showBubbleSize val="0"/>
        </c:dLbls>
        <c:gapWidth val="219"/>
        <c:overlap val="-100"/>
        <c:axId val="440314800"/>
        <c:axId val="575832160"/>
      </c:barChart>
      <c:catAx>
        <c:axId val="440314800"/>
        <c:scaling>
          <c:orientation val="minMax"/>
        </c:scaling>
        <c:delete val="1"/>
        <c:axPos val="b"/>
        <c:numFmt formatCode="General" sourceLinked="1"/>
        <c:majorTickMark val="none"/>
        <c:minorTickMark val="none"/>
        <c:tickLblPos val="high"/>
        <c:crossAx val="575832160"/>
        <c:crosses val="autoZero"/>
        <c:auto val="1"/>
        <c:lblAlgn val="ctr"/>
        <c:lblOffset val="100"/>
        <c:noMultiLvlLbl val="0"/>
      </c:catAx>
      <c:valAx>
        <c:axId val="575832160"/>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0314800"/>
        <c:crosses val="autoZero"/>
        <c:crossBetween val="between"/>
      </c:valAx>
      <c:spPr>
        <a:noFill/>
        <a:ln w="25400">
          <a:noFill/>
        </a:ln>
        <a:effectLst/>
      </c:spPr>
    </c:plotArea>
    <c:legend>
      <c:legendPos val="r"/>
      <c:layout>
        <c:manualLayout>
          <c:xMode val="edge"/>
          <c:yMode val="edge"/>
          <c:x val="0.76118548180677514"/>
          <c:y val="8.9642502371481331E-2"/>
          <c:w val="0.23292024703029679"/>
          <c:h val="0.88144594396148113"/>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r>
              <a:rPr lang="en-US" sz="1400" b="0" i="0" baseline="0">
                <a:solidFill>
                  <a:schemeClr val="bg1"/>
                </a:solidFill>
                <a:effectLst/>
                <a:highlight>
                  <a:srgbClr val="002C46"/>
                </a:highlight>
                <a:latin typeface="Arial" panose="020B0604020202020204" pitchFamily="34" charset="0"/>
                <a:cs typeface="Arial" panose="020B0604020202020204" pitchFamily="34" charset="0"/>
              </a:rPr>
              <a:t>DRT Rolling Mean Plot </a:t>
            </a:r>
            <a:endParaRPr lang="en-US" sz="1400" b="0">
              <a:solidFill>
                <a:schemeClr val="bg1"/>
              </a:solidFill>
              <a:effectLst/>
              <a:highlight>
                <a:srgbClr val="002C46"/>
              </a:highlight>
              <a:latin typeface="Arial" panose="020B0604020202020204" pitchFamily="34" charset="0"/>
              <a:cs typeface="Arial" panose="020B0604020202020204" pitchFamily="34" charset="0"/>
            </a:endParaRPr>
          </a:p>
        </c:rich>
      </c:tx>
      <c:overlay val="0"/>
      <c:spPr>
        <a:solidFill>
          <a:schemeClr val="accent1">
            <a:lumMod val="50000"/>
          </a:schemeClr>
        </a:solidFill>
        <a:ln>
          <a:noFill/>
        </a:ln>
        <a:effectLst/>
      </c:spPr>
      <c:txPr>
        <a:bodyPr rot="0" spcFirstLastPara="1" vertOverflow="ellipsis" vert="horz" wrap="square" anchor="ctr" anchorCtr="1"/>
        <a:lstStyle/>
        <a:p>
          <a:pPr>
            <a:defRPr sz="14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val>
            <c:numRef>
              <c:f>'DRT Rolling Mean'!$C$2:$C$2455</c:f>
              <c:numCache>
                <c:formatCode>#,##0.00</c:formatCode>
                <c:ptCount val="2454"/>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pt idx="2452">
                  <c:v>43.28</c:v>
                </c:pt>
                <c:pt idx="2453">
                  <c:v>0</c:v>
                </c:pt>
              </c:numCache>
            </c:numRef>
          </c:val>
          <c:smooth val="0"/>
          <c:extLst>
            <c:ext xmlns:c16="http://schemas.microsoft.com/office/drawing/2014/chart" uri="{C3380CC4-5D6E-409C-BE32-E72D297353CC}">
              <c16:uniqueId val="{00000000-93CB-4272-8793-6618BB7AE17A}"/>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val>
            <c:numRef>
              <c:f>'DRT Rolling Mean'!$D$2:$D$2455</c:f>
              <c:numCache>
                <c:formatCode>#,##0.00</c:formatCode>
                <c:ptCount val="2454"/>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pt idx="2452">
                  <c:v>41.96</c:v>
                </c:pt>
                <c:pt idx="2453">
                  <c:v>0</c:v>
                </c:pt>
              </c:numCache>
            </c:numRef>
          </c:val>
          <c:smooth val="0"/>
          <c:extLst>
            <c:ext xmlns:c16="http://schemas.microsoft.com/office/drawing/2014/chart" uri="{C3380CC4-5D6E-409C-BE32-E72D297353CC}">
              <c16:uniqueId val="{00000001-93CB-4272-8793-6618BB7AE17A}"/>
            </c:ext>
          </c:extLst>
        </c:ser>
        <c:ser>
          <c:idx val="2"/>
          <c:order val="2"/>
          <c:tx>
            <c:strRef>
              <c:f>'DRT Rolling Mean'!$E$1</c:f>
              <c:strCache>
                <c:ptCount val="1"/>
                <c:pt idx="0">
                  <c:v>Pump Speed (RPM)</c:v>
                </c:pt>
              </c:strCache>
            </c:strRef>
          </c:tx>
          <c:spPr>
            <a:ln w="28575" cap="rnd">
              <a:solidFill>
                <a:schemeClr val="accent3"/>
              </a:solidFill>
              <a:round/>
            </a:ln>
            <a:effectLst/>
          </c:spPr>
          <c:marker>
            <c:symbol val="none"/>
          </c:marker>
          <c:val>
            <c:numRef>
              <c:f>'DRT Rolling Mean'!$E$2:$E$2455</c:f>
              <c:numCache>
                <c:formatCode>#,##0.00</c:formatCode>
                <c:ptCount val="2454"/>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pt idx="2452">
                  <c:v>90</c:v>
                </c:pt>
                <c:pt idx="2453">
                  <c:v>0</c:v>
                </c:pt>
              </c:numCache>
            </c:numRef>
          </c:val>
          <c:smooth val="0"/>
          <c:extLst>
            <c:ext xmlns:c16="http://schemas.microsoft.com/office/drawing/2014/chart" uri="{C3380CC4-5D6E-409C-BE32-E72D297353CC}">
              <c16:uniqueId val="{00000002-93CB-4272-8793-6618BB7AE17A}"/>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val>
            <c:numRef>
              <c:f>'DRT Rolling Mean'!$F$2:$F$2455</c:f>
              <c:numCache>
                <c:formatCode>#,##0.00</c:formatCode>
                <c:ptCount val="2454"/>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pt idx="2452">
                  <c:v>191</c:v>
                </c:pt>
                <c:pt idx="2453">
                  <c:v>0</c:v>
                </c:pt>
              </c:numCache>
            </c:numRef>
          </c:val>
          <c:smooth val="0"/>
          <c:extLst>
            <c:ext xmlns:c16="http://schemas.microsoft.com/office/drawing/2014/chart" uri="{C3380CC4-5D6E-409C-BE32-E72D297353CC}">
              <c16:uniqueId val="{00000003-93CB-4272-8793-6618BB7AE17A}"/>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val>
            <c:numRef>
              <c:f>'DRT Rolling Mean'!$G$2:$G$2455</c:f>
              <c:numCache>
                <c:formatCode>#,##0.00</c:formatCode>
                <c:ptCount val="2454"/>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pt idx="2452">
                  <c:v>54</c:v>
                </c:pt>
                <c:pt idx="2453">
                  <c:v>0</c:v>
                </c:pt>
              </c:numCache>
            </c:numRef>
          </c:val>
          <c:smooth val="0"/>
          <c:extLst>
            <c:ext xmlns:c16="http://schemas.microsoft.com/office/drawing/2014/chart" uri="{C3380CC4-5D6E-409C-BE32-E72D297353CC}">
              <c16:uniqueId val="{00000004-93CB-4272-8793-6618BB7AE17A}"/>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val>
            <c:numRef>
              <c:f>'DRT Rolling Mean'!$I$2:$I$2455</c:f>
              <c:numCache>
                <c:formatCode>#,##0.00</c:formatCode>
                <c:ptCount val="2454"/>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pt idx="2452">
                  <c:v>76.290909090909082</c:v>
                </c:pt>
                <c:pt idx="2453">
                  <c:v>0</c:v>
                </c:pt>
              </c:numCache>
            </c:numRef>
          </c:val>
          <c:smooth val="0"/>
          <c:extLst>
            <c:ext xmlns:c16="http://schemas.microsoft.com/office/drawing/2014/chart" uri="{C3380CC4-5D6E-409C-BE32-E72D297353CC}">
              <c16:uniqueId val="{00000005-93CB-4272-8793-6618BB7AE17A}"/>
            </c:ext>
          </c:extLst>
        </c:ser>
        <c:dLbls>
          <c:showLegendKey val="0"/>
          <c:showVal val="0"/>
          <c:showCatName val="0"/>
          <c:showSerName val="0"/>
          <c:showPercent val="0"/>
          <c:showBubbleSize val="0"/>
        </c:dLbls>
        <c:marker val="1"/>
        <c:smooth val="0"/>
        <c:axId val="498444296"/>
        <c:axId val="577959904"/>
      </c:lineChart>
      <c:lineChart>
        <c:grouping val="standard"/>
        <c:varyColors val="0"/>
        <c:ser>
          <c:idx val="5"/>
          <c:order val="5"/>
          <c:tx>
            <c:strRef>
              <c:f>'DRT Rolling Mean'!$H$1</c:f>
              <c:strCache>
                <c:ptCount val="1"/>
                <c:pt idx="0">
                  <c:v>Horse Power</c:v>
                </c:pt>
              </c:strCache>
            </c:strRef>
          </c:tx>
          <c:spPr>
            <a:ln w="28575" cap="rnd">
              <a:solidFill>
                <a:schemeClr val="accent6"/>
              </a:solidFill>
              <a:round/>
            </a:ln>
            <a:effectLst/>
          </c:spPr>
          <c:marker>
            <c:symbol val="none"/>
          </c:marker>
          <c:val>
            <c:numRef>
              <c:f>'DRT Rolling Mean'!$H$2:$H$2455</c:f>
              <c:numCache>
                <c:formatCode>#,##0.00</c:formatCode>
                <c:ptCount val="2454"/>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pt idx="2452">
                  <c:v>3.2730388423457732</c:v>
                </c:pt>
                <c:pt idx="2453">
                  <c:v>0</c:v>
                </c:pt>
              </c:numCache>
            </c:numRef>
          </c:val>
          <c:smooth val="0"/>
          <c:extLst>
            <c:ext xmlns:c16="http://schemas.microsoft.com/office/drawing/2014/chart" uri="{C3380CC4-5D6E-409C-BE32-E72D297353CC}">
              <c16:uniqueId val="{00000006-93CB-4272-8793-6618BB7AE17A}"/>
            </c:ext>
          </c:extLst>
        </c:ser>
        <c:ser>
          <c:idx val="7"/>
          <c:order val="7"/>
          <c:tx>
            <c:strRef>
              <c:f>'DRT Rolling Mean'!$J$1</c:f>
              <c:strCache>
                <c:ptCount val="1"/>
                <c:pt idx="0">
                  <c:v>PUMP FAILURE (1 or 0)</c:v>
                </c:pt>
              </c:strCache>
            </c:strRef>
          </c:tx>
          <c:spPr>
            <a:ln w="28575" cap="rnd">
              <a:solidFill>
                <a:schemeClr val="accent2">
                  <a:lumMod val="60000"/>
                </a:schemeClr>
              </a:solidFill>
              <a:round/>
            </a:ln>
            <a:effectLst/>
          </c:spPr>
          <c:marker>
            <c:symbol val="none"/>
          </c:marker>
          <c:val>
            <c:numRef>
              <c:f>'DRT Rolling Mean'!$J$2:$J$2455</c:f>
              <c:numCache>
                <c:formatCode>General</c:formatCode>
                <c:ptCount val="2454"/>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pt idx="2452">
                  <c:v>0</c:v>
                </c:pt>
                <c:pt idx="2453" formatCode="#,##0.00">
                  <c:v>0</c:v>
                </c:pt>
              </c:numCache>
            </c:numRef>
          </c:val>
          <c:smooth val="0"/>
          <c:extLst>
            <c:ext xmlns:c16="http://schemas.microsoft.com/office/drawing/2014/chart" uri="{C3380CC4-5D6E-409C-BE32-E72D297353CC}">
              <c16:uniqueId val="{00000007-93CB-4272-8793-6618BB7AE17A}"/>
            </c:ext>
          </c:extLst>
        </c:ser>
        <c:dLbls>
          <c:showLegendKey val="0"/>
          <c:showVal val="0"/>
          <c:showCatName val="0"/>
          <c:showSerName val="0"/>
          <c:showPercent val="0"/>
          <c:showBubbleSize val="0"/>
        </c:dLbls>
        <c:marker val="1"/>
        <c:smooth val="0"/>
        <c:axId val="576156320"/>
        <c:axId val="576159272"/>
      </c:lineChart>
      <c:catAx>
        <c:axId val="498444296"/>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7959904"/>
        <c:crosses val="autoZero"/>
        <c:auto val="1"/>
        <c:lblAlgn val="ctr"/>
        <c:lblOffset val="100"/>
        <c:noMultiLvlLbl val="0"/>
      </c:catAx>
      <c:valAx>
        <c:axId val="577959904"/>
        <c:scaling>
          <c:orientation val="minMax"/>
          <c:max val="300"/>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8444296"/>
        <c:crosses val="autoZero"/>
        <c:crossBetween val="between"/>
      </c:valAx>
      <c:valAx>
        <c:axId val="576159272"/>
        <c:scaling>
          <c:orientation val="minMax"/>
          <c:max val="10"/>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6156320"/>
        <c:crosses val="max"/>
        <c:crossBetween val="between"/>
      </c:valAx>
      <c:catAx>
        <c:axId val="576156320"/>
        <c:scaling>
          <c:orientation val="minMax"/>
        </c:scaling>
        <c:delete val="1"/>
        <c:axPos val="b"/>
        <c:majorTickMark val="out"/>
        <c:minorTickMark val="none"/>
        <c:tickLblPos val="nextTo"/>
        <c:crossAx val="576159272"/>
        <c:crosses val="autoZero"/>
        <c:auto val="1"/>
        <c:lblAlgn val="ctr"/>
        <c:lblOffset val="100"/>
        <c:noMultiLvlLbl val="0"/>
      </c:catAx>
      <c:spPr>
        <a:noFill/>
        <a:ln>
          <a:noFill/>
        </a:ln>
        <a:effectLst/>
      </c:spPr>
    </c:plotArea>
    <c:legend>
      <c:legendPos val="r"/>
      <c:layout>
        <c:manualLayout>
          <c:xMode val="edge"/>
          <c:yMode val="edge"/>
          <c:x val="0.78920236499672114"/>
          <c:y val="4.5308922494691137E-2"/>
          <c:w val="0.20201687772173227"/>
          <c:h val="0.91490511647877881"/>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Arial" panose="020B0604020202020204" pitchFamily="34" charset="0"/>
                <a:ea typeface="+mn-ea"/>
                <a:cs typeface="Arial" panose="020B0604020202020204" pitchFamily="34" charset="0"/>
              </a:defRPr>
            </a:pPr>
            <a:r>
              <a:rPr lang="en-US" sz="1400" b="0" i="0" baseline="0">
                <a:solidFill>
                  <a:schemeClr val="bg1"/>
                </a:solidFill>
                <a:effectLst/>
                <a:latin typeface="Arial" panose="020B0604020202020204" pitchFamily="34" charset="0"/>
                <a:cs typeface="Arial" panose="020B0604020202020204" pitchFamily="34" charset="0"/>
              </a:rPr>
              <a:t>DRT Rolling Stdev Plot </a:t>
            </a:r>
            <a:endParaRPr lang="en-US" sz="1400" b="0">
              <a:solidFill>
                <a:schemeClr val="bg1"/>
              </a:solidFill>
              <a:effectLst/>
              <a:latin typeface="Arial" panose="020B0604020202020204" pitchFamily="34" charset="0"/>
              <a:cs typeface="Arial" panose="020B0604020202020204" pitchFamily="34" charset="0"/>
            </a:endParaRPr>
          </a:p>
        </c:rich>
      </c:tx>
      <c:overlay val="0"/>
      <c:spPr>
        <a:solidFill>
          <a:schemeClr val="accent1">
            <a:lumMod val="50000"/>
          </a:schemeClr>
        </a:solidFill>
        <a:ln>
          <a:noFill/>
        </a:ln>
        <a:effectLst/>
      </c:spPr>
      <c:txPr>
        <a:bodyPr rot="0" spcFirstLastPara="1" vertOverflow="ellipsis" vert="horz" wrap="square" anchor="ctr" anchorCtr="1"/>
        <a:lstStyle/>
        <a:p>
          <a:pPr>
            <a:defRPr sz="1400" b="0" i="0" u="none" strike="noStrike" kern="1200" spc="0" baseline="0">
              <a:solidFill>
                <a:schemeClr val="bg1"/>
              </a:solidFill>
              <a:latin typeface="Arial" panose="020B0604020202020204" pitchFamily="34" charset="0"/>
              <a:ea typeface="+mn-ea"/>
              <a:cs typeface="Arial" panose="020B0604020202020204" pitchFamily="34" charset="0"/>
            </a:defRPr>
          </a:pPr>
          <a:endParaRPr lang="en-US"/>
        </a:p>
      </c:txPr>
    </c:title>
    <c:autoTitleDeleted val="0"/>
    <c:plotArea>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val>
            <c:numRef>
              <c:f>'DRT Rolling Stdev'!$C$2:$C$2454</c:f>
              <c:numCache>
                <c:formatCode>#,##0.00</c:formatCode>
                <c:ptCount val="2453"/>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pt idx="2452">
                  <c:v>0</c:v>
                </c:pt>
              </c:numCache>
            </c:numRef>
          </c:val>
          <c:smooth val="0"/>
          <c:extLst>
            <c:ext xmlns:c16="http://schemas.microsoft.com/office/drawing/2014/chart" uri="{C3380CC4-5D6E-409C-BE32-E72D297353CC}">
              <c16:uniqueId val="{00000000-F1BD-432C-A145-2E1430C16F9B}"/>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val>
            <c:numRef>
              <c:f>'DRT Rolling Stdev'!$D$2:$D$2454</c:f>
              <c:numCache>
                <c:formatCode>#,##0.00</c:formatCode>
                <c:ptCount val="2453"/>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pt idx="2452">
                  <c:v>0</c:v>
                </c:pt>
              </c:numCache>
            </c:numRef>
          </c:val>
          <c:smooth val="0"/>
          <c:extLst>
            <c:ext xmlns:c16="http://schemas.microsoft.com/office/drawing/2014/chart" uri="{C3380CC4-5D6E-409C-BE32-E72D297353CC}">
              <c16:uniqueId val="{00000001-F1BD-432C-A145-2E1430C16F9B}"/>
            </c:ext>
          </c:extLst>
        </c:ser>
        <c:ser>
          <c:idx val="2"/>
          <c:order val="2"/>
          <c:tx>
            <c:strRef>
              <c:f>'DRT Rolling Stdev'!$E$1</c:f>
              <c:strCache>
                <c:ptCount val="1"/>
                <c:pt idx="0">
                  <c:v>Pump Speed (RPM)</c:v>
                </c:pt>
              </c:strCache>
            </c:strRef>
          </c:tx>
          <c:spPr>
            <a:ln w="28575" cap="rnd">
              <a:solidFill>
                <a:schemeClr val="accent3"/>
              </a:solidFill>
              <a:round/>
            </a:ln>
            <a:effectLst/>
          </c:spPr>
          <c:marker>
            <c:symbol val="none"/>
          </c:marker>
          <c:val>
            <c:numRef>
              <c:f>'DRT Rolling Stdev'!$E$2:$E$2454</c:f>
              <c:numCache>
                <c:formatCode>#,##0.00</c:formatCode>
                <c:ptCount val="2453"/>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pt idx="2452">
                  <c:v>0</c:v>
                </c:pt>
              </c:numCache>
            </c:numRef>
          </c:val>
          <c:smooth val="0"/>
          <c:extLst>
            <c:ext xmlns:c16="http://schemas.microsoft.com/office/drawing/2014/chart" uri="{C3380CC4-5D6E-409C-BE32-E72D297353CC}">
              <c16:uniqueId val="{00000002-F1BD-432C-A145-2E1430C16F9B}"/>
            </c:ext>
          </c:extLst>
        </c:ser>
        <c:ser>
          <c:idx val="3"/>
          <c:order val="3"/>
          <c:tx>
            <c:strRef>
              <c:f>'DRT Rolling Stdev'!$F$1</c:f>
              <c:strCache>
                <c:ptCount val="1"/>
                <c:pt idx="0">
                  <c:v>Pump Torque </c:v>
                </c:pt>
              </c:strCache>
            </c:strRef>
          </c:tx>
          <c:spPr>
            <a:ln w="28575" cap="rnd">
              <a:solidFill>
                <a:schemeClr val="accent4"/>
              </a:solidFill>
              <a:round/>
            </a:ln>
            <a:effectLst/>
          </c:spPr>
          <c:marker>
            <c:symbol val="none"/>
          </c:marker>
          <c:val>
            <c:numRef>
              <c:f>'DRT Rolling Stdev'!$F$2:$F$2454</c:f>
              <c:numCache>
                <c:formatCode>#,##0.00</c:formatCode>
                <c:ptCount val="2453"/>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pt idx="2452">
                  <c:v>0</c:v>
                </c:pt>
              </c:numCache>
            </c:numRef>
          </c:val>
          <c:smooth val="0"/>
          <c:extLst>
            <c:ext xmlns:c16="http://schemas.microsoft.com/office/drawing/2014/chart" uri="{C3380CC4-5D6E-409C-BE32-E72D297353CC}">
              <c16:uniqueId val="{00000003-F1BD-432C-A145-2E1430C16F9B}"/>
            </c:ext>
          </c:extLst>
        </c:ser>
        <c:ser>
          <c:idx val="4"/>
          <c:order val="4"/>
          <c:tx>
            <c:strRef>
              <c:f>'DRT Rolling Stdev'!$G$1</c:f>
              <c:strCache>
                <c:ptCount val="1"/>
                <c:pt idx="0">
                  <c:v>Ambient Temperature</c:v>
                </c:pt>
              </c:strCache>
            </c:strRef>
          </c:tx>
          <c:spPr>
            <a:ln w="28575" cap="rnd">
              <a:solidFill>
                <a:schemeClr val="accent5"/>
              </a:solidFill>
              <a:round/>
            </a:ln>
            <a:effectLst/>
          </c:spPr>
          <c:marker>
            <c:symbol val="none"/>
          </c:marker>
          <c:val>
            <c:numRef>
              <c:f>'DRT Rolling Stdev'!$G$2:$G$2454</c:f>
              <c:numCache>
                <c:formatCode>#,##0.00</c:formatCode>
                <c:ptCount val="2453"/>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pt idx="2452">
                  <c:v>0</c:v>
                </c:pt>
              </c:numCache>
            </c:numRef>
          </c:val>
          <c:smooth val="0"/>
          <c:extLst>
            <c:ext xmlns:c16="http://schemas.microsoft.com/office/drawing/2014/chart" uri="{C3380CC4-5D6E-409C-BE32-E72D297353CC}">
              <c16:uniqueId val="{00000004-F1BD-432C-A145-2E1430C16F9B}"/>
            </c:ext>
          </c:extLst>
        </c:ser>
        <c:ser>
          <c:idx val="6"/>
          <c:order val="6"/>
          <c:tx>
            <c:strRef>
              <c:f>'DRT Rolling Stdev'!$I$1</c:f>
              <c:strCache>
                <c:ptCount val="1"/>
                <c:pt idx="0">
                  <c:v>Pump Efficiency</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val>
            <c:numRef>
              <c:f>'DRT Rolling Stdev'!$I$2:$I$2454</c:f>
              <c:numCache>
                <c:formatCode>#,##0.00</c:formatCode>
                <c:ptCount val="2453"/>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pt idx="2452">
                  <c:v>0</c:v>
                </c:pt>
              </c:numCache>
            </c:numRef>
          </c:val>
          <c:smooth val="0"/>
          <c:extLst>
            <c:ext xmlns:c16="http://schemas.microsoft.com/office/drawing/2014/chart" uri="{C3380CC4-5D6E-409C-BE32-E72D297353CC}">
              <c16:uniqueId val="{00000005-F1BD-432C-A145-2E1430C16F9B}"/>
            </c:ext>
          </c:extLst>
        </c:ser>
        <c:dLbls>
          <c:showLegendKey val="0"/>
          <c:showVal val="0"/>
          <c:showCatName val="0"/>
          <c:showSerName val="0"/>
          <c:showPercent val="0"/>
          <c:showBubbleSize val="0"/>
        </c:dLbls>
        <c:marker val="1"/>
        <c:smooth val="0"/>
        <c:axId val="505878200"/>
        <c:axId val="505877872"/>
      </c:lineChart>
      <c:lineChart>
        <c:grouping val="standard"/>
        <c:varyColors val="0"/>
        <c:ser>
          <c:idx val="5"/>
          <c:order val="5"/>
          <c:tx>
            <c:strRef>
              <c:f>'DRT Rolling Stdev'!$H$1</c:f>
              <c:strCache>
                <c:ptCount val="1"/>
                <c:pt idx="0">
                  <c:v>Horse Power</c:v>
                </c:pt>
              </c:strCache>
            </c:strRef>
          </c:tx>
          <c:spPr>
            <a:ln w="28575" cap="rnd">
              <a:solidFill>
                <a:schemeClr val="accent6"/>
              </a:solidFill>
              <a:round/>
            </a:ln>
            <a:effectLst/>
          </c:spPr>
          <c:marker>
            <c:symbol val="none"/>
          </c:marker>
          <c:val>
            <c:numRef>
              <c:f>'DRT Rolling Stdev'!$H$2:$H$2454</c:f>
              <c:numCache>
                <c:formatCode>#,##0.00</c:formatCode>
                <c:ptCount val="2453"/>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pt idx="2452">
                  <c:v>0</c:v>
                </c:pt>
              </c:numCache>
            </c:numRef>
          </c:val>
          <c:smooth val="0"/>
          <c:extLst>
            <c:ext xmlns:c16="http://schemas.microsoft.com/office/drawing/2014/chart" uri="{C3380CC4-5D6E-409C-BE32-E72D297353CC}">
              <c16:uniqueId val="{00000006-F1BD-432C-A145-2E1430C16F9B}"/>
            </c:ext>
          </c:extLst>
        </c:ser>
        <c:ser>
          <c:idx val="7"/>
          <c:order val="7"/>
          <c:tx>
            <c:strRef>
              <c:f>'DRT Rolling Stdev'!$J$1</c:f>
              <c:strCache>
                <c:ptCount val="1"/>
                <c:pt idx="0">
                  <c:v>PUMP FAILURE (1 or 0)</c:v>
                </c:pt>
              </c:strCache>
            </c:strRef>
          </c:tx>
          <c:spPr>
            <a:ln w="28575" cap="rnd">
              <a:solidFill>
                <a:schemeClr val="accent2">
                  <a:lumMod val="60000"/>
                </a:schemeClr>
              </a:solidFill>
              <a:round/>
            </a:ln>
            <a:effectLst/>
          </c:spPr>
          <c:marker>
            <c:symbol val="circle"/>
            <c:size val="5"/>
            <c:spPr>
              <a:solidFill>
                <a:schemeClr val="accent2">
                  <a:lumMod val="60000"/>
                </a:schemeClr>
              </a:solidFill>
              <a:ln w="9525">
                <a:solidFill>
                  <a:schemeClr val="accent2">
                    <a:lumMod val="60000"/>
                  </a:schemeClr>
                </a:solidFill>
              </a:ln>
              <a:effectLst/>
            </c:spPr>
          </c:marker>
          <c:val>
            <c:numRef>
              <c:f>'DRT Rolling Stdev'!$J$2:$J$2454</c:f>
              <c:numCache>
                <c:formatCode>General</c:formatCode>
                <c:ptCount val="24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pt idx="2452" formatCode="#,##0.00">
                  <c:v>0</c:v>
                </c:pt>
              </c:numCache>
            </c:numRef>
          </c:val>
          <c:smooth val="0"/>
          <c:extLst>
            <c:ext xmlns:c16="http://schemas.microsoft.com/office/drawing/2014/chart" uri="{C3380CC4-5D6E-409C-BE32-E72D297353CC}">
              <c16:uniqueId val="{00000007-F1BD-432C-A145-2E1430C16F9B}"/>
            </c:ext>
          </c:extLst>
        </c:ser>
        <c:dLbls>
          <c:showLegendKey val="0"/>
          <c:showVal val="0"/>
          <c:showCatName val="0"/>
          <c:showSerName val="0"/>
          <c:showPercent val="0"/>
          <c:showBubbleSize val="0"/>
        </c:dLbls>
        <c:marker val="1"/>
        <c:smooth val="0"/>
        <c:axId val="551321920"/>
        <c:axId val="551317656"/>
      </c:lineChart>
      <c:catAx>
        <c:axId val="505878200"/>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5877872"/>
        <c:crosses val="autoZero"/>
        <c:auto val="1"/>
        <c:lblAlgn val="ctr"/>
        <c:lblOffset val="100"/>
        <c:noMultiLvlLbl val="0"/>
      </c:catAx>
      <c:valAx>
        <c:axId val="505877872"/>
        <c:scaling>
          <c:orientation val="minMax"/>
          <c:max val="150"/>
          <c:min val="0"/>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5878200"/>
        <c:crosses val="autoZero"/>
        <c:crossBetween val="between"/>
      </c:valAx>
      <c:valAx>
        <c:axId val="551317656"/>
        <c:scaling>
          <c:orientation val="minMax"/>
          <c:max val="10"/>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1321920"/>
        <c:crosses val="max"/>
        <c:crossBetween val="between"/>
      </c:valAx>
      <c:catAx>
        <c:axId val="551321920"/>
        <c:scaling>
          <c:orientation val="minMax"/>
        </c:scaling>
        <c:delete val="1"/>
        <c:axPos val="b"/>
        <c:majorTickMark val="out"/>
        <c:minorTickMark val="none"/>
        <c:tickLblPos val="nextTo"/>
        <c:crossAx val="551317656"/>
        <c:crosses val="autoZero"/>
        <c:auto val="1"/>
        <c:lblAlgn val="ctr"/>
        <c:lblOffset val="100"/>
        <c:noMultiLvlLbl val="0"/>
      </c:catAx>
      <c:spPr>
        <a:noFill/>
        <a:ln>
          <a:noFill/>
        </a:ln>
        <a:effectLst/>
      </c:spPr>
    </c:plotArea>
    <c:legend>
      <c:legendPos val="r"/>
      <c:layout>
        <c:manualLayout>
          <c:xMode val="edge"/>
          <c:yMode val="edge"/>
          <c:x val="0.79648187145211502"/>
          <c:y val="5.189986910203713E-2"/>
          <c:w val="0.19479719831532682"/>
          <c:h val="0.90116670541701416"/>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1" i="0" u="none" strike="noStrike" kern="1200" spc="0" baseline="0">
                <a:solidFill>
                  <a:schemeClr val="bg1"/>
                </a:solidFill>
                <a:latin typeface="Arial" panose="020B0604020202020204" pitchFamily="34" charset="0"/>
                <a:ea typeface="+mn-ea"/>
                <a:cs typeface="Arial" panose="020B0604020202020204" pitchFamily="34" charset="0"/>
              </a:defRPr>
            </a:pPr>
            <a:r>
              <a:rPr lang="en-US" sz="900" b="1" i="0" baseline="0">
                <a:solidFill>
                  <a:schemeClr val="bg1"/>
                </a:solidFill>
                <a:effectLst/>
                <a:latin typeface="Arial" panose="020B0604020202020204" pitchFamily="34" charset="0"/>
                <a:cs typeface="Arial" panose="020B0604020202020204" pitchFamily="34" charset="0"/>
              </a:rPr>
              <a:t>Correlation Coefficient Pump Failure (1 or 0) - Raw Data</a:t>
            </a:r>
            <a:endParaRPr lang="en-US" sz="900" b="1">
              <a:solidFill>
                <a:schemeClr val="bg1"/>
              </a:solidFill>
              <a:effectLst/>
              <a:latin typeface="Arial" panose="020B0604020202020204" pitchFamily="34" charset="0"/>
              <a:cs typeface="Arial" panose="020B0604020202020204" pitchFamily="34" charset="0"/>
            </a:endParaRPr>
          </a:p>
        </c:rich>
      </c:tx>
      <c:overlay val="0"/>
      <c:spPr>
        <a:solidFill>
          <a:schemeClr val="accent5">
            <a:lumMod val="50000"/>
          </a:schemeClr>
        </a:solidFill>
        <a:ln>
          <a:noFill/>
        </a:ln>
        <a:effectLst/>
      </c:spPr>
      <c:txPr>
        <a:bodyPr rot="0" spcFirstLastPara="1" vertOverflow="ellipsis" vert="horz" wrap="square" anchor="ctr" anchorCtr="1"/>
        <a:lstStyle/>
        <a:p>
          <a:pPr>
            <a:defRPr sz="900" b="1" i="0" u="none" strike="noStrike" kern="1200" spc="0" baseline="0">
              <a:solidFill>
                <a:schemeClr val="bg1"/>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clustered"/>
        <c:varyColors val="0"/>
        <c:ser>
          <c:idx val="0"/>
          <c:order val="0"/>
          <c:spPr>
            <a:solidFill>
              <a:schemeClr val="accent5">
                <a:lumMod val="50000"/>
              </a:schemeClr>
            </a:solidFill>
            <a:ln>
              <a:noFill/>
            </a:ln>
            <a:effectLst/>
          </c:spPr>
          <c:invertIfNegative val="0"/>
          <c:dLbls>
            <c:spPr>
              <a:solidFill>
                <a:schemeClr val="bg2">
                  <a:lumMod val="75000"/>
                </a:schemeClr>
              </a:solid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A$37:$A$43</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B$37:$B$43</c:f>
              <c:numCache>
                <c:formatCode>0.00</c:formatCode>
                <c:ptCount val="7"/>
                <c:pt idx="0">
                  <c:v>0.42</c:v>
                </c:pt>
                <c:pt idx="1">
                  <c:v>0.26</c:v>
                </c:pt>
                <c:pt idx="2">
                  <c:v>0.23</c:v>
                </c:pt>
                <c:pt idx="3">
                  <c:v>0.21</c:v>
                </c:pt>
                <c:pt idx="4">
                  <c:v>-0.1</c:v>
                </c:pt>
                <c:pt idx="5">
                  <c:v>-0.1</c:v>
                </c:pt>
                <c:pt idx="6">
                  <c:v>-0.11</c:v>
                </c:pt>
              </c:numCache>
            </c:numRef>
          </c:val>
          <c:extLst>
            <c:ext xmlns:c16="http://schemas.microsoft.com/office/drawing/2014/chart" uri="{C3380CC4-5D6E-409C-BE32-E72D297353CC}">
              <c16:uniqueId val="{00000000-6660-4236-A9FA-B7F81A882C35}"/>
            </c:ext>
          </c:extLst>
        </c:ser>
        <c:dLbls>
          <c:showLegendKey val="0"/>
          <c:showVal val="0"/>
          <c:showCatName val="0"/>
          <c:showSerName val="0"/>
          <c:showPercent val="0"/>
          <c:showBubbleSize val="0"/>
        </c:dLbls>
        <c:gapWidth val="50"/>
        <c:overlap val="100"/>
        <c:axId val="506522096"/>
        <c:axId val="506526688"/>
      </c:barChart>
      <c:catAx>
        <c:axId val="5065220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t" anchorCtr="0"/>
          <a:lstStyle/>
          <a:p>
            <a:pPr>
              <a:defRPr sz="900" b="1" i="0" u="none" strike="noStrike" kern="1200" baseline="0">
                <a:solidFill>
                  <a:schemeClr val="tx1">
                    <a:lumMod val="65000"/>
                    <a:lumOff val="35000"/>
                  </a:schemeClr>
                </a:solidFill>
                <a:latin typeface="+mn-lt"/>
                <a:ea typeface="+mn-ea"/>
                <a:cs typeface="+mn-cs"/>
              </a:defRPr>
            </a:pPr>
            <a:endParaRPr lang="en-US"/>
          </a:p>
        </c:txPr>
        <c:crossAx val="506526688"/>
        <c:crosses val="autoZero"/>
        <c:auto val="1"/>
        <c:lblAlgn val="ctr"/>
        <c:lblOffset val="100"/>
        <c:noMultiLvlLbl val="0"/>
      </c:catAx>
      <c:valAx>
        <c:axId val="506526688"/>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65220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1" i="0" u="none" strike="noStrike" kern="1200" spc="0" baseline="0">
                <a:solidFill>
                  <a:schemeClr val="bg1"/>
                </a:solidFill>
                <a:latin typeface="+mn-lt"/>
                <a:ea typeface="+mn-ea"/>
                <a:cs typeface="+mn-cs"/>
              </a:defRPr>
            </a:pPr>
            <a:r>
              <a:rPr lang="en-US" sz="900" b="1">
                <a:solidFill>
                  <a:schemeClr val="bg1"/>
                </a:solidFill>
              </a:rPr>
              <a:t>Correlation Coefficient Pump Failure (1 or 0) - Rolling Mean </a:t>
            </a:r>
          </a:p>
        </c:rich>
      </c:tx>
      <c:overlay val="0"/>
      <c:spPr>
        <a:solidFill>
          <a:schemeClr val="accent1">
            <a:lumMod val="50000"/>
          </a:schemeClr>
        </a:solidFill>
        <a:ln>
          <a:noFill/>
        </a:ln>
        <a:effectLst/>
      </c:spPr>
      <c:txPr>
        <a:bodyPr rot="0" spcFirstLastPara="1" vertOverflow="ellipsis" vert="horz" wrap="square" anchor="ctr" anchorCtr="1"/>
        <a:lstStyle/>
        <a:p>
          <a:pPr>
            <a:defRPr sz="900" b="1"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N$36</c:f>
              <c:strCache>
                <c:ptCount val="1"/>
                <c:pt idx="0">
                  <c:v>Correlation Coefficient</c:v>
                </c:pt>
              </c:strCache>
            </c:strRef>
          </c:tx>
          <c:spPr>
            <a:solidFill>
              <a:schemeClr val="accent1">
                <a:lumMod val="50000"/>
              </a:schemeClr>
            </a:solidFill>
            <a:ln>
              <a:noFill/>
            </a:ln>
            <a:effectLst/>
          </c:spPr>
          <c:invertIfNegative val="0"/>
          <c:dLbls>
            <c:spPr>
              <a:solidFill>
                <a:schemeClr val="bg2">
                  <a:lumMod val="65000"/>
                </a:schemeClr>
              </a:solid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M$37:$M$43</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N$37:$N$43</c:f>
              <c:numCache>
                <c:formatCode>0.00</c:formatCode>
                <c:ptCount val="7"/>
                <c:pt idx="0">
                  <c:v>0.22</c:v>
                </c:pt>
                <c:pt idx="1">
                  <c:v>-0.18</c:v>
                </c:pt>
                <c:pt idx="2">
                  <c:v>-0.22</c:v>
                </c:pt>
                <c:pt idx="3">
                  <c:v>-0.3</c:v>
                </c:pt>
                <c:pt idx="4">
                  <c:v>-0.69</c:v>
                </c:pt>
                <c:pt idx="5">
                  <c:v>-0.7</c:v>
                </c:pt>
                <c:pt idx="6">
                  <c:v>-0.7</c:v>
                </c:pt>
              </c:numCache>
            </c:numRef>
          </c:val>
          <c:extLst>
            <c:ext xmlns:c16="http://schemas.microsoft.com/office/drawing/2014/chart" uri="{C3380CC4-5D6E-409C-BE32-E72D297353CC}">
              <c16:uniqueId val="{00000000-EBFE-4392-86D5-9A973E3A558E}"/>
            </c:ext>
          </c:extLst>
        </c:ser>
        <c:dLbls>
          <c:dLblPos val="outEnd"/>
          <c:showLegendKey val="0"/>
          <c:showVal val="1"/>
          <c:showCatName val="0"/>
          <c:showSerName val="0"/>
          <c:showPercent val="0"/>
          <c:showBubbleSize val="0"/>
        </c:dLbls>
        <c:gapWidth val="50"/>
        <c:overlap val="100"/>
        <c:axId val="496931544"/>
        <c:axId val="496933840"/>
      </c:barChart>
      <c:catAx>
        <c:axId val="496931544"/>
        <c:scaling>
          <c:orientation val="minMax"/>
        </c:scaling>
        <c:delete val="0"/>
        <c:axPos val="b"/>
        <c:numFmt formatCode="General" sourceLinked="1"/>
        <c:majorTickMark val="out"/>
        <c:minorTickMark val="out"/>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96933840"/>
        <c:crosses val="autoZero"/>
        <c:auto val="1"/>
        <c:lblAlgn val="ctr"/>
        <c:lblOffset val="100"/>
        <c:noMultiLvlLbl val="0"/>
      </c:catAx>
      <c:valAx>
        <c:axId val="496933840"/>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69315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1" i="0" u="none" strike="noStrike" kern="1200" spc="0" baseline="0">
                <a:solidFill>
                  <a:schemeClr val="bg1"/>
                </a:solidFill>
                <a:latin typeface="+mn-lt"/>
                <a:ea typeface="+mn-ea"/>
                <a:cs typeface="+mn-cs"/>
              </a:defRPr>
            </a:pPr>
            <a:r>
              <a:rPr lang="en-US" sz="900" b="1" dirty="0">
                <a:solidFill>
                  <a:schemeClr val="bg1"/>
                </a:solidFill>
              </a:rPr>
              <a:t>Correlation Coefficient Pump Failure (1 or 0) - Rolling STD</a:t>
            </a:r>
          </a:p>
        </c:rich>
      </c:tx>
      <c:overlay val="0"/>
      <c:spPr>
        <a:solidFill>
          <a:schemeClr val="accent1">
            <a:lumMod val="50000"/>
          </a:schemeClr>
        </a:solidFill>
        <a:ln>
          <a:noFill/>
        </a:ln>
        <a:effectLst/>
      </c:spPr>
      <c:txPr>
        <a:bodyPr rot="0" spcFirstLastPara="1" vertOverflow="ellipsis" vert="horz" wrap="square" anchor="ctr" anchorCtr="1"/>
        <a:lstStyle/>
        <a:p>
          <a:pPr>
            <a:defRPr sz="900" b="1"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X$36</c:f>
              <c:strCache>
                <c:ptCount val="1"/>
                <c:pt idx="0">
                  <c:v>Correlation Coefficient</c:v>
                </c:pt>
              </c:strCache>
            </c:strRef>
          </c:tx>
          <c:spPr>
            <a:solidFill>
              <a:schemeClr val="accent1">
                <a:lumMod val="50000"/>
              </a:schemeClr>
            </a:solidFill>
            <a:ln>
              <a:noFill/>
            </a:ln>
            <a:effectLst/>
          </c:spPr>
          <c:invertIfNegative val="0"/>
          <c:dLbls>
            <c:spPr>
              <a:solidFill>
                <a:schemeClr val="bg2">
                  <a:lumMod val="75000"/>
                </a:schemeClr>
              </a:solid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W$37:$W$43</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7:$X$43</c:f>
              <c:numCache>
                <c:formatCode>0.00</c:formatCode>
                <c:ptCount val="7"/>
                <c:pt idx="0">
                  <c:v>0.69</c:v>
                </c:pt>
                <c:pt idx="1">
                  <c:v>0.64</c:v>
                </c:pt>
                <c:pt idx="2">
                  <c:v>0.64</c:v>
                </c:pt>
                <c:pt idx="3">
                  <c:v>0.63</c:v>
                </c:pt>
                <c:pt idx="4">
                  <c:v>0.62</c:v>
                </c:pt>
                <c:pt idx="5">
                  <c:v>0.6</c:v>
                </c:pt>
                <c:pt idx="6">
                  <c:v>0.6</c:v>
                </c:pt>
              </c:numCache>
            </c:numRef>
          </c:val>
          <c:extLst>
            <c:ext xmlns:c16="http://schemas.microsoft.com/office/drawing/2014/chart" uri="{C3380CC4-5D6E-409C-BE32-E72D297353CC}">
              <c16:uniqueId val="{00000000-63C7-4ED8-94C3-10CB347D82F0}"/>
            </c:ext>
          </c:extLst>
        </c:ser>
        <c:dLbls>
          <c:dLblPos val="outEnd"/>
          <c:showLegendKey val="0"/>
          <c:showVal val="1"/>
          <c:showCatName val="0"/>
          <c:showSerName val="0"/>
          <c:showPercent val="0"/>
          <c:showBubbleSize val="0"/>
        </c:dLbls>
        <c:gapWidth val="50"/>
        <c:overlap val="100"/>
        <c:axId val="530295528"/>
        <c:axId val="530296184"/>
      </c:barChart>
      <c:catAx>
        <c:axId val="530295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530296184"/>
        <c:crosses val="autoZero"/>
        <c:auto val="1"/>
        <c:lblAlgn val="ctr"/>
        <c:lblOffset val="100"/>
        <c:noMultiLvlLbl val="0"/>
      </c:catAx>
      <c:valAx>
        <c:axId val="530296184"/>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02955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highlight>
                  <a:srgbClr val="2F5597"/>
                </a:highlight>
                <a:latin typeface="+mn-lt"/>
                <a:ea typeface="+mn-ea"/>
                <a:cs typeface="+mn-cs"/>
              </a:defRPr>
            </a:pPr>
            <a:r>
              <a:rPr lang="en-AU" sz="1800" b="1" i="0" baseline="0" dirty="0">
                <a:solidFill>
                  <a:schemeClr val="bg1"/>
                </a:solidFill>
                <a:effectLst/>
                <a:highlight>
                  <a:srgbClr val="2F5597"/>
                </a:highlight>
              </a:rPr>
              <a:t>Ranking of Variable Significance </a:t>
            </a:r>
            <a:endParaRPr lang="en-US" dirty="0">
              <a:solidFill>
                <a:schemeClr val="bg1"/>
              </a:solidFill>
              <a:effectLst/>
              <a:highlight>
                <a:srgbClr val="2F5597"/>
              </a:highligh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highlight>
                <a:srgbClr val="2F5597"/>
              </a:highlight>
              <a:latin typeface="+mn-lt"/>
              <a:ea typeface="+mn-ea"/>
              <a:cs typeface="+mn-cs"/>
            </a:defRPr>
          </a:pPr>
          <a:endParaRPr lang="en-US"/>
        </a:p>
      </c:txPr>
    </c:title>
    <c:autoTitleDeleted val="0"/>
    <c:plotArea>
      <c:layout/>
      <c:barChart>
        <c:barDir val="col"/>
        <c:grouping val="clustered"/>
        <c:varyColors val="0"/>
        <c:ser>
          <c:idx val="0"/>
          <c:order val="0"/>
          <c:spPr>
            <a:solidFill>
              <a:schemeClr val="accent2">
                <a:lumMod val="50000"/>
              </a:schemeClr>
            </a:solidFill>
            <a:ln>
              <a:noFill/>
            </a:ln>
            <a:effectLst/>
          </c:spPr>
          <c:invertIfNegative val="0"/>
          <c:dLbls>
            <c:spPr>
              <a:solidFill>
                <a:schemeClr val="bg2">
                  <a:lumMod val="7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7!$P$17:$P$23</c:f>
              <c:strCache>
                <c:ptCount val="7"/>
                <c:pt idx="0">
                  <c:v>Horse Power</c:v>
                </c:pt>
                <c:pt idx="1">
                  <c:v>Volumetric Flow Meter 2</c:v>
                </c:pt>
                <c:pt idx="2">
                  <c:v>Pump Efficiency</c:v>
                </c:pt>
                <c:pt idx="3">
                  <c:v>Pump Torque </c:v>
                </c:pt>
                <c:pt idx="4">
                  <c:v>Pump Speed (RPM)</c:v>
                </c:pt>
                <c:pt idx="5">
                  <c:v>Ambient Temperature</c:v>
                </c:pt>
                <c:pt idx="6">
                  <c:v>Volumetric Flow Meter 1</c:v>
                </c:pt>
              </c:strCache>
            </c:strRef>
          </c:cat>
          <c:val>
            <c:numRef>
              <c:f>Sheet7!$Q$17:$Q$23</c:f>
              <c:numCache>
                <c:formatCode>General</c:formatCode>
                <c:ptCount val="7"/>
                <c:pt idx="0">
                  <c:v>1</c:v>
                </c:pt>
                <c:pt idx="1">
                  <c:v>2</c:v>
                </c:pt>
                <c:pt idx="2">
                  <c:v>3</c:v>
                </c:pt>
                <c:pt idx="3">
                  <c:v>4</c:v>
                </c:pt>
                <c:pt idx="4">
                  <c:v>5</c:v>
                </c:pt>
                <c:pt idx="5">
                  <c:v>6</c:v>
                </c:pt>
                <c:pt idx="6">
                  <c:v>7</c:v>
                </c:pt>
              </c:numCache>
            </c:numRef>
          </c:val>
          <c:extLst>
            <c:ext xmlns:c16="http://schemas.microsoft.com/office/drawing/2014/chart" uri="{C3380CC4-5D6E-409C-BE32-E72D297353CC}">
              <c16:uniqueId val="{00000000-15AF-47A2-9EE8-273CBA95C65D}"/>
            </c:ext>
          </c:extLst>
        </c:ser>
        <c:dLbls>
          <c:showLegendKey val="0"/>
          <c:showVal val="0"/>
          <c:showCatName val="0"/>
          <c:showSerName val="0"/>
          <c:showPercent val="0"/>
          <c:showBubbleSize val="0"/>
        </c:dLbls>
        <c:gapWidth val="219"/>
        <c:overlap val="-27"/>
        <c:axId val="532346760"/>
        <c:axId val="532347744"/>
      </c:barChart>
      <c:catAx>
        <c:axId val="532346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532347744"/>
        <c:crosses val="autoZero"/>
        <c:auto val="1"/>
        <c:lblAlgn val="ctr"/>
        <c:lblOffset val="100"/>
        <c:noMultiLvlLbl val="0"/>
      </c:catAx>
      <c:valAx>
        <c:axId val="532347744"/>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2346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heet2!$A$2461:$A$4861</cx:f>
        <cx:lvl ptCount="2401" formatCode="#,##0.00">
          <cx:pt idx="0">41.781612903225806</cx:pt>
          <cx:pt idx="1">41.786451612903221</cx:pt>
          <cx:pt idx="2">41.785161290322577</cx:pt>
          <cx:pt idx="3">41.828064516129025</cx:pt>
          <cx:pt idx="4">41.821612903225805</cx:pt>
          <cx:pt idx="5">41.806774193548385</cx:pt>
          <cx:pt idx="6">41.823870967741925</cx:pt>
          <cx:pt idx="7">41.806129032258056</cx:pt>
          <cx:pt idx="8">41.84774193548386</cx:pt>
          <cx:pt idx="9">41.904193548387092</cx:pt>
          <cx:pt idx="10">41.99903225806451</cx:pt>
          <cx:pt idx="11">42.123225806451607</cx:pt>
          <cx:pt idx="12">42.057419354838693</cx:pt>
          <cx:pt idx="13">42.107419354838697</cx:pt>
          <cx:pt idx="14">42.071290322580637</cx:pt>
          <cx:pt idx="15">41.996451612903222</cx:pt>
          <cx:pt idx="16">42.008064516129025</cx:pt>
          <cx:pt idx="17">42.048709677419346</cx:pt>
          <cx:pt idx="18">42.07322580645161</cx:pt>
          <cx:pt idx="19">42.083548387096776</cx:pt>
          <cx:pt idx="20">42.024193548387096</cx:pt>
          <cx:pt idx="21">42.02774193548386</cx:pt>
          <cx:pt idx="22">42.057096774193532</cx:pt>
          <cx:pt idx="23">41.960322580645155</cx:pt>
          <cx:pt idx="24">41.97677419354838</cx:pt>
          <cx:pt idx="25">41.927419354838705</cx:pt>
          <cx:pt idx="26">41.969999999999992</cx:pt>
          <cx:pt idx="27">41.962258064516114</cx:pt>
          <cx:pt idx="28">41.977419354838709</cx:pt>
          <cx:pt idx="29">41.922258064516129</cx:pt>
          <cx:pt idx="30">42.004516129032261</cx:pt>
          <cx:pt idx="31">42.115483870967736</cx:pt>
          <cx:pt idx="32">42.142903225806457</cx:pt>
          <cx:pt idx="33">42.112580645161295</cx:pt>
          <cx:pt idx="34">42.032258064516135</cx:pt>
          <cx:pt idx="35">42.085161290322581</cx:pt>
          <cx:pt idx="36">42.127419354838715</cx:pt>
          <cx:pt idx="37">42.04548387096775</cx:pt>
          <cx:pt idx="38">42.057419354838714</cx:pt>
          <cx:pt idx="39">42.050645161290326</cx:pt>
          <cx:pt idx="40">42.002580645161295</cx:pt>
          <cx:pt idx="41">41.985483870967741</cx:pt>
          <cx:pt idx="42">41.911612903225816</cx:pt>
          <cx:pt idx="43">41.908064516129038</cx:pt>
          <cx:pt idx="44">41.8241935483871</cx:pt>
          <cx:pt idx="45">41.824838709677422</cx:pt>
          <cx:pt idx="46">41.851290322580645</cx:pt>
          <cx:pt idx="47">41.865483870967743</cx:pt>
          <cx:pt idx="48">41.859999999999999</cx:pt>
          <cx:pt idx="49">41.848064516129028</cx:pt>
          <cx:pt idx="50">41.883870967741935</cx:pt>
          <cx:pt idx="51">41.94580645161291</cx:pt>
          <cx:pt idx="52">41.903548387096784</cx:pt>
          <cx:pt idx="53">41.872903225806461</cx:pt>
          <cx:pt idx="54">41.984516129032265</cx:pt>
          <cx:pt idx="55">41.967419354838711</cx:pt>
          <cx:pt idx="56">42.060322580645156</cx:pt>
          <cx:pt idx="57">42.026129032258062</cx:pt>
          <cx:pt idx="58">42.038387096774194</cx:pt>
          <cx:pt idx="59">42.077741935483871</cx:pt>
          <cx:pt idx="60">42.069354838709671</cx:pt>
          <cx:pt idx="61">42.013870967741923</cx:pt>
          <cx:pt idx="62">41.998709677419349</cx:pt>
          <cx:pt idx="63">41.951935483870969</cx:pt>
          <cx:pt idx="64">41.962580645161296</cx:pt>
          <cx:pt idx="65">42.04774193548387</cx:pt>
          <cx:pt idx="66">42.029032258064518</cx:pt>
          <cx:pt idx="67">41.999677419354839</cx:pt>
          <cx:pt idx="68">42.031935483870974</cx:pt>
          <cx:pt idx="69">42.058387096774197</cx:pt>
          <cx:pt idx="70">42.005806451612912</cx:pt>
          <cx:pt idx="71">42.07096774193549</cx:pt>
          <cx:pt idx="72">42.030322580645169</cx:pt>
          <cx:pt idx="73">42.036774193548396</cx:pt>
          <cx:pt idx="74">42.123225806451629</cx:pt>
          <cx:pt idx="75">42.180322580645168</cx:pt>
          <cx:pt idx="76">42.182580645161295</cx:pt>
          <cx:pt idx="77">42.233548387096775</cx:pt>
          <cx:pt idx="78">42.267419354838715</cx:pt>
          <cx:pt idx="79">42.238064516129036</cx:pt>
          <cx:pt idx="80">42.167096774193546</cx:pt>
          <cx:pt idx="81">42.192903225806454</cx:pt>
          <cx:pt idx="82">42.252580645161288</cx:pt>
          <cx:pt idx="83">42.198709677419366</cx:pt>
          <cx:pt idx="84">42.270000000000003</cx:pt>
          <cx:pt idx="85">42.174838709677424</cx:pt>
          <cx:pt idx="86">42.119677419354836</cx:pt>
          <cx:pt idx="87">42.10709677419355</cx:pt>
          <cx:pt idx="88">42.089354838709674</cx:pt>
          <cx:pt idx="89">42.00322580645161</cx:pt>
          <cx:pt idx="90">41.92258064516129</cx:pt>
          <cx:pt idx="91">42.017741935483862</cx:pt>
          <cx:pt idx="92">42.062903225806451</cx:pt>
          <cx:pt idx="93">42.053870967741922</cx:pt>
          <cx:pt idx="94">42.113225806451602</cx:pt>
          <cx:pt idx="95">42.176451612903222</cx:pt>
          <cx:pt idx="96">42.130967741935486</cx:pt>
          <cx:pt idx="97">42.084193548387091</cx:pt>
          <cx:pt idx="98">42.19483870967742</cx:pt>
          <cx:pt idx="99">42.170645161290331</cx:pt>
          <cx:pt idx="100">42.055483870967741</cx:pt>
          <cx:pt idx="101">42.172258064516136</cx:pt>
          <cx:pt idx="102">42.09129032258064</cx:pt>
          <cx:pt idx="103">42.049677419354836</cx:pt>
          <cx:pt idx="104">42.060322580645156</cx:pt>
          <cx:pt idx="105">42.009999999999998</cx:pt>
          <cx:pt idx="106">41.989999999999995</cx:pt>
          <cx:pt idx="107">41.955161290322579</cx:pt>
          <cx:pt idx="108">41.927096774193544</cx:pt>
          <cx:pt idx="109">41.906451612903226</cx:pt>
          <cx:pt idx="110">41.941935483870964</cx:pt>
          <cx:pt idx="111">42.058709677419351</cx:pt>
          <cx:pt idx="112">41.996451612903229</cx:pt>
          <cx:pt idx="113">41.912580645161299</cx:pt>
          <cx:pt idx="114">41.939677419354844</cx:pt>
          <cx:pt idx="115">41.873225806451607</cx:pt>
          <cx:pt idx="116">41.886129032258076</cx:pt>
          <cx:pt idx="117">41.945161290322588</cx:pt>
          <cx:pt idx="118">41.951612903225815</cx:pt>
          <cx:pt idx="119">41.99774193548388</cx:pt>
          <cx:pt idx="120">42.048064516129031</cx:pt>
          <cx:pt idx="121">42.064838709677424</cx:pt>
          <cx:pt idx="122">42</cx:pt>
          <cx:pt idx="123">41.900645161290321</cx:pt>
          <cx:pt idx="124">41.849677419354833</cx:pt>
          <cx:pt idx="125">41.77870967741935</cx:pt>
          <cx:pt idx="126">41.727096774193541</cx:pt>
          <cx:pt idx="127">41.715806451612906</cx:pt>
          <cx:pt idx="128">41.792580645161287</cx:pt>
          <cx:pt idx="129">41.74258064516129</cx:pt>
          <cx:pt idx="130">41.734516129032258</cx:pt>
          <cx:pt idx="131">41.741935483870968</cx:pt>
          <cx:pt idx="132">41.708387096774189</cx:pt>
          <cx:pt idx="133">41.810645161290317</cx:pt>
          <cx:pt idx="134">41.888064516129035</cx:pt>
          <cx:pt idx="135">41.816451612903222</cx:pt>
          <cx:pt idx="136">41.767096774193547</cx:pt>
          <cx:pt idx="137">41.766129032258057</cx:pt>
          <cx:pt idx="138">41.749677419354832</cx:pt>
          <cx:pt idx="139">41.763870967741937</cx:pt>
          <cx:pt idx="140">41.810645161290317</cx:pt>
          <cx:pt idx="141">41.814838709677417</cx:pt>
          <cx:pt idx="142">41.702903225806452</cx:pt>
          <cx:pt idx="143">41.733548387096775</cx:pt>
          <cx:pt idx="144">41.713870967741933</cx:pt>
          <cx:pt idx="145">41.802903225806446</cx:pt>
          <cx:pt idx="146">41.818709677419349</cx:pt>
          <cx:pt idx="147">41.899677419354845</cx:pt>
          <cx:pt idx="148">41.861935483870965</cx:pt>
          <cx:pt idx="149">41.770645161290318</cx:pt>
          <cx:pt idx="150">41.765806451612896</cx:pt>
          <cx:pt idx="151">41.734516129032251</cx:pt>
          <cx:pt idx="152">41.720645161290321</cx:pt>
          <cx:pt idx="153">41.773548387096774</cx:pt>
          <cx:pt idx="154">41.856774193548375</cx:pt>
          <cx:pt idx="155">41.830322580645159</cx:pt>
          <cx:pt idx="156">41.849032258064511</cx:pt>
          <cx:pt idx="157">41.864193548387092</cx:pt>
          <cx:pt idx="158">41.835806451612903</cx:pt>
          <cx:pt idx="159">41.81483870967741</cx:pt>
          <cx:pt idx="160">41.863870967741924</cx:pt>
          <cx:pt idx="161">41.988709677419337</cx:pt>
          <cx:pt idx="162">42.032903225806443</cx:pt>
          <cx:pt idx="163">42.056774193548371</cx:pt>
          <cx:pt idx="164">42.004516129032261</cx:pt>
          <cx:pt idx="165">42.017741935483876</cx:pt>
          <cx:pt idx="166">42.049354838709682</cx:pt>
          <cx:pt idx="167">42.055806451612916</cx:pt>
          <cx:pt idx="168">42.01483870967742</cx:pt>
          <cx:pt idx="169">42.117096774193563</cx:pt>
          <cx:pt idx="170">42.159032258064535</cx:pt>
          <cx:pt idx="171">42.097419354838721</cx:pt>
          <cx:pt idx="172">42.060000000000002</cx:pt>
          <cx:pt idx="173">42.103548387096779</cx:pt>
          <cx:pt idx="174">42.123548387096783</cx:pt>
          <cx:pt idx="175">42.140322580645162</cx:pt>
          <cx:pt idx="176">42.146451612903228</cx:pt>
          <cx:pt idx="177">42.118709677419353</cx:pt>
          <cx:pt idx="178">42.054193548387097</cx:pt>
          <cx:pt idx="179">42.085806451612903</cx:pt>
          <cx:pt idx="180">42.077096774193549</cx:pt>
          <cx:pt idx="181">42.054516129032258</cx:pt>
          <cx:pt idx="182">42.006774193548395</cx:pt>
          <cx:pt idx="183">42.111612903225812</cx:pt>
          <cx:pt idx="184">42.063548387096773</cx:pt>
          <cx:pt idx="185">42.082580645161286</cx:pt>
          <cx:pt idx="186">42.115806451612904</cx:pt>
          <cx:pt idx="187">42.140322580645162</cx:pt>
          <cx:pt idx="188">42.081290322580635</cx:pt>
          <cx:pt idx="189">42.147741935483864</cx:pt>
          <cx:pt idx="190">42.118709677419346</cx:pt>
          <cx:pt idx="191">42.072903225806449</cx:pt>
          <cx:pt idx="192">42.043225806451609</cx:pt>
          <cx:pt idx="193">41.999677419354832</cx:pt>
          <cx:pt idx="194">41.985161290322587</cx:pt>
          <cx:pt idx="195">41.954516129032264</cx:pt>
          <cx:pt idx="196">41.941935483870978</cx:pt>
          <cx:pt idx="197">42.010967741935488</cx:pt>
          <cx:pt idx="198">42.071935483870973</cx:pt>
          <cx:pt idx="199">42.196129032258071</cx:pt>
          <cx:pt idx="200">42.127096774193554</cx:pt>
          <cx:pt idx="201">42.085161290322588</cx:pt>
          <cx:pt idx="202">42.180645161290336</cx:pt>
          <cx:pt idx="203">42.172258064516143</cx:pt>
          <cx:pt idx="204">42.219354838709691</cx:pt>
          <cx:pt idx="205">42.22129032258065</cx:pt>
          <cx:pt idx="206">42.267741935483876</cx:pt>
          <cx:pt idx="207">42.203870967741942</cx:pt>
          <cx:pt idx="208">42.299999999999997</cx:pt>
          <cx:pt idx="209">42.285483870967738</cx:pt>
          <cx:pt idx="210">42.248709677419356</cx:pt>
          <cx:pt idx="211">42.281612903225806</cx:pt>
          <cx:pt idx="212">42.345806451612894</cx:pt>
          <cx:pt idx="213">42.42677419354839</cx:pt>
          <cx:pt idx="214">42.423225806451612</cx:pt>
          <cx:pt idx="215">42.434193548387086</cx:pt>
          <cx:pt idx="216">42.395161290322577</cx:pt>
          <cx:pt idx="217">42.464193548387094</cx:pt>
          <cx:pt idx="218">42.553870967741929</cx:pt>
          <cx:pt idx="219">42.630967741935486</cx:pt>
          <cx:pt idx="220">42.621612903225802</cx:pt>
          <cx:pt idx="221">42.634516129032264</cx:pt>
          <cx:pt idx="222">42.668709677419365</cx:pt>
          <cx:pt idx="223">42.715806451612906</cx:pt>
          <cx:pt idx="224">42.815483870967746</cx:pt>
          <cx:pt idx="225">42.808064516129036</cx:pt>
          <cx:pt idx="226">42.854516129032262</cx:pt>
          <cx:pt idx="227">42.924193548387109</cx:pt>
          <cx:pt idx="228">42.895161290322598</cx:pt>
          <cx:pt idx="229">42.922580645161297</cx:pt>
          <cx:pt idx="230">42.925161290322592</cx:pt>
          <cx:pt idx="231">42.940000000000012</cx:pt>
          <cx:pt idx="232">42.981290322580655</cx:pt>
          <cx:pt idx="233">42.921290322580653</cx:pt>
          <cx:pt idx="234">42.982580645161292</cx:pt>
          <cx:pt idx="235">42.965483870967745</cx:pt>
          <cx:pt idx="236">42.934193548387107</cx:pt>
          <cx:pt idx="237">42.950322580645171</cx:pt>
          <cx:pt idx="238">43.037741935483879</cx:pt>
          <cx:pt idx="239">42.998387096774209</cx:pt>
          <cx:pt idx="240">43.04645161290324</cx:pt>
          <cx:pt idx="241">43.104516129032262</cx:pt>
          <cx:pt idx="242">43.178387096774202</cx:pt>
          <cx:pt idx="243">43.20129032258064</cx:pt>
          <cx:pt idx="244">43.273225806451613</cx:pt>
          <cx:pt idx="245">43.289032258064509</cx:pt>
          <cx:pt idx="246">43.379354838709659</cx:pt>
          <cx:pt idx="247">43.415483870967734</cx:pt>
          <cx:pt idx="248">43.402580645161279</cx:pt>
          <cx:pt idx="249">43.405161290322575</cx:pt>
          <cx:pt idx="250">43.427741935483866</cx:pt>
          <cx:pt idx="251">43.449354838709667</cx:pt>
          <cx:pt idx="252">43.474193548387092</cx:pt>
          <cx:pt idx="253">43.444516129032259</cx:pt>
          <cx:pt idx="254">43.369032258064507</cx:pt>
          <cx:pt idx="255">43.362258064516119</cx:pt>
          <cx:pt idx="256">43.335806451612889</cx:pt>
          <cx:pt idx="257">43.370322580645144</cx:pt>
          <cx:pt idx="258">43.258387096774186</cx:pt>
          <cx:pt idx="259">43.250967741935483</cx:pt>
          <cx:pt idx="260">43.240322580645163</cx:pt>
          <cx:pt idx="261">43.140967741935491</cx:pt>
          <cx:pt idx="262">43.156451612903233</cx:pt>
          <cx:pt idx="263">43.038064516129047</cx:pt>
          <cx:pt idx="264">43.027741935483888</cx:pt>
          <cx:pt idx="265">43.038387096774208</cx:pt>
          <cx:pt idx="266">43.003548387096785</cx:pt>
          <cx:pt idx="267">43.055483870967755</cx:pt>
          <cx:pt idx="268">43.041612903225811</cx:pt>
          <cx:pt idx="269">42.949354838709681</cx:pt>
          <cx:pt idx="270">42.94161290322581</cx:pt>
          <cx:pt idx="271">42.975806451612897</cx:pt>
          <cx:pt idx="272">42.873548387096783</cx:pt>
          <cx:pt idx="273">42.872903225806446</cx:pt>
          <cx:pt idx="274">42.778064516129028</cx:pt>
          <cx:pt idx="275">42.70548387096774</cx:pt>
          <cx:pt idx="276">42.667741935483882</cx:pt>
          <cx:pt idx="277">42.597741935483874</cx:pt>
          <cx:pt idx="278">42.584193548387098</cx:pt>
          <cx:pt idx="279">42.533548387096779</cx:pt>
          <cx:pt idx="280">42.398064516129047</cx:pt>
          <cx:pt idx="281">42.305161290322602</cx:pt>
          <cx:pt idx="282">42.279354838709686</cx:pt>
          <cx:pt idx="283">42.25516129032259</cx:pt>
          <cx:pt idx="284">42.189032258064522</cx:pt>
          <cx:pt idx="285">42.179677419354846</cx:pt>
          <cx:pt idx="286">42.197419354838708</cx:pt>
          <cx:pt idx="287">42.150967741935489</cx:pt>
          <cx:pt idx="288">42.141935483870974</cx:pt>
          <cx:pt idx="289">42.152903225806455</cx:pt>
          <cx:pt idx="290">42.190967741935495</cx:pt>
          <cx:pt idx="291">42.149032258064523</cx:pt>
          <cx:pt idx="292">42.141290322580652</cx:pt>
          <cx:pt idx="293">42.079032258064515</cx:pt>
          <cx:pt idx="294">42.188064516129032</cx:pt>
          <cx:pt idx="295">42.134193548387096</cx:pt>
          <cx:pt idx="296">42.025806451612901</cx:pt>
          <cx:pt idx="297">42.097419354838706</cx:pt>
          <cx:pt idx="298">41.986774193548385</cx:pt>
          <cx:pt idx="299">41.961612903225799</cx:pt>
          <cx:pt idx="300">42.008064516129025</cx:pt>
          <cx:pt idx="301">41.994193548387095</cx:pt>
          <cx:pt idx="302">41.8732258064516</cx:pt>
          <cx:pt idx="303">41.892580645161281</cx:pt>
          <cx:pt idx="304">41.856129032258046</cx:pt>
          <cx:pt idx="305">41.881935483870969</cx:pt>
          <cx:pt idx="306">41.850967741935477</cx:pt>
          <cx:pt idx="307">41.821290322580644</cx:pt>
          <cx:pt idx="308">41.765483870967742</cx:pt>
          <cx:pt idx="309">41.764838709677427</cx:pt>
          <cx:pt idx="310">41.813870967741941</cx:pt>
          <cx:pt idx="311">41.881935483870976</cx:pt>
          <cx:pt idx="312">41.865161290322575</cx:pt>
          <cx:pt idx="313">41.915806451612902</cx:pt>
          <cx:pt idx="314">41.862580645161287</cx:pt>
          <cx:pt idx="315">41.94903225806452</cx:pt>
          <cx:pt idx="316">41.994193548387095</cx:pt>
          <cx:pt idx="317">41.962258064516128</cx:pt>
          <cx:pt idx="318">41.954838709677425</cx:pt>
          <cx:pt idx="319">41.893225806451618</cx:pt>
          <cx:pt idx="320">41.925161290322585</cx:pt>
          <cx:pt idx="321">41.937096774193549</cx:pt>
          <cx:pt idx="322">41.992258064516122</cx:pt>
          <cx:pt idx="323">41.986451612903224</cx:pt>
          <cx:pt idx="324">42.046451612903226</cx:pt>
          <cx:pt idx="325">42.0616129032258</cx:pt>
          <cx:pt idx="326">42.124838709677412</cx:pt>
          <cx:pt idx="327">42.16096774193548</cx:pt>
          <cx:pt idx="328">42.073225806451603</cx:pt>
          <cx:pt idx="329">42.143870967741933</cx:pt>
          <cx:pt idx="330">42.19483870967742</cx:pt>
          <cx:pt idx="331">42.097096774193545</cx:pt>
          <cx:pt idx="332">42.089677419354835</cx:pt>
          <cx:pt idx="333">42.109999999999999</cx:pt>
          <cx:pt idx="334">42.094838709677418</cx:pt>
          <cx:pt idx="335">42.031612903225806</cx:pt>
          <cx:pt idx="336">42.066129032258068</cx:pt>
          <cx:pt idx="337">42.076774193548381</cx:pt>
          <cx:pt idx="338">42.115483870967743</cx:pt>
          <cx:pt idx="339">42.194193548387105</cx:pt>
          <cx:pt idx="340">42.120000000000012</cx:pt>
          <cx:pt idx="341">42.13741935483872</cx:pt>
          <cx:pt idx="342">42.062258064516129</cx:pt>
          <cx:pt idx="343">42.163548387096782</cx:pt>
          <cx:pt idx="344">42.164516129032265</cx:pt>
          <cx:pt idx="345">42.163548387096775</cx:pt>
          <cx:pt idx="346">42.069354838709678</cx:pt>
          <cx:pt idx="347">42.091290322580633</cx:pt>
          <cx:pt idx="348">42.11354838709677</cx:pt>
          <cx:pt idx="349">42.168709677419358</cx:pt>
          <cx:pt idx="350">42.231290322580648</cx:pt>
          <cx:pt idx="351">42.226774193548394</cx:pt>
          <cx:pt idx="352">42.216129032258067</cx:pt>
          <cx:pt idx="353">42.143548387096779</cx:pt>
          <cx:pt idx="354">42.147741935483872</cx:pt>
          <cx:pt idx="355">42.119032258064507</cx:pt>
          <cx:pt idx="356">42.063225806451605</cx:pt>
          <cx:pt idx="357">42.12096774193548</cx:pt>
          <cx:pt idx="358">42.111612903225797</cx:pt>
          <cx:pt idx="359">42.115483870967736</cx:pt>
          <cx:pt idx="360">42.138387096774203</cx:pt>
          <cx:pt idx="361">42.130645161290339</cx:pt>
          <cx:pt idx="362">42.231935483870977</cx:pt>
          <cx:pt idx="363">42.186774193548395</cx:pt>
          <cx:pt idx="364">42.206129032258069</cx:pt>
          <cx:pt idx="365">42.200322580645164</cx:pt>
          <cx:pt idx="366">42.277096774193552</cx:pt>
          <cx:pt idx="367">42.217741935483879</cx:pt>
          <cx:pt idx="368">42.180000000000007</cx:pt>
          <cx:pt idx="369">42.165806451612909</cx:pt>
          <cx:pt idx="370">42.104193548387094</cx:pt>
          <cx:pt idx="371">42.193225806451615</cx:pt>
          <cx:pt idx="372">42.150322580645167</cx:pt>
          <cx:pt idx="373">42.214193548387101</cx:pt>
          <cx:pt idx="374">42.217096774193557</cx:pt>
          <cx:pt idx="375">42.187419354838717</cx:pt>
          <cx:pt idx="376">42.181290322580658</cx:pt>
          <cx:pt idx="377">42.215161290322584</cx:pt>
          <cx:pt idx="378">42.119354838709675</cx:pt>
          <cx:pt idx="379">42.101290322580645</cx:pt>
          <cx:pt idx="380">42.090645161290318</cx:pt>
          <cx:pt idx="381">41.993870967741934</cx:pt>
          <cx:pt idx="382">41.957419354838706</cx:pt>
          <cx:pt idx="383">41.87580645161291</cx:pt>
          <cx:pt idx="384">41.89806451612904</cx:pt>
          <cx:pt idx="385">41.961935483870967</cx:pt>
          <cx:pt idx="386">41.950645161290325</cx:pt>
          <cx:pt idx="387">42.009999999999998</cx:pt>
          <cx:pt idx="388">41.992258064516129</cx:pt>
          <cx:pt idx="389">42.012580645161286</cx:pt>
          <cx:pt idx="390">41.999677419354839</cx:pt>
          <cx:pt idx="391">41.972580645161287</cx:pt>
          <cx:pt idx="392">41.955483870967733</cx:pt>
          <cx:pt idx="393">41.895483870967738</cx:pt>
          <cx:pt idx="394">41.915161290322573</cx:pt>
          <cx:pt idx="395">41.966774193548375</cx:pt>
          <cx:pt idx="396">42.030322580645155</cx:pt>
          <cx:pt idx="397">42.002580645161281</cx:pt>
          <cx:pt idx="398">41.985161290322566</cx:pt>
          <cx:pt idx="399">41.969354838709663</cx:pt>
          <cx:pt idx="400">41.903225806451609</cx:pt>
          <cx:pt idx="401">41.893548387096772</cx:pt>
          <cx:pt idx="402">41.789677419354838</cx:pt>
          <cx:pt idx="403">41.799999999999997</cx:pt>
          <cx:pt idx="404">41.729032258064514</cx:pt>
          <cx:pt idx="405">41.611935483870965</cx:pt>
          <cx:pt idx="406">41.628387096774198</cx:pt>
          <cx:pt idx="407">41.719677419354838</cx:pt>
          <cx:pt idx="408">41.722903225806455</cx:pt>
          <cx:pt idx="409">41.811612903225807</cx:pt>
          <cx:pt idx="410">41.791290322580643</cx:pt>
          <cx:pt idx="411">41.746451612903229</cx:pt>
          <cx:pt idx="412">41.812903225806451</cx:pt>
          <cx:pt idx="413">41.882580645161305</cx:pt>
          <cx:pt idx="414">41.877096774193561</cx:pt>
          <cx:pt idx="415">41.914838709677433</cx:pt>
          <cx:pt idx="416">41.920967741935492</cx:pt>
          <cx:pt idx="417">41.887419354838727</cx:pt>
          <cx:pt idx="418">41.77419354838711</cx:pt>
          <cx:pt idx="419">41.778387096774196</cx:pt>
          <cx:pt idx="420">41.775806451612901</cx:pt>
          <cx:pt idx="421">41.753870967741925</cx:pt>
          <cx:pt idx="422">41.805483870967734</cx:pt>
          <cx:pt idx="423">41.801935483870963</cx:pt>
          <cx:pt idx="424">41.760967741935474</cx:pt>
          <cx:pt idx="425">41.779999999999994</cx:pt>
          <cx:pt idx="426">41.782580645161282</cx:pt>
          <cx:pt idx="427">41.723225806451609</cx:pt>
          <cx:pt idx="428">41.78290322580645</cx:pt>
          <cx:pt idx="429">41.858387096774202</cx:pt>
          <cx:pt idx="430">41.882258064516137</cx:pt>
          <cx:pt idx="431">41.869677419354851</cx:pt>
          <cx:pt idx="432">41.871290322580656</cx:pt>
          <cx:pt idx="433">41.89290322580645</cx:pt>
          <cx:pt idx="434">41.821290322580637</cx:pt>
          <cx:pt idx="435">41.866451612903219</cx:pt>
          <cx:pt idx="436">41.915806451612902</cx:pt>
          <cx:pt idx="437">41.938064516129032</cx:pt>
          <cx:pt idx="438">41.883870967741935</cx:pt>
          <cx:pt idx="439">41.889032258064518</cx:pt>
          <cx:pt idx="440">41.851612903225799</cx:pt>
          <cx:pt idx="441">41.807419354838707</cx:pt>
          <cx:pt idx="442">41.811290322580646</cx:pt>
          <cx:pt idx="443">41.817741935483873</cx:pt>
          <cx:pt idx="444">41.714193548387101</cx:pt>
          <cx:pt idx="445">41.819999999999993</cx:pt>
          <cx:pt idx="446">41.776774193548384</cx:pt>
          <cx:pt idx="447">41.72774193548387</cx:pt>
          <cx:pt idx="448">41.732903225806446</cx:pt>
          <cx:pt idx="449">41.824838709677408</cx:pt>
          <cx:pt idx="450">41.769999999999996</cx:pt>
          <cx:pt idx="451">41.755483870967737</cx:pt>
          <cx:pt idx="452">41.793225806451609</cx:pt>
          <cx:pt idx="453">41.777741935483867</cx:pt>
          <cx:pt idx="454">41.719354838709677</cx:pt>
          <cx:pt idx="455">41.807096774193553</cx:pt>
          <cx:pt idx="456">41.798709677419353</cx:pt>
          <cx:pt idx="457">41.71387096774194</cx:pt>
          <cx:pt idx="458">41.714838709677423</cx:pt>
          <cx:pt idx="459">41.725161290322582</cx:pt>
          <cx:pt idx="460">41.720645161290321</cx:pt>
          <cx:pt idx="461">41.765161290322581</cx:pt>
          <cx:pt idx="462">41.878387096774198</cx:pt>
          <cx:pt idx="463">41.899354838709691</cx:pt>
          <cx:pt idx="464">41.993225806451612</cx:pt>
          <cx:pt idx="465">42.038064516129033</cx:pt>
          <cx:pt idx="466">42.051290322580655</cx:pt>
          <cx:pt idx="467">42.084516129032252</cx:pt>
          <cx:pt idx="468">42.027419354838713</cx:pt>
          <cx:pt idx="469">41.969677419354845</cx:pt>
          <cx:pt idx="470">42.04032258064516</cx:pt>
          <cx:pt idx="471">41.977419354838702</cx:pt>
          <cx:pt idx="472">42.049677419354836</cx:pt>
          <cx:pt idx="473">42.150322580645167</cx:pt>
          <cx:pt idx="474">42.111935483870965</cx:pt>
          <cx:pt idx="475">42.118387096774192</cx:pt>
          <cx:pt idx="476">42.055806451612909</cx:pt>
          <cx:pt idx="477">42.08483870967742</cx:pt>
          <cx:pt idx="478">42.150645161290328</cx:pt>
          <cx:pt idx="479">42.257419354838703</cx:pt>
          <cx:pt idx="480">42.21838709677418</cx:pt>
          <cx:pt idx="481">42.197741935483855</cx:pt>
          <cx:pt idx="482">42.154516129032245</cx:pt>
          <cx:pt idx="483">42.159032258064506</cx:pt>
          <cx:pt idx="484">42.121290322580627</cx:pt>
          <cx:pt idx="485">42.216774193548382</cx:pt>
          <cx:pt idx="486">42.128709677419344</cx:pt>
          <cx:pt idx="487">42.102258064516128</cx:pt>
          <cx:pt idx="488">42.122258064516124</cx:pt>
          <cx:pt idx="489">42.166774193548392</cx:pt>
          <cx:pt idx="490">42.126774193548393</cx:pt>
          <cx:pt idx="491">42.108064516129041</cx:pt>
          <cx:pt idx="492">42.125161290322588</cx:pt>
          <cx:pt idx="493">42.120645161290341</cx:pt>
          <cx:pt idx="494">42.126451612903232</cx:pt>
          <cx:pt idx="495">42.005161290322583</cx:pt>
          <cx:pt idx="496">41.991290322580646</cx:pt>
          <cx:pt idx="497">41.943548387096783</cx:pt>
          <cx:pt idx="498">41.865806451612904</cx:pt>
          <cx:pt idx="499">41.921290322580653</cx:pt>
          <cx:pt idx="500">42.017419354838715</cx:pt>
          <cx:pt idx="501">41.974193548387106</cx:pt>
          <cx:pt idx="502">42.060967741935485</cx:pt>
          <cx:pt idx="503">41.997096774193551</cx:pt>
          <cx:pt idx="504">41.960645161290323</cx:pt>
          <cx:pt idx="505">41.96387096774194</cx:pt>
          <cx:pt idx="506">42.077741935483871</cx:pt>
          <cx:pt idx="507">42.132903225806459</cx:pt>
          <cx:pt idx="508">42.123548387096768</cx:pt>
          <cx:pt idx="509">42.124838709677412</cx:pt>
          <cx:pt idx="510">42.111935483870965</cx:pt>
          <cx:pt idx="511">42.123548387096768</cx:pt>
          <cx:pt idx="512">42.102580645161282</cx:pt>
          <cx:pt idx="513">42.200967741935479</cx:pt>
          <cx:pt idx="514">42.199677419354835</cx:pt>
          <cx:pt idx="515">42.220645161290314</cx:pt>
          <cx:pt idx="516">42.188709677419354</cx:pt>
          <cx:pt idx="517">42.25645161290322</cx:pt>
          <cx:pt idx="518">42.350967741935484</cx:pt>
          <cx:pt idx="519">42.369032258064514</cx:pt>
          <cx:pt idx="520">42.349032258064518</cx:pt>
          <cx:pt idx="521">42.328709677419354</cx:pt>
          <cx:pt idx="522">42.293870967741938</cx:pt>
          <cx:pt idx="523">42.250000000000007</cx:pt>
          <cx:pt idx="524">42.255806451612912</cx:pt>
          <cx:pt idx="525">42.193225806451622</cx:pt>
          <cx:pt idx="526">42.29129032258065</cx:pt>
          <cx:pt idx="527">42.331290322580649</cx:pt>
          <cx:pt idx="528">42.396129032258074</cx:pt>
          <cx:pt idx="529">42.402580645161301</cx:pt>
          <cx:pt idx="530">42.310000000000009</cx:pt>
          <cx:pt idx="531">42.277096774193552</cx:pt>
          <cx:pt idx="532">42.263870967741944</cx:pt>
          <cx:pt idx="533">42.234516129032265</cx:pt>
          <cx:pt idx="534">42.258709677419368</cx:pt>
          <cx:pt idx="535">42.293225806451609</cx:pt>
          <cx:pt idx="536">42.307741935483868</cx:pt>
          <cx:pt idx="537">42.267741935483876</cx:pt>
          <cx:pt idx="538">42.257741935483871</cx:pt>
          <cx:pt idx="539">42.179354838709678</cx:pt>
          <cx:pt idx="540">42.172903225806458</cx:pt>
          <cx:pt idx="541">42.061612903225807</cx:pt>
          <cx:pt idx="542">41.985806451612909</cx:pt>
          <cx:pt idx="543">42.018387096774205</cx:pt>
          <cx:pt idx="544">41.998387096774202</cx:pt>
          <cx:pt idx="545">41.990645161290338</cx:pt>
          <cx:pt idx="546">41.911290322580662</cx:pt>
          <cx:pt idx="547">41.940645161290334</cx:pt>
          <cx:pt idx="548">41.892258064516142</cx:pt>
          <cx:pt idx="549">41.899354838709691</cx:pt>
          <cx:pt idx="550">41.970645161290328</cx:pt>
          <cx:pt idx="551">41.983870967741943</cx:pt>
          <cx:pt idx="552">42.010645161290327</cx:pt>
          <cx:pt idx="553">42.062258064516136</cx:pt>
          <cx:pt idx="554">42.083548387096783</cx:pt>
          <cx:pt idx="555">41.992580645161297</cx:pt>
          <cx:pt idx="556">41.989677419354841</cx:pt>
          <cx:pt idx="557">41.892258064516128</cx:pt>
          <cx:pt idx="558">41.819677419354832</cx:pt>
          <cx:pt idx="559">41.798064516129024</cx:pt>
          <cx:pt idx="560">41.824193548387086</cx:pt>
          <cx:pt idx="561">41.80419354838709</cx:pt>
          <cx:pt idx="562">41.757096774193542</cx:pt>
          <cx:pt idx="563">41.727419354838702</cx:pt>
          <cx:pt idx="564">41.697419354838701</cx:pt>
          <cx:pt idx="565">41.697741935483862</cx:pt>
          <cx:pt idx="566">41.609999999999985</cx:pt>
          <cx:pt idx="567">41.668709677419344</cx:pt>
          <cx:pt idx="568">41.632580645161269</cx:pt>
          <cx:pt idx="569">41.551612903225802</cx:pt>
          <cx:pt idx="570">41.601290322580638</cx:pt>
          <cx:pt idx="571">41.563225806451605</cx:pt>
          <cx:pt idx="572">41.636129032258061</cx:pt>
          <cx:pt idx="573">41.701290322580647</cx:pt>
          <cx:pt idx="574">41.674193548387102</cx:pt>
          <cx:pt idx="575">41.715483870967752</cx:pt>
          <cx:pt idx="576">41.769032258064527</cx:pt>
          <cx:pt idx="577">41.806451612903238</cx:pt>
          <cx:pt idx="578">41.729032258064528</cx:pt>
          <cx:pt idx="579">41.757419354838724</cx:pt>
          <cx:pt idx="580">41.712903225806457</cx:pt>
          <cx:pt idx="581">41.586774193548386</cx:pt>
          <cx:pt idx="582">41.566451612903236</cx:pt>
          <cx:pt idx="583">41.556774193548385</cx:pt>
          <cx:pt idx="584">41.465161290322577</cx:pt>
          <cx:pt idx="585">41.479354838709675</cx:pt>
          <cx:pt idx="586">41.476129032258065</cx:pt>
          <cx:pt idx="587">41.603548387096772</cx:pt>
          <cx:pt idx="588">41.677096774193551</cx:pt>
          <cx:pt idx="589">41.758064516129025</cx:pt>
          <cx:pt idx="590">41.765161290322574</cx:pt>
          <cx:pt idx="591">41.809677419354834</cx:pt>
          <cx:pt idx="592">41.927419354838712</cx:pt>
          <cx:pt idx="593">42.021612903225801</cx:pt>
          <cx:pt idx="594">42.027419354838706</cx:pt>
          <cx:pt idx="595">42.085806451612896</cx:pt>
          <cx:pt idx="596">42.132580645161291</cx:pt>
          <cx:pt idx="597">42.123548387096768</cx:pt>
          <cx:pt idx="598">42.100322580645155</cx:pt>
          <cx:pt idx="599">42.078064516129032</cx:pt>
          <cx:pt idx="600">42.105483870967738</cx:pt>
          <cx:pt idx="601">42.16935483870968</cx:pt>
          <cx:pt idx="602">42.254838709677415</cx:pt>
          <cx:pt idx="603">42.291290322580643</cx:pt>
          <cx:pt idx="604">42.356774193548389</cx:pt>
          <cx:pt idx="605">42.478064516129038</cx:pt>
          <cx:pt idx="606">42.483870967741943</cx:pt>
          <cx:pt idx="607">42.490322580645163</cx:pt>
          <cx:pt idx="608">42.548064516129031</cx:pt>
          <cx:pt idx="609">42.621612903225817</cx:pt>
          <cx:pt idx="610">42.715806451612906</cx:pt>
          <cx:pt idx="611">42.722903225806455</cx:pt>
          <cx:pt idx="612">42.829354838709669</cx:pt>
          <cx:pt idx="613">42.886774193548383</cx:pt>
          <cx:pt idx="614">42.923548387096766</cx:pt>
          <cx:pt idx="615">42.999999999999993</cx:pt>
          <cx:pt idx="616">42.977419354838702</cx:pt>
          <cx:pt idx="617">43.026774193548377</cx:pt>
          <cx:pt idx="618">43.041612903225804</cx:pt>
          <cx:pt idx="619">43.111935483870965</cx:pt>
          <cx:pt idx="620">43.084193548387091</cx:pt>
          <cx:pt idx="621">43.180967741935483</cx:pt>
          <cx:pt idx="622">43.229354838709682</cx:pt>
          <cx:pt idx="623">43.193548387096783</cx:pt>
          <cx:pt idx="624">43.222580645161287</cx:pt>
          <cx:pt idx="625">43.274516129032264</cx:pt>
          <cx:pt idx="626">43.286129032258067</cx:pt>
          <cx:pt idx="627">43.312903225806458</cx:pt>
          <cx:pt idx="628">43.402903225806469</cx:pt>
          <cx:pt idx="629">43.442580645161307</cx:pt>
          <cx:pt idx="630">43.51451612903228</cx:pt>
          <cx:pt idx="631">43.546129032258079</cx:pt>
          <cx:pt idx="632">43.520967741935493</cx:pt>
          <cx:pt idx="633">43.514193548387105</cx:pt>
          <cx:pt idx="634">43.534838709677423</cx:pt>
          <cx:pt idx="635">43.474193548387106</cx:pt>
          <cx:pt idx="636">43.469677419354845</cx:pt>
          <cx:pt idx="637">43.496451612903222</cx:pt>
          <cx:pt idx="638">43.509677419354844</cx:pt>
          <cx:pt idx="639">43.469677419354845</cx:pt>
          <cx:pt idx="640">43.495161290322585</cx:pt>
          <cx:pt idx="641">43.497419354838712</cx:pt>
          <cx:pt idx="642">43.54774193548387</cx:pt>
          <cx:pt idx="643">43.531290322580645</cx:pt>
          <cx:pt idx="644">43.557419354838707</cx:pt>
          <cx:pt idx="645">43.503870967741932</cx:pt>
          <cx:pt idx="646">43.429354838709678</cx:pt>
          <cx:pt idx="647">43.400322580645167</cx:pt>
          <cx:pt idx="648">43.342580645161291</cx:pt>
          <cx:pt idx="649">43.270967741935486</cx:pt>
          <cx:pt idx="650">43.202580645161298</cx:pt>
          <cx:pt idx="651">43.249032258064524</cx:pt>
          <cx:pt idx="652">43.130322580645171</cx:pt>
          <cx:pt idx="653">43.054838709677426</cx:pt>
          <cx:pt idx="654">43.063225806451619</cx:pt>
          <cx:pt idx="655">42.94483870967742</cx:pt>
          <cx:pt idx="656">42.872258064516124</cx:pt>
          <cx:pt idx="657">42.756774193548388</cx:pt>
          <cx:pt idx="658">42.654838709677421</cx:pt>
          <cx:pt idx="659">42.610645161290314</cx:pt>
          <cx:pt idx="660">42.511935483870957</cx:pt>
          <cx:pt idx="661">42.416451612903224</cx:pt>
          <cx:pt idx="662">42.351612903225799</cx:pt>
          <cx:pt idx="663">42.353548387096765</cx:pt>
          <cx:pt idx="664">42.29999999999999</cx:pt>
          <cx:pt idx="665">42.224838709677414</cx:pt>
          <cx:pt idx="666">42.264516129032252</cx:pt>
          <cx:pt idx="667">42.206451612903223</cx:pt>
          <cx:pt idx="668">42.114838709677414</cx:pt>
          <cx:pt idx="669">42.113548387096763</cx:pt>
          <cx:pt idx="670">42.056129032258056</cx:pt>
          <cx:pt idx="671">41.972580645161294</cx:pt>
          <cx:pt idx="672">41.911935483870977</cx:pt>
          <cx:pt idx="673">41.863225806451617</cx:pt>
          <cx:pt idx="674">41.790967741935489</cx:pt>
          <cx:pt idx="675">41.780000000000001</cx:pt>
          <cx:pt idx="676">41.790645161290328</cx:pt>
          <cx:pt idx="677">41.804838709677426</cx:pt>
          <cx:pt idx="678">41.818387096774195</cx:pt>
          <cx:pt idx="679">41.875483870967749</cx:pt>
          <cx:pt idx="680">41.874516129032266</cx:pt>
          <cx:pt idx="681">41.882903225806466</cx:pt>
          <cx:pt idx="682">41.83483870967742</cx:pt>
          <cx:pt idx="683">41.838064516129023</cx:pt>
          <cx:pt idx="684">41.88064516129031</cx:pt>
          <cx:pt idx="685">41.787741935483865</cx:pt>
          <cx:pt idx="686">41.814193548387088</cx:pt>
          <cx:pt idx="687">41.834516129032252</cx:pt>
          <cx:pt idx="688">41.875483870967727</cx:pt>
          <cx:pt idx="689">41.959032258064511</cx:pt>
          <cx:pt idx="690">41.944516129032252</cx:pt>
          <cx:pt idx="691">41.939677419354837</cx:pt>
          <cx:pt idx="692">42.03612903225806</cx:pt>
          <cx:pt idx="693">42.057741935483868</cx:pt>
          <cx:pt idx="694">41.990645161290317</cx:pt>
          <cx:pt idx="695">41.93096774193549</cx:pt>
          <cx:pt idx="696">41.948064516129037</cx:pt>
          <cx:pt idx="697">41.938709677419361</cx:pt>
          <cx:pt idx="698">41.868064516129046</cx:pt>
          <cx:pt idx="699">41.904193548387099</cx:pt>
          <cx:pt idx="700">41.865806451612897</cx:pt>
          <cx:pt idx="701">41.92677419354839</cx:pt>
          <cx:pt idx="702">41.923870967741934</cx:pt>
          <cx:pt idx="703">41.893870967741933</cx:pt>
          <cx:pt idx="704">41.921290322580646</cx:pt>
          <cx:pt idx="705">42.006774193548381</cx:pt>
          <cx:pt idx="706">41.989354838709673</cx:pt>
          <cx:pt idx="707">42.009032258064508</cx:pt>
          <cx:pt idx="708">42.054516129032251</cx:pt>
          <cx:pt idx="709">42.101290322580645</cx:pt>
          <cx:pt idx="710">42.091290322580647</cx:pt>
          <cx:pt idx="711">42.080645161290327</cx:pt>
          <cx:pt idx="712">42.007096774193549</cx:pt>
          <cx:pt idx="713">41.977419354838716</cx:pt>
          <cx:pt idx="714">42.009677419354837</cx:pt>
          <cx:pt idx="715">41.93645161290322</cx:pt>
          <cx:pt idx="716">41.969999999999992</cx:pt>
          <cx:pt idx="717">42.016774193548379</cx:pt>
          <cx:pt idx="718">42.095161290322572</cx:pt>
          <cx:pt idx="719">42.09451612903225</cx:pt>
          <cx:pt idx="720">42.071935483870959</cx:pt>
          <cx:pt idx="721">42.094838709677411</cx:pt>
          <cx:pt idx="722">42.132258064516115</cx:pt>
          <cx:pt idx="723">42.031290322580638</cx:pt>
          <cx:pt idx="724">42.091935483870948</cx:pt>
          <cx:pt idx="725">42.132258064516115</cx:pt>
          <cx:pt idx="726">42.152258064516118</cx:pt>
          <cx:pt idx="727">42.090967741935472</cx:pt>
          <cx:pt idx="728">42.072903225806449</cx:pt>
          <cx:pt idx="729">42.163548387096782</cx:pt>
          <cx:pt idx="730">42.100645161290316</cx:pt>
          <cx:pt idx="731">42.112903225806448</cx:pt>
          <cx:pt idx="732">42.072580645161281</cx:pt>
          <cx:pt idx="733">42.029032258064518</cx:pt>
          <cx:pt idx="734">42.052903225806446</cx:pt>
          <cx:pt idx="735">42.046129032258058</cx:pt>
          <cx:pt idx="736">42.042580645161287</cx:pt>
          <cx:pt idx="737">41.977096774193541</cx:pt>
          <cx:pt idx="738">41.965483870967738</cx:pt>
          <cx:pt idx="739">41.963870967741933</cx:pt>
          <cx:pt idx="740">41.891612903225806</cx:pt>
          <cx:pt idx="741">41.925806451612907</cx:pt>
          <cx:pt idx="742">41.981290322580641</cx:pt>
          <cx:pt idx="743">42.034838709677416</cx:pt>
          <cx:pt idx="744">42.095161290322579</cx:pt>
          <cx:pt idx="745">42.137741935483874</cx:pt>
          <cx:pt idx="746">42.121290322580641</cx:pt>
          <cx:pt idx="747">42.186774193548388</cx:pt>
          <cx:pt idx="748">42.163225806451614</cx:pt>
          <cx:pt idx="749">42.133225806451627</cx:pt>
          <cx:pt idx="750">42.163548387096775</cx:pt>
          <cx:pt idx="751">42.117741935483863</cx:pt>
          <cx:pt idx="752">42.047096774193541</cx:pt>
          <cx:pt idx="753">42.061290322580632</cx:pt>
          <cx:pt idx="754">42.073870967741925</cx:pt>
          <cx:pt idx="755">42.017419354838694</cx:pt>
          <cx:pt idx="756">41.999677419354825</cx:pt>
          <cx:pt idx="757">41.959354838709672</cx:pt>
          <cx:pt idx="758">42.056129032258049</cx:pt>
          <cx:pt idx="759">42.092258064516116</cx:pt>
          <cx:pt idx="760">42.109032258064502</cx:pt>
          <cx:pt idx="761">42.109677419354824</cx:pt>
          <cx:pt idx="762">42.029999999999987</cx:pt>
          <cx:pt idx="763">42.031290322580631</cx:pt>
          <cx:pt idx="764">42.038064516129019</cx:pt>
          <cx:pt idx="765">41.992903225806451</cx:pt>
          <cx:pt idx="766">41.999677419354832</cx:pt>
          <cx:pt idx="767">41.998709677419356</cx:pt>
          <cx:pt idx="768">42.04451612903226</cx:pt>
          <cx:pt idx="769">42.043870967741952</cx:pt>
          <cx:pt idx="770">42.035483870967759</cx:pt>
          <cx:pt idx="771">42.05290322580646</cx:pt>
          <cx:pt idx="772">42.015483870967749</cx:pt>
          <cx:pt idx="773">42.012903225806454</cx:pt>
          <cx:pt idx="774">41.948387096774198</cx:pt>
          <cx:pt idx="775">41.94903225806452</cx:pt>
          <cx:pt idx="776">41.945483870967735</cx:pt>
          <cx:pt idx="777">41.984193548387097</cx:pt>
          <cx:pt idx="778">41.899032258064516</cx:pt>
          <cx:pt idx="779">41.913870967741936</cx:pt>
          <cx:pt idx="780">41.871612903225795</cx:pt>
          <cx:pt idx="781">41.828387096774186</cx:pt>
          <cx:pt idx="782">41.822580645161281</cx:pt>
          <cx:pt idx="783">41.866451612903219</cx:pt>
          <cx:pt idx="784">41.849032258064511</cx:pt>
          <cx:pt idx="785">41.912580645161292</cx:pt>
          <cx:pt idx="786">41.895806451612906</cx:pt>
          <cx:pt idx="787">41.864516129032253</cx:pt>
          <cx:pt idx="788">41.930322580645161</cx:pt>
          <cx:pt idx="789">41.924193548387102</cx:pt>
          <cx:pt idx="790">41.859032258064516</cx:pt>
          <cx:pt idx="791">41.746129032258068</cx:pt>
          <cx:pt idx="792">41.747419354838712</cx:pt>
          <cx:pt idx="793">41.770645161290325</cx:pt>
          <cx:pt idx="794">41.84870967741935</cx:pt>
          <cx:pt idx="795">41.867741935483863</cx:pt>
          <cx:pt idx="796">41.886129032258061</cx:pt>
          <cx:pt idx="797">41.895161290322584</cx:pt>
          <cx:pt idx="798">41.815483870967732</cx:pt>
          <cx:pt idx="799">41.79677419354838</cx:pt>
          <cx:pt idx="800">41.723870967741931</cx:pt>
          <cx:pt idx="801">41.729354838709675</cx:pt>
          <cx:pt idx="802">41.749677419354839</cx:pt>
          <cx:pt idx="803">41.748387096774188</cx:pt>
          <cx:pt idx="804">41.671290322580646</cx:pt>
          <cx:pt idx="805">41.783548387096779</cx:pt>
          <cx:pt idx="806">41.719677419354845</cx:pt>
          <cx:pt idx="807">41.664516129032258</cx:pt>
          <cx:pt idx="808">41.66096774193548</cx:pt>
          <cx:pt idx="809">41.647741935483864</cx:pt>
          <cx:pt idx="810">41.629999999999988</cx:pt>
          <cx:pt idx="811">41.625806451612888</cx:pt>
          <cx:pt idx="812">41.608064516129019</cx:pt>
          <cx:pt idx="813">41.624838709677412</cx:pt>
          <cx:pt idx="814">41.661290322580648</cx:pt>
          <cx:pt idx="815">41.714193548387101</cx:pt>
          <cx:pt idx="816">41.675483870967746</cx:pt>
          <cx:pt idx="817">41.683548387096778</cx:pt>
          <cx:pt idx="818">41.680645161290329</cx:pt>
          <cx:pt idx="819">41.690645161290327</cx:pt>
          <cx:pt idx="820">41.625161290322588</cx:pt>
          <cx:pt idx="821">41.585483870967742</cx:pt>
          <cx:pt idx="822">41.632258064516137</cx:pt>
          <cx:pt idx="823">41.603225806451618</cx:pt>
          <cx:pt idx="824">41.641290322580659</cx:pt>
          <cx:pt idx="825">41.585161290322588</cx:pt>
          <cx:pt idx="826">41.669032258064526</cx:pt>
          <cx:pt idx="827">41.634516129032271</cx:pt>
          <cx:pt idx="828">41.542903225806448</cx:pt>
          <cx:pt idx="829">41.589354838709667</cx:pt>
          <cx:pt idx="830">41.576774193548381</cx:pt>
          <cx:pt idx="831">41.635483870967747</cx:pt>
          <cx:pt idx="832">41.573870967741932</cx:pt>
          <cx:pt idx="833">41.58161290322581</cx:pt>
          <cx:pt idx="834">41.626451612903239</cx:pt>
          <cx:pt idx="835">41.718709677419369</cx:pt>
          <cx:pt idx="836">41.631612903225815</cx:pt>
          <cx:pt idx="837">41.611290322580651</cx:pt>
          <cx:pt idx="838">41.608387096774194</cx:pt>
          <cx:pt idx="839">41.671290322580653</cx:pt>
          <cx:pt idx="840">41.696774193548393</cx:pt>
          <cx:pt idx="841">41.656774193548387</cx:pt>
          <cx:pt idx="842">41.68741935483871</cx:pt>
          <cx:pt idx="843">41.803548387096768</cx:pt>
          <cx:pt idx="844">41.819354838709671</cx:pt>
          <cx:pt idx="845">41.850645161290316</cx:pt>
          <cx:pt idx="846">41.829999999999991</cx:pt>
          <cx:pt idx="847">41.892903225806457</cx:pt>
          <cx:pt idx="848">41.939354838709683</cx:pt>
          <cx:pt idx="849">41.996774193548397</cx:pt>
          <cx:pt idx="850">41.935483870967751</cx:pt>
          <cx:pt idx="851">42.000000000000007</cx:pt>
          <cx:pt idx="852">42.104838709677423</cx:pt>
          <cx:pt idx="853">42.104516129032262</cx:pt>
          <cx:pt idx="854">42.15225806451614</cx:pt>
          <cx:pt idx="855">42.169354838709687</cx:pt>
          <cx:pt idx="856">42.233870967741936</cx:pt>
          <cx:pt idx="857">42.129677419354842</cx:pt>
          <cx:pt idx="858">42.110322580645153</cx:pt>
          <cx:pt idx="859">42.160322580645165</cx:pt>
          <cx:pt idx="860">42.21290322580645</cx:pt>
          <cx:pt idx="861">42.235806451612909</cx:pt>
          <cx:pt idx="862">42.291935483870979</cx:pt>
          <cx:pt idx="863">42.306774193548399</cx:pt>
          <cx:pt idx="864">42.300000000000011</cx:pt>
          <cx:pt idx="865">42.24774193548388</cx:pt>
          <cx:pt idx="866">42.19903225806452</cx:pt>
          <cx:pt idx="867">42.214838709677423</cx:pt>
          <cx:pt idx="868">42.264193548387091</cx:pt>
          <cx:pt idx="869">42.328387096774186</cx:pt>
          <cx:pt idx="870">42.237741935483868</cx:pt>
          <cx:pt idx="871">42.314516129032256</cx:pt>
          <cx:pt idx="872">42.323548387096764</cx:pt>
          <cx:pt idx="873">42.266129032258064</cx:pt>
          <cx:pt idx="874">42.229354838709668</cx:pt>
          <cx:pt idx="875">42.20129032258064</cx:pt>
          <cx:pt idx="876">42.212580645161289</cx:pt>
          <cx:pt idx="877">42.161612903225809</cx:pt>
          <cx:pt idx="878">42.174516129032263</cx:pt>
          <cx:pt idx="879">42.151612903225811</cx:pt>
          <cx:pt idx="880">42.161612903225809</cx:pt>
          <cx:pt idx="881">42.182258064516127</cx:pt>
          <cx:pt idx="882">42.170967741935478</cx:pt>
          <cx:pt idx="883">42.146774193548382</cx:pt>
          <cx:pt idx="884">42.113548387096763</cx:pt>
          <cx:pt idx="885">42.084193548387084</cx:pt>
          <cx:pt idx="886">42.102903225806436</cx:pt>
          <cx:pt idx="887">42.063225806451605</cx:pt>
          <cx:pt idx="888">42.059354838709673</cx:pt>
          <cx:pt idx="889">42.17903225806451</cx:pt>
          <cx:pt idx="890">42.224838709677414</cx:pt>
          <cx:pt idx="891">42.189032258064508</cx:pt>
          <cx:pt idx="892">42.20354838709676</cx:pt>
          <cx:pt idx="893">42.14225806451612</cx:pt>
          <cx:pt idx="894">42.173225806451612</cx:pt>
          <cx:pt idx="895">42.202580645161284</cx:pt>
          <cx:pt idx="896">42.241290322580639</cx:pt>
          <cx:pt idx="897">42.242258064516122</cx:pt>
          <cx:pt idx="898">42.269354838709674</cx:pt>
          <cx:pt idx="899">42.291935483870972</cx:pt>
          <cx:pt idx="900">42.199677419354842</cx:pt>
          <cx:pt idx="901">42.197419354838715</cx:pt>
          <cx:pt idx="902">42.186774193548395</cx:pt>
          <cx:pt idx="903">42.143870967741954</cx:pt>
          <cx:pt idx="904">42.165483870967755</cx:pt>
          <cx:pt idx="905">42.170000000000009</cx:pt>
          <cx:pt idx="906">42.173225806451612</cx:pt>
          <cx:pt idx="907">42.089354838709674</cx:pt>
          <cx:pt idx="908">42.15032258064516</cx:pt>
          <cx:pt idx="909">42.114193548387092</cx:pt>
          <cx:pt idx="910">42.059677419354827</cx:pt>
          <cx:pt idx="911">42.031290322580631</cx:pt>
          <cx:pt idx="912">42.01290322580644</cx:pt>
          <cx:pt idx="913">42.027096774193545</cx:pt>
          <cx:pt idx="914">42.020645161290318</cx:pt>
          <cx:pt idx="915">42.124516129032251</cx:pt>
          <cx:pt idx="916">42.116451612903212</cx:pt>
          <cx:pt idx="917">42.144193548387094</cx:pt>
          <cx:pt idx="918">42.110645161290321</cx:pt>
          <cx:pt idx="919">42.119354838709668</cx:pt>
          <cx:pt idx="920">42.010967741935481</cx:pt>
          <cx:pt idx="921">41.995161290322578</cx:pt>
          <cx:pt idx="922">41.914838709677419</cx:pt>
          <cx:pt idx="923">41.88903225806451</cx:pt>
          <cx:pt idx="924">41.940967741935488</cx:pt>
          <cx:pt idx="925">41.98516129032258</cx:pt>
          <cx:pt idx="926">41.994516129032256</cx:pt>
          <cx:pt idx="927">41.963548387096779</cx:pt>
          <cx:pt idx="928">42.004516129032268</cx:pt>
          <cx:pt idx="929">42.038709677419362</cx:pt>
          <cx:pt idx="930">41.992903225806465</cx:pt>
          <cx:pt idx="931">42.036774193548396</cx:pt>
          <cx:pt idx="932">42.02967741935484</cx:pt>
          <cx:pt idx="933">41.973225806451616</cx:pt>
          <cx:pt idx="934">42.036451612903235</cx:pt>
          <cx:pt idx="935">42.007741935483871</cx:pt>
          <cx:pt idx="936">41.940645161290327</cx:pt>
          <cx:pt idx="937">41.946774193548393</cx:pt>
          <cx:pt idx="938">41.958064516129042</cx:pt>
          <cx:pt idx="939">41.963225806451618</cx:pt>
          <cx:pt idx="940">41.910322580645165</cx:pt>
          <cx:pt idx="941">42.011290322580649</cx:pt>
          <cx:pt idx="942">41.99903225806451</cx:pt>
          <cx:pt idx="943">42.023870967741928</cx:pt>
          <cx:pt idx="944">42.048387096774192</cx:pt>
          <cx:pt idx="945">42.083548387096769</cx:pt>
          <cx:pt idx="946">42.004838709677422</cx:pt>
          <cx:pt idx="947">42.060000000000002</cx:pt>
          <cx:pt idx="948">42.038387096774187</cx:pt>
          <cx:pt idx="949">42.05838709677419</cx:pt>
          <cx:pt idx="950">42.16935483870968</cx:pt>
          <cx:pt idx="951">42.27870967741935</cx:pt>
          <cx:pt idx="952">42.271612903225794</cx:pt>
          <cx:pt idx="953">42.317741935483859</cx:pt>
          <cx:pt idx="954">42.366451612903212</cx:pt>
          <cx:pt idx="955">42.312903225806444</cx:pt>
          <cx:pt idx="956">42.22999999999999</cx:pt>
          <cx:pt idx="957">42.149032258064516</cx:pt>
          <cx:pt idx="958">42.089999999999996</cx:pt>
          <cx:pt idx="959">42.060967741935485</cx:pt>
          <cx:pt idx="960">42.048064516129038</cx:pt>
          <cx:pt idx="961">42.108709677419348</cx:pt>
          <cx:pt idx="962">42.105161290322577</cx:pt>
          <cx:pt idx="963">42.108709677419355</cx:pt>
          <cx:pt idx="964">42.192258064516132</cx:pt>
          <cx:pt idx="965">42.215483870967731</cx:pt>
          <cx:pt idx="966">42.328387096774186</cx:pt>
          <cx:pt idx="967">42.364193548387085</cx:pt>
          <cx:pt idx="968">42.306129032258049</cx:pt>
          <cx:pt idx="969">42.289677419354831</cx:pt>
          <cx:pt idx="970">42.182903225806449</cx:pt>
          <cx:pt idx="971">42.16612903225807</cx:pt>
          <cx:pt idx="972">42.119999999999997</cx:pt>
          <cx:pt idx="973">42.177096774193551</cx:pt>
          <cx:pt idx="974">42.17354838709678</cx:pt>
          <cx:pt idx="975">42.119032258064514</cx:pt>
          <cx:pt idx="976">42.02548387096774</cx:pt>
          <cx:pt idx="977">42.056451612903224</cx:pt>
          <cx:pt idx="978">42.107419354838704</cx:pt>
          <cx:pt idx="979">42.048709677419353</cx:pt>
          <cx:pt idx="980">42.025161290322586</cx:pt>
          <cx:pt idx="981">41.989032258064512</cx:pt>
          <cx:pt idx="982">41.869032258064514</cx:pt>
          <cx:pt idx="983">41.84129032258064</cx:pt>
          <cx:pt idx="984">41.832258064516125</cx:pt>
          <cx:pt idx="985">41.844193548387096</cx:pt>
          <cx:pt idx="986">41.803870967741936</cx:pt>
          <cx:pt idx="987">41.903870967741938</cx:pt>
          <cx:pt idx="988">41.98935483870968</cx:pt>
          <cx:pt idx="989">41.987741935483868</cx:pt>
          <cx:pt idx="990">41.913225806451607</cx:pt>
          <cx:pt idx="991">41.828709677419347</cx:pt>
          <cx:pt idx="992">41.816129032258054</cx:pt>
          <cx:pt idx="993">41.780322580645155</cx:pt>
          <cx:pt idx="994">41.833225806451608</cx:pt>
          <cx:pt idx="995">41.715161290322584</cx:pt>
          <cx:pt idx="996">41.71387096774194</cx:pt>
          <cx:pt idx="997">41.6925806451613</cx:pt>
          <cx:pt idx="998">41.701612903225808</cx:pt>
          <cx:pt idx="999">41.716129032258074</cx:pt>
          <cx:pt idx="1000">41.727419354838716</cx:pt>
          <cx:pt idx="1001">41.752258064516134</cx:pt>
          <cx:pt idx="1002">41.829032258064522</cx:pt>
          <cx:pt idx="1003">41.851290322580653</cx:pt>
          <cx:pt idx="1004">41.80290322580646</cx:pt>
          <cx:pt idx="1005">41.813225806451619</cx:pt>
          <cx:pt idx="1006">41.742903225806458</cx:pt>
          <cx:pt idx="1007">41.836774193548393</cx:pt>
          <cx:pt idx="1008">41.815806451612907</cx:pt>
          <cx:pt idx="1009">41.790645161290328</cx:pt>
          <cx:pt idx="1010">41.769354838709674</cx:pt>
          <cx:pt idx="1011">41.762903225806454</cx:pt>
          <cx:pt idx="1012">41.674516129032263</cx:pt>
          <cx:pt idx="1013">41.698709677419366</cx:pt>
          <cx:pt idx="1014">41.64387096774194</cx:pt>
          <cx:pt idx="1015">41.61354838709677</cx:pt>
          <cx:pt idx="1016">41.515161290322574</cx:pt>
          <cx:pt idx="1017">41.591290322580633</cx:pt>
          <cx:pt idx="1018">41.551935483870949</cx:pt>
          <cx:pt idx="1019">41.521290322580626</cx:pt>
          <cx:pt idx="1020">41.566774193548369</cx:pt>
          <cx:pt idx="1021">41.662903225806438</cx:pt>
          <cx:pt idx="1022">41.739354838709659</cx:pt>
          <cx:pt idx="1023">41.646129032258052</cx:pt>
          <cx:pt idx="1024">41.660645161290311</cx:pt>
          <cx:pt idx="1025">41.641612903225806</cx:pt>
          <cx:pt idx="1026">41.759354838709669</cx:pt>
          <cx:pt idx="1027">41.695806451612903</cx:pt>
          <cx:pt idx="1028">41.660645161290319</cx:pt>
          <cx:pt idx="1029">41.634193548387096</cx:pt>
          <cx:pt idx="1030">41.702580645161284</cx:pt>
          <cx:pt idx="1031">41.750645161290315</cx:pt>
          <cx:pt idx="1032">41.773548387096767</cx:pt>
          <cx:pt idx="1033">41.713225806451611</cx:pt>
          <cx:pt idx="1034">41.640322580645169</cx:pt>
          <cx:pt idx="1035">41.683548387096771</cx:pt>
          <cx:pt idx="1036">41.740000000000002</cx:pt>
          <cx:pt idx="1037">41.770322580645164</cx:pt>
          <cx:pt idx="1038">41.683548387096778</cx:pt>
          <cx:pt idx="1039">41.680645161290329</cx:pt>
          <cx:pt idx="1040">41.649354838709684</cx:pt>
          <cx:pt idx="1041">41.721935483870972</cx:pt>
          <cx:pt idx="1042">41.799032258064514</cx:pt>
          <cx:pt idx="1043">41.917741935483875</cx:pt>
          <cx:pt idx="1044">41.965806451612892</cx:pt>
          <cx:pt idx="1045">42.043870967741924</cx:pt>
          <cx:pt idx="1046">42.169032258064512</cx:pt>
          <cx:pt idx="1047">42.256129032258059</cx:pt>
          <cx:pt idx="1048">42.282580645161289</cx:pt>
          <cx:pt idx="1049">42.308709677419358</cx:pt>
          <cx:pt idx="1050">42.314516129032256</cx:pt>
          <cx:pt idx="1051">42.377096774193554</cx:pt>
          <cx:pt idx="1052">42.402580645161294</cx:pt>
          <cx:pt idx="1053">42.392903225806457</cx:pt>
          <cx:pt idx="1054">42.523870967741928</cx:pt>
          <cx:pt idx="1055">42.609999999999985</cx:pt>
          <cx:pt idx="1056">42.680645161290315</cx:pt>
          <cx:pt idx="1057">42.659999999999997</cx:pt>
          <cx:pt idx="1058">42.708709677419343</cx:pt>
          <cx:pt idx="1059">42.773225806451599</cx:pt>
          <cx:pt idx="1060">42.883225806451613</cx:pt>
          <cx:pt idx="1061">42.951935483870969</cx:pt>
          <cx:pt idx="1062">42.932258064516127</cx:pt>
          <cx:pt idx="1063">42.938064516129032</cx:pt>
          <cx:pt idx="1064">43.023548387096774</cx:pt>
          <cx:pt idx="1065">43.08387096774193</cx:pt>
          <cx:pt idx="1066">43.078064516129039</cx:pt>
          <cx:pt idx="1067">43.086451612903232</cx:pt>
          <cx:pt idx="1068">43.186451612903234</cx:pt>
          <cx:pt idx="1069">43.286129032258067</cx:pt>
          <cx:pt idx="1070">43.323870967741939</cx:pt>
          <cx:pt idx="1071">43.346774193548391</cx:pt>
          <cx:pt idx="1072">43.371935483870978</cx:pt>
          <cx:pt idx="1073">43.412580645161285</cx:pt>
          <cx:pt idx="1074">43.35935483870967</cx:pt>
          <cx:pt idx="1075">43.404838709677414</cx:pt>
          <cx:pt idx="1076">43.399032258064508</cx:pt>
          <cx:pt idx="1077">43.379354838709666</cx:pt>
          <cx:pt idx="1078">43.445806451612896</cx:pt>
          <cx:pt idx="1079">43.415806451612902</cx:pt>
          <cx:pt idx="1080">43.447419354838708</cx:pt>
          <cx:pt idx="1081">43.487419354838707</cx:pt>
          <cx:pt idx="1082">43.49258064516129</cx:pt>
          <cx:pt idx="1083">43.420000000000002</cx:pt>
          <cx:pt idx="1084">43.370322580645158</cx:pt>
          <cx:pt idx="1085">43.301612903225809</cx:pt>
          <cx:pt idx="1086">43.270645161290325</cx:pt>
          <cx:pt idx="1087">43.19903225806452</cx:pt>
          <cx:pt idx="1088">43.112258064516126</cx:pt>
          <cx:pt idx="1089">43.116451612903212</cx:pt>
          <cx:pt idx="1090">42.997741935483859</cx:pt>
          <cx:pt idx="1091">42.895483870967738</cx:pt>
          <cx:pt idx="1092">42.761290322580635</cx:pt>
          <cx:pt idx="1093">42.748709677419349</cx:pt>
          <cx:pt idx="1094">42.715483870967738</cx:pt>
          <cx:pt idx="1095">42.61774193548387</cx:pt>
          <cx:pt idx="1096">42.59870967741935</cx:pt>
          <cx:pt idx="1097">42.568709677419356</cx:pt>
          <cx:pt idx="1098">42.486451612903231</cx:pt>
          <cx:pt idx="1099">42.408064516129045</cx:pt>
          <cx:pt idx="1100">42.325483870967751</cx:pt>
          <cx:pt idx="1101">42.264838709677427</cx:pt>
          <cx:pt idx="1102">42.269354838709688</cx:pt>
          <cx:pt idx="1103">42.176451612903236</cx:pt>
          <cx:pt idx="1104">42.105806451612906</cx:pt>
          <cx:pt idx="1105">42.153870967741945</cx:pt>
          <cx:pt idx="1106">42.039354838709691</cx:pt>
          <cx:pt idx="1107">41.999032258064524</cx:pt>
          <cx:pt idx="1108">41.89161290322582</cx:pt>
          <cx:pt idx="1109">41.851290322580645</cx:pt>
          <cx:pt idx="1110">41.758064516129032</cx:pt>
          <cx:pt idx="1111">41.721612903225804</cx:pt>
          <cx:pt idx="1112">41.630322580645164</cx:pt>
          <cx:pt idx="1113">41.550322580645165</cx:pt>
          <cx:pt idx="1114">41.599677419354833</cx:pt>
          <cx:pt idx="1115">41.670000000000002</cx:pt>
          <cx:pt idx="1116">41.63419354838711</cx:pt>
          <cx:pt idx="1117">41.620000000000012</cx:pt>
          <cx:pt idx="1118">41.643548387096779</cx:pt>
          <cx:pt idx="1119">41.730967741935487</cx:pt>
          <cx:pt idx="1120">41.707741935483874</cx:pt>
          <cx:pt idx="1121">41.730000000000004</cx:pt>
          <cx:pt idx="1122">41.713548387096772</cx:pt>
          <cx:pt idx="1123">41.77129032258064</cx:pt>
          <cx:pt idx="1124">41.737419354838707</cx:pt>
          <cx:pt idx="1125">41.829354838709676</cx:pt>
          <cx:pt idx="1126">41.856774193548389</cx:pt>
          <cx:pt idx="1127">41.871612903225817</cx:pt>
          <cx:pt idx="1128">41.892258064516128</cx:pt>
          <cx:pt idx="1129">41.923225806451619</cx:pt>
          <cx:pt idx="1130">41.880000000000017</cx:pt>
          <cx:pt idx="1131">41.914193548387104</cx:pt>
          <cx:pt idx="1132">41.95870967741935</cx:pt>
          <cx:pt idx="1133">41.990645161290324</cx:pt>
          <cx:pt idx="1134">42.00322580645161</cx:pt>
          <cx:pt idx="1135">41.94580645161291</cx:pt>
          <cx:pt idx="1136">41.908709677419353</cx:pt>
          <cx:pt idx="1137">41.909999999999997</cx:pt>
          <cx:pt idx="1138">41.89806451612904</cx:pt>
          <cx:pt idx="1139">41.924838709677424</cx:pt>
          <cx:pt idx="1140">41.874193548387105</cx:pt>
          <cx:pt idx="1141">41.939354838709683</cx:pt>
          <cx:pt idx="1142">41.882580645161298</cx:pt>
          <cx:pt idx="1143">41.891290322580652</cx:pt>
          <cx:pt idx="1144">41.909677419354843</cx:pt>
          <cx:pt idx="1145">41.79451612903226</cx:pt>
          <cx:pt idx="1146">41.77225806451613</cx:pt>
          <cx:pt idx="1147">41.758387096774193</cx:pt>
          <cx:pt idx="1148">41.782580645161296</cx:pt>
          <cx:pt idx="1149">41.758387096774186</cx:pt>
          <cx:pt idx="1150">41.716774193548389</cx:pt>
          <cx:pt idx="1151">41.77548387096774</cx:pt>
          <cx:pt idx="1152">41.778387096774189</cx:pt>
          <cx:pt idx="1153">41.813225806451605</cx:pt>
          <cx:pt idx="1154">41.829354838709669</cx:pt>
          <cx:pt idx="1155">41.885161290322579</cx:pt>
          <cx:pt idx="1156">41.795806451612904</cx:pt>
          <cx:pt idx="1157">41.771612903225815</cx:pt>
          <cx:pt idx="1158">41.767096774193554</cx:pt>
          <cx:pt idx="1159">41.805483870967748</cx:pt>
          <cx:pt idx="1160">41.769677419354842</cx:pt>
          <cx:pt idx="1161">41.813225806451619</cx:pt>
          <cx:pt idx="1162">41.77129032258064</cx:pt>
          <cx:pt idx="1163">41.713548387096772</cx:pt>
          <cx:pt idx="1164">41.648387096774201</cx:pt>
          <cx:pt idx="1165">41.615483870967743</cx:pt>
          <cx:pt idx="1166">41.686774193548388</cx:pt>
          <cx:pt idx="1167">41.608709677419348</cx:pt>
          <cx:pt idx="1168">41.617419354838695</cx:pt>
          <cx:pt idx="1169">41.622580645161271</cx:pt>
          <cx:pt idx="1170">41.676774193548376</cx:pt>
          <cx:pt idx="1171">41.705483870967733</cx:pt>
          <cx:pt idx="1172">41.706774193548384</cx:pt>
          <cx:pt idx="1173">41.725161290322582</cx:pt>
          <cx:pt idx="1174">41.770967741935486</cx:pt>
          <cx:pt idx="1175">41.723870967741938</cx:pt>
          <cx:pt idx="1176">41.829032258064515</cx:pt>
          <cx:pt idx="1177">41.818709677419349</cx:pt>
          <cx:pt idx="1178">41.846451612903223</cx:pt>
          <cx:pt idx="1179">41.857096774193543</cx:pt>
          <cx:pt idx="1180">41.824516129032254</cx:pt>
          <cx:pt idx="1181">41.832903225806447</cx:pt>
          <cx:pt idx="1182">41.734193548387097</cx:pt>
          <cx:pt idx="1183">41.802258064516124</cx:pt>
          <cx:pt idx="1184">41.745161290322585</cx:pt>
          <cx:pt idx="1185">41.777096774193545</cx:pt>
          <cx:pt idx="1186">41.70000000000001</cx:pt>
          <cx:pt idx="1187">41.775483870967747</cx:pt>
          <cx:pt idx="1188">41.820000000000007</cx:pt>
          <cx:pt idx="1189">41.822258064516134</cx:pt>
          <cx:pt idx="1190">41.792580645161301</cx:pt>
          <cx:pt idx="1191">41.840000000000011</cx:pt>
          <cx:pt idx="1192">41.820000000000014</cx:pt>
          <cx:pt idx="1193">41.786774193548396</cx:pt>
          <cx:pt idx="1194">41.834516129032259</cx:pt>
          <cx:pt idx="1195">41.890967741935491</cx:pt>
          <cx:pt idx="1196">41.909354838709682</cx:pt>
          <cx:pt idx="1197">41.929032258064524</cx:pt>
          <cx:pt idx="1198">42.026129032258069</cx:pt>
          <cx:pt idx="1199">42.05612903225807</cx:pt>
          <cx:pt idx="1200">42.090967741935486</cx:pt>
          <cx:pt idx="1201">42.097741935483874</cx:pt>
          <cx:pt idx="1202">42.023548387096781</cx:pt>
          <cx:pt idx="1203">42.012258064516132</cx:pt>
          <cx:pt idx="1204">41.982258064516138</cx:pt>
          <cx:pt idx="1205">42.000322580645168</cx:pt>
          <cx:pt idx="1206">42.002580645161295</cx:pt>
          <cx:pt idx="1207">41.921935483870975</cx:pt>
          <cx:pt idx="1208">41.925483870967746</cx:pt>
          <cx:pt idx="1209">41.961935483870974</cx:pt>
          <cx:pt idx="1210">41.848709677419357</cx:pt>
          <cx:pt idx="1211">41.957419354838706</cx:pt>
          <cx:pt idx="1212">42.004838709677422</cx:pt>
          <cx:pt idx="1213">42.107419354838711</cx:pt>
          <cx:pt idx="1214">42.108387096774194</cx:pt>
          <cx:pt idx="1215">42.194838709677427</cx:pt>
          <cx:pt idx="1216">42.157096774193562</cx:pt>
          <cx:pt idx="1217">42.171612903225814</cx:pt>
          <cx:pt idx="1218">42.062258064516129</cx:pt>
          <cx:pt idx="1219">42.076129032258059</cx:pt>
          <cx:pt idx="1220">42.068064516129041</cx:pt>
          <cx:pt idx="1221">42.028064516129035</cx:pt>
          <cx:pt idx="1222">41.955483870967747</cx:pt>
          <cx:pt idx="1223">41.976129032258072</cx:pt>
          <cx:pt idx="1224">42.07</cx:pt>
          <cx:pt idx="1225">42.054838709677426</cx:pt>
          <cx:pt idx="1226">42.005806451612905</cx:pt>
          <cx:pt idx="1227">42.070322580645161</cx:pt>
          <cx:pt idx="1228">41.962258064516128</cx:pt>
          <cx:pt idx="1229">41.961290322580638</cx:pt>
          <cx:pt idx="1230">41.962258064516128</cx:pt>
          <cx:pt idx="1231">41.974516129032253</cx:pt>
          <cx:pt idx="1232">41.945161290322574</cx:pt>
          <cx:pt idx="1233">42.052580645161285</cx:pt>
          <cx:pt idx="1234">42.123548387096761</cx:pt>
          <cx:pt idx="1235">42.251935483870952</cx:pt>
          <cx:pt idx="1236">42.261290322580635</cx:pt>
          <cx:pt idx="1237">42.399677419354823</cx:pt>
          <cx:pt idx="1238">42.519677419354828</cx:pt>
          <cx:pt idx="1239">42.57032258064514</cx:pt>
          <cx:pt idx="1240">42.558709677419337</cx:pt>
          <cx:pt idx="1241">42.619999999999983</cx:pt>
          <cx:pt idx="1242">42.583870967741916</cx:pt>
          <cx:pt idx="1243">42.619677419354822</cx:pt>
          <cx:pt idx="1244">42.604516129032248</cx:pt>
          <cx:pt idx="1245">42.584516129032252</cx:pt>
          <cx:pt idx="1246">42.61258064516128</cx:pt>
          <cx:pt idx="1247">42.595483870967733</cx:pt>
          <cx:pt idx="1248">42.650645161290328</cx:pt>
          <cx:pt idx="1249">42.789354838709684</cx:pt>
          <cx:pt idx="1250">42.799677419354843</cx:pt>
          <cx:pt idx="1251">42.861612903225804</cx:pt>
          <cx:pt idx="1252">42.957419354838713</cx:pt>
          <cx:pt idx="1253">43.01387096774193</cx:pt>
          <cx:pt idx="1254">43.081612903225803</cx:pt>
          <cx:pt idx="1255">43.086129032258057</cx:pt>
          <cx:pt idx="1256">43.12903225806452</cx:pt>
          <cx:pt idx="1257">43.179677419354839</cx:pt>
          <cx:pt idx="1258">43.243548387096766</cx:pt>
          <cx:pt idx="1259">43.372258064516117</cx:pt>
          <cx:pt idx="1260">43.381612903225808</cx:pt>
          <cx:pt idx="1261">43.471290322580643</cx:pt>
          <cx:pt idx="1262">43.51387096774193</cx:pt>
          <cx:pt idx="1263">43.577741935483857</cx:pt>
          <cx:pt idx="1264">43.591935483870955</cx:pt>
          <cx:pt idx="1265">43.543548387096763</cx:pt>
          <cx:pt idx="1266">43.55419354838709</cx:pt>
          <cx:pt idx="1267">43.59451612903225</cx:pt>
          <cx:pt idx="1268">43.563870967741941</cx:pt>
          <cx:pt idx="1269">43.577096774193556</cx:pt>
          <cx:pt idx="1270">43.557419354838714</cx:pt>
          <cx:pt idx="1271">43.597741935483874</cx:pt>
          <cx:pt idx="1272">43.648709677419362</cx:pt>
          <cx:pt idx="1273">43.700322580645164</cx:pt>
          <cx:pt idx="1274">43.696774193548393</cx:pt>
          <cx:pt idx="1275">43.660000000000004</cx:pt>
          <cx:pt idx="1276">43.59129032258064</cx:pt>
          <cx:pt idx="1277">43.510967741935481</cx:pt>
          <cx:pt idx="1278">43.496129032258061</cx:pt>
          <cx:pt idx="1279">43.485161290322587</cx:pt>
          <cx:pt idx="1280">43.417741935483875</cx:pt>
          <cx:pt idx="1281">43.443225806451608</cx:pt>
          <cx:pt idx="1282">43.434516129032254</cx:pt>
          <cx:pt idx="1283">43.341935483870969</cx:pt>
          <cx:pt idx="1284">43.342580645161284</cx:pt>
          <cx:pt idx="1285">43.277741935483867</cx:pt>
          <cx:pt idx="1286">43.233225806451614</cx:pt>
          <cx:pt idx="1287">43.26161290322581</cx:pt>
          <cx:pt idx="1288">43.256774193548388</cx:pt>
          <cx:pt idx="1289">43.196451612903225</cx:pt>
          <cx:pt idx="1290">43.082580645161279</cx:pt>
          <cx:pt idx="1291">43.086451612903218</cx:pt>
          <cx:pt idx="1292">43.040645161290314</cx:pt>
          <cx:pt idx="1293">42.95548387096774</cx:pt>
          <cx:pt idx="1294">42.916129032258063</cx:pt>
          <cx:pt idx="1295">42.803548387096768</cx:pt>
          <cx:pt idx="1296">42.750322580645154</cx:pt>
          <cx:pt idx="1297">42.670645161290317</cx:pt>
          <cx:pt idx="1298">42.591290322580633</cx:pt>
          <cx:pt idx="1299">42.510967741935481</cx:pt>
          <cx:pt idx="1300">42.460000000000001</cx:pt>
          <cx:pt idx="1301">42.401935483870972</cx:pt>
          <cx:pt idx="1302">42.333548387096769</cx:pt>
          <cx:pt idx="1303">42.284516129032255</cx:pt>
          <cx:pt idx="1304">42.26483870967742</cx:pt>
          <cx:pt idx="1305">42.11677419354838</cx:pt>
          <cx:pt idx="1306">42.09548387096774</cx:pt>
          <cx:pt idx="1307">42.195483870967749</cx:pt>
          <cx:pt idx="1308">42.198064516129037</cx:pt>
          <cx:pt idx="1309">42.269354838709674</cx:pt>
          <cx:pt idx="1310">42.225806451612904</cx:pt>
          <cx:pt idx="1311">42.274193548387096</cx:pt>
          <cx:pt idx="1312">42.280645161290316</cx:pt>
          <cx:pt idx="1313">42.254193548387093</cx:pt>
          <cx:pt idx="1314">42.252903225806442</cx:pt>
          <cx:pt idx="1315">42.224838709677414</cx:pt>
          <cx:pt idx="1316">42.288709677419348</cx:pt>
          <cx:pt idx="1317">42.311612903225807</cx:pt>
          <cx:pt idx="1318">42.300967741935487</cx:pt>
          <cx:pt idx="1319">42.305806451612909</cx:pt>
          <cx:pt idx="1320">42.338064516129037</cx:pt>
          <cx:pt idx="1321">42.341935483870969</cx:pt>
          <cx:pt idx="1322">42.347741935483874</cx:pt>
          <cx:pt idx="1323">42.35387096774194</cx:pt>
          <cx:pt idx="1324">42.40870967741936</cx:pt>
          <cx:pt idx="1325">42.442580645161293</cx:pt>
          <cx:pt idx="1326">42.441935483870978</cx:pt>
          <cx:pt idx="1327">42.534193548387101</cx:pt>
          <cx:pt idx="1328">42.505806451612905</cx:pt>
          <cx:pt idx="1329">42.452580645161291</cx:pt>
          <cx:pt idx="1330">42.481612903225795</cx:pt>
          <cx:pt idx="1331">42.405806451612897</cx:pt>
          <cx:pt idx="1332">42.485806451612888</cx:pt>
          <cx:pt idx="1333">42.548064516129024</cx:pt>
          <cx:pt idx="1334">42.547096774193534</cx:pt>
          <cx:pt idx="1335">42.43322580645161</cx:pt>
          <cx:pt idx="1336">42.506129032258059</cx:pt>
          <cx:pt idx="1337">42.493548387096773</cx:pt>
          <cx:pt idx="1338">42.39290322580645</cx:pt>
          <cx:pt idx="1339">42.350645161290316</cx:pt>
          <cx:pt idx="1340">42.32548387096773</cx:pt>
          <cx:pt idx="1341">42.366451612903212</cx:pt>
          <cx:pt idx="1342">42.259354838709669</cx:pt>
          <cx:pt idx="1343">42.218709677419348</cx:pt>
          <cx:pt idx="1344">42.239677419354834</cx:pt>
          <cx:pt idx="1345">42.199999999999996</cx:pt>
          <cx:pt idx="1346">42.240645161290324</cx:pt>
          <cx:pt idx="1347">42.120645161290319</cx:pt>
          <cx:pt idx="1348">42.11677419354838</cx:pt>
          <cx:pt idx="1349">42.016129032258064</cx:pt>
          <cx:pt idx="1350">41.98516129032258</cx:pt>
          <cx:pt idx="1351">41.878387096774198</cx:pt>
          <cx:pt idx="1352">41.948387096774191</cx:pt>
          <cx:pt idx="1353">41.850645161290309</cx:pt>
          <cx:pt idx="1354">41.77548387096774</cx:pt>
          <cx:pt idx="1355">41.771935483870962</cx:pt>
          <cx:pt idx="1356">41.747741935483873</cx:pt>
          <cx:pt idx="1357">41.721935483870958</cx:pt>
          <cx:pt idx="1358">41.658064516129031</cx:pt>
          <cx:pt idx="1359">41.640322580645162</cx:pt>
          <cx:pt idx="1360">41.722580645161294</cx:pt>
          <cx:pt idx="1361">41.729677419354836</cx:pt>
          <cx:pt idx="1362">41.825483870967737</cx:pt>
          <cx:pt idx="1363">41.717419354838718</cx:pt>
          <cx:pt idx="1364">41.740000000000002</cx:pt>
          <cx:pt idx="1365">41.71387096774194</cx:pt>
          <cx:pt idx="1366">41.71387096774194</cx:pt>
          <cx:pt idx="1367">41.713225806451611</cx:pt>
          <cx:pt idx="1368">41.730645161290312</cx:pt>
          <cx:pt idx="1369">41.746451612903222</cx:pt>
          <cx:pt idx="1370">41.750645161290315</cx:pt>
          <cx:pt idx="1371">41.719677419354838</cx:pt>
          <cx:pt idx="1372">41.678709677419356</cx:pt>
          <cx:pt idx="1373">41.754193548387093</cx:pt>
          <cx:pt idx="1374">41.696451612903225</cx:pt>
          <cx:pt idx="1375">41.645806451612906</cx:pt>
          <cx:pt idx="1376">41.747741935483873</cx:pt>
          <cx:pt idx="1377">41.744516129032256</cx:pt>
          <cx:pt idx="1378">41.862258064516119</cx:pt>
          <cx:pt idx="1379">41.895806451612906</cx:pt>
          <cx:pt idx="1380">42.021935483870969</cx:pt>
          <cx:pt idx="1381">41.944838709677427</cx:pt>
          <cx:pt idx="1382">41.971935483870972</cx:pt>
          <cx:pt idx="1383">41.976129032258072</cx:pt>
          <cx:pt idx="1384">42.016774193548386</cx:pt>
          <cx:pt idx="1385">42.022580645161298</cx:pt>
          <cx:pt idx="1386">42.000322580645161</cx:pt>
          <cx:pt idx="1387">41.930322580645168</cx:pt>
          <cx:pt idx="1388">41.960967741935491</cx:pt>
          <cx:pt idx="1389">41.979677419354836</cx:pt>
          <cx:pt idx="1390">42.011290322580642</cx:pt>
          <cx:pt idx="1391">41.912258064516131</cx:pt>
          <cx:pt idx="1392">41.892258064516128</cx:pt>
          <cx:pt idx="1393">41.873548387096768</cx:pt>
          <cx:pt idx="1394">41.905806451612904</cx:pt>
          <cx:pt idx="1395">41.906774193548387</cx:pt>
          <cx:pt idx="1396">41.921612903225807</cx:pt>
          <cx:pt idx="1397">42.014516129032259</cx:pt>
          <cx:pt idx="1398">42.036129032258067</cx:pt>
          <cx:pt idx="1399">41.99258064516129</cx:pt>
          <cx:pt idx="1400">42.017741935483869</cx:pt>
          <cx:pt idx="1401">42.109677419354831</cx:pt>
          <cx:pt idx="1402">42.097096774193545</cx:pt>
          <cx:pt idx="1403">42.141935483870959</cx:pt>
          <cx:pt idx="1404">42.059677419354827</cx:pt>
          <cx:pt idx="1405">42.105806451612885</cx:pt>
          <cx:pt idx="1406">42.076774193548381</cx:pt>
          <cx:pt idx="1407">42.064193548387088</cx:pt>
          <cx:pt idx="1408">42.00322580645161</cx:pt>
          <cx:pt idx="1409">41.939999999999998</cx:pt>
          <cx:pt idx="1410">41.857741935483872</cx:pt>
          <cx:pt idx="1411">41.809677419354841</cx:pt>
          <cx:pt idx="1412">41.806451612903224</cx:pt>
          <cx:pt idx="1413">41.80516129032258</cx:pt>
          <cx:pt idx="1414">41.710322580645162</cx:pt>
          <cx:pt idx="1415">41.674838709677417</cx:pt>
          <cx:pt idx="1416">41.677096774193551</cx:pt>
          <cx:pt idx="1417">41.650967741935482</cx:pt>
          <cx:pt idx="1418">41.694193548387098</cx:pt>
          <cx:pt idx="1419">41.77548387096774</cx:pt>
          <cx:pt idx="1420">41.750322580645154</cx:pt>
          <cx:pt idx="1421">41.732903225806446</cx:pt>
          <cx:pt idx="1422">41.779999999999994</cx:pt>
          <cx:pt idx="1423">41.854516129032248</cx:pt>
          <cx:pt idx="1424">41.856451612903214</cx:pt>
          <cx:pt idx="1425">41.870967741935473</cx:pt>
          <cx:pt idx="1426">41.813548387096773</cx:pt>
          <cx:pt idx="1427">41.83709677419354</cx:pt>
          <cx:pt idx="1428">41.768709677419359</cx:pt>
          <cx:pt idx="1429">41.679032258064524</cx:pt>
          <cx:pt idx="1430">41.754516129032261</cx:pt>
          <cx:pt idx="1431">41.75096774193549</cx:pt>
          <cx:pt idx="1432">41.712258064516135</cx:pt>
          <cx:pt idx="1433">41.705483870967747</cx:pt>
          <cx:pt idx="1434">41.657741935483884</cx:pt>
          <cx:pt idx="1435">41.693548387096783</cx:pt>
          <cx:pt idx="1436">41.737741935483882</cx:pt>
          <cx:pt idx="1437">41.772258064516137</cx:pt>
          <cx:pt idx="1438">41.726129032258072</cx:pt>
          <cx:pt idx="1439">41.83483870967742</cx:pt>
          <cx:pt idx="1440">41.84870967741935</cx:pt>
          <cx:pt idx="1441">41.875483870967734</cx:pt>
          <cx:pt idx="1442">41.838387096774184</cx:pt>
          <cx:pt idx="1443">41.95870967741935</cx:pt>
          <cx:pt idx="1444">41.975483870967736</cx:pt>
          <cx:pt idx="1445">41.990967741935478</cx:pt>
          <cx:pt idx="1446">41.975161290322575</cx:pt>
          <cx:pt idx="1447">41.980645161290326</cx:pt>
          <cx:pt idx="1448">41.982258064516131</cx:pt>
          <cx:pt idx="1449">41.98516129032258</cx:pt>
          <cx:pt idx="1450">41.987096774193553</cx:pt>
          <cx:pt idx="1451">42.017096774193554</cx:pt>
          <cx:pt idx="1452">42.033225806451618</cx:pt>
          <cx:pt idx="1453">42.087419354838708</cx:pt>
          <cx:pt idx="1454">42.042903225806448</cx:pt>
          <cx:pt idx="1455">42.000000000000007</cx:pt>
          <cx:pt idx="1456">41.96387096774194</cx:pt>
          <cx:pt idx="1457">41.927419354838712</cx:pt>
          <cx:pt idx="1458">41.960967741935484</cx:pt>
          <cx:pt idx="1459">42.009354838709676</cx:pt>
          <cx:pt idx="1460">42.12419354838709</cx:pt>
          <cx:pt idx="1461">42.125806451612895</cx:pt>
          <cx:pt idx="1462">42.097419354838699</cx:pt>
          <cx:pt idx="1463">42.114193548387092</cx:pt>
          <cx:pt idx="1464">42.143225806451618</cx:pt>
          <cx:pt idx="1465">42.241290322580653</cx:pt>
          <cx:pt idx="1466">42.246451612903229</cx:pt>
          <cx:pt idx="1467">42.232580645161299</cx:pt>
          <cx:pt idx="1468">42.25516129032259</cx:pt>
          <cx:pt idx="1469">42.278387096774196</cx:pt>
          <cx:pt idx="1470">42.19064516129032</cx:pt>
          <cx:pt idx="1471">42.153870967741931</cx:pt>
          <cx:pt idx="1472">42.210645161290316</cx:pt>
          <cx:pt idx="1473">42.219032258064502</cx:pt>
          <cx:pt idx="1474">42.109032258064495</cx:pt>
          <cx:pt idx="1475">42.12870967741933</cx:pt>
          <cx:pt idx="1476">42.149677419354809</cx:pt>
          <cx:pt idx="1477">42.210645161290316</cx:pt>
          <cx:pt idx="1478">42.283548387096765</cx:pt>
          <cx:pt idx="1479">42.312903225806451</cx:pt>
          <cx:pt idx="1480">42.239032258064512</cx:pt>
          <cx:pt idx="1481">42.146451612903228</cx:pt>
          <cx:pt idx="1482">42.186451612903227</cx:pt>
          <cx:pt idx="1483">42.229677419354843</cx:pt>
          <cx:pt idx="1484">42.127741935483861</cx:pt>
          <cx:pt idx="1485">42.148709677419355</cx:pt>
          <cx:pt idx="1486">42.139677419354832</cx:pt>
          <cx:pt idx="1487">42.13064516129031</cx:pt>
          <cx:pt idx="1488">42.203870967741928</cx:pt>
          <cx:pt idx="1489">42.154838709677414</cx:pt>
          <cx:pt idx="1490">42.185161290322576</cx:pt>
          <cx:pt idx="1491">42.121290322580634</cx:pt>
          <cx:pt idx="1492">42.090967741935479</cx:pt>
          <cx:pt idx="1493">42.083548387096776</cx:pt>
          <cx:pt idx="1494">42.094516129032264</cx:pt>
          <cx:pt idx="1495">42.049032258064521</cx:pt>
          <cx:pt idx="1496">41.95322580645162</cx:pt>
          <cx:pt idx="1497">41.99774193548388</cx:pt>
          <cx:pt idx="1498">41.908709677419367</cx:pt>
          <cx:pt idx="1499">41.858387096774202</cx:pt>
          <cx:pt idx="1500">41.900645161290335</cx:pt>
          <cx:pt idx="1501">41.881290322580654</cx:pt>
          <cx:pt idx="1502">41.874838709677427</cx:pt>
          <cx:pt idx="1503">41.799677419354843</cx:pt>
          <cx:pt idx="1504">41.786129032258067</cx:pt>
          <cx:pt idx="1505">41.877419354838715</cx:pt>
          <cx:pt idx="1506">41.88967741935484</cx:pt>
          <cx:pt idx="1507">41.887741935483881</cx:pt>
          <cx:pt idx="1508">41.932580645161295</cx:pt>
          <cx:pt idx="1509">41.916129032258077</cx:pt>
          <cx:pt idx="1510">41.940645161290327</cx:pt>
          <cx:pt idx="1511">41.998709677419356</cx:pt>
          <cx:pt idx="1512">42.087419354838701</cx:pt>
          <cx:pt idx="1513">42.068387096774188</cx:pt>
          <cx:pt idx="1514">42.07</cx:pt>
          <cx:pt idx="1515">42.073548387096771</cx:pt>
          <cx:pt idx="1516">42.003870967741939</cx:pt>
          <cx:pt idx="1517">41.94580645161291</cx:pt>
          <cx:pt idx="1518">41.941290322580649</cx:pt>
          <cx:pt idx="1519">41.916774193548392</cx:pt>
          <cx:pt idx="1520">41.868387096774192</cx:pt>
          <cx:pt idx="1521">41.851290322580645</cx:pt>
          <cx:pt idx="1522">41.859354838709677</cx:pt>
          <cx:pt idx="1523">41.902903225806462</cx:pt>
          <cx:pt idx="1524">41.993225806451612</cx:pt>
          <cx:pt idx="1525">41.917741935483875</cx:pt>
          <cx:pt idx="1526">41.909677419354843</cx:pt>
          <cx:pt idx="1527">41.902580645161287</cx:pt>
          <cx:pt idx="1528">41.837419354838708</cx:pt>
          <cx:pt idx="1529">41.927096774193551</cx:pt>
          <cx:pt idx="1530">41.923870967741941</cx:pt>
          <cx:pt idx="1531">41.817419354838705</cx:pt>
          <cx:pt idx="1532">41.839032258064513</cx:pt>
          <cx:pt idx="1533">41.918064516129029</cx:pt>
          <cx:pt idx="1534">41.972258064516126</cx:pt>
          <cx:pt idx="1535">42.009032258064508</cx:pt>
          <cx:pt idx="1536">41.922903225806451</cx:pt>
          <cx:pt idx="1537">41.928387096774195</cx:pt>
          <cx:pt idx="1538">41.910322580645158</cx:pt>
          <cx:pt idx="1539">41.830322580645152</cx:pt>
          <cx:pt idx="1540">41.809677419354827</cx:pt>
          <cx:pt idx="1541">41.797419354838702</cx:pt>
          <cx:pt idx="1542">41.779999999999994</cx:pt>
          <cx:pt idx="1543">41.717741935483865</cx:pt>
          <cx:pt idx="1544">41.629677419354827</cx:pt>
          <cx:pt idx="1545">41.628064516129022</cx:pt>
          <cx:pt idx="1546">41.684516129032254</cx:pt>
          <cx:pt idx="1547">41.758387096774193</cx:pt>
          <cx:pt idx="1548">41.838709677419352</cx:pt>
          <cx:pt idx="1549">41.839354838709681</cx:pt>
          <cx:pt idx="1550">41.8851612903226</cx:pt>
          <cx:pt idx="1551">41.87354838709679</cx:pt>
          <cx:pt idx="1552">41.816774193548397</cx:pt>
          <cx:pt idx="1553">41.84387096774195</cx:pt>
          <cx:pt idx="1554">41.8151612903226</cx:pt>
          <cx:pt idx="1555">41.729032258064528</cx:pt>
          <cx:pt idx="1556">41.747096774193558</cx:pt>
          <cx:pt idx="1557">41.830967741935488</cx:pt>
          <cx:pt idx="1558">41.903225806451623</cx:pt>
          <cx:pt idx="1559">41.918709677419372</cx:pt>
          <cx:pt idx="1560">41.861612903225812</cx:pt>
          <cx:pt idx="1561">41.912258064516131</cx:pt>
          <cx:pt idx="1562">41.93</cx:pt>
          <cx:pt idx="1563">41.97032258064516</cx:pt>
          <cx:pt idx="1564">41.900645161290321</cx:pt>
          <cx:pt idx="1565">41.871935483870963</cx:pt>
          <cx:pt idx="1566">41.811612903225807</cx:pt>
          <cx:pt idx="1567">41.885161290322586</cx:pt>
          <cx:pt idx="1568">41.840967741935486</cx:pt>
          <cx:pt idx="1569">41.875806451612917</cx:pt>
          <cx:pt idx="1570">41.882258064516137</cx:pt>
          <cx:pt idx="1571">41.871290322580656</cx:pt>
          <cx:pt idx="1572">41.851290322580645</cx:pt>
          <cx:pt idx="1573">41.810322580645163</cx:pt>
          <cx:pt idx="1574">41.767419354838708</cx:pt>
          <cx:pt idx="1575">41.759032258064515</cx:pt>
          <cx:pt idx="1576">41.724838709677421</cx:pt>
          <cx:pt idx="1577">41.740967741935478</cx:pt>
          <cx:pt idx="1578">41.693548387096776</cx:pt>
          <cx:pt idx="1579">41.643870967741933</cx:pt>
          <cx:pt idx="1580">41.638064516129027</cx:pt>
          <cx:pt idx="1581">41.584838709677413</cx:pt>
          <cx:pt idx="1582">41.654838709677421</cx:pt>
          <cx:pt idx="1583">41.6274193548387</cx:pt>
          <cx:pt idx="1584">41.543870967741924</cx:pt>
          <cx:pt idx="1585">41.581290322580635</cx:pt>
          <cx:pt idx="1586">41.674516129032249</cx:pt>
          <cx:pt idx="1587">41.684516129032247</cx:pt>
          <cx:pt idx="1588">41.638709677419335</cx:pt>
          <cx:pt idx="1589">41.663225806451607</cx:pt>
          <cx:pt idx="1590">41.732903225806446</cx:pt>
          <cx:pt idx="1591">41.798387096774185</cx:pt>
          <cx:pt idx="1592">41.751935483870959</cx:pt>
          <cx:pt idx="1593">41.832580645161286</cx:pt>
          <cx:pt idx="1594">41.809032258064512</cx:pt>
          <cx:pt idx="1595">41.788709677419348</cx:pt>
          <cx:pt idx="1596">41.811935483870968</cx:pt>
          <cx:pt idx="1597">41.873870967741929</cx:pt>
          <cx:pt idx="1598">41.833225806451608</cx:pt>
          <cx:pt idx="1599">41.782258064516121</cx:pt>
          <cx:pt idx="1600">41.812258064516122</cx:pt>
          <cx:pt idx="1601">41.867096774193541</cx:pt>
          <cx:pt idx="1602">41.897741935483864</cx:pt>
          <cx:pt idx="1603">41.891290322580637</cx:pt>
          <cx:pt idx="1604">41.976129032258058</cx:pt>
          <cx:pt idx="1605">42.051612903225795</cx:pt>
          <cx:pt idx="1606">42.057419354838707</cx:pt>
          <cx:pt idx="1607">42.074838709677408</cx:pt>
          <cx:pt idx="1608">42.085483870967735</cx:pt>
          <cx:pt idx="1609">42.053870967741936</cx:pt>
          <cx:pt idx="1610">42.050322580645165</cx:pt>
          <cx:pt idx="1611">42.16290322580646</cx:pt>
          <cx:pt idx="1612">42.143870967741947</cx:pt>
          <cx:pt idx="1613">42.085483870967757</cx:pt>
          <cx:pt idx="1614">42.117096774193563</cx:pt>
          <cx:pt idx="1615">42.201935483870983</cx:pt>
          <cx:pt idx="1616">42.144193548387115</cx:pt>
          <cx:pt idx="1617">42.139032258064539</cx:pt>
          <cx:pt idx="1618">42.164193548387111</cx:pt>
          <cx:pt idx="1619">42.190967741935488</cx:pt>
          <cx:pt idx="1620">42.198064516129037</cx:pt>
          <cx:pt idx="1621">42.150322580645167</cx:pt>
          <cx:pt idx="1622">42.15870967741936</cx:pt>
          <cx:pt idx="1623">42.240645161290317</cx:pt>
          <cx:pt idx="1624">42.127741935483861</cx:pt>
          <cx:pt idx="1625">42.185483870967737</cx:pt>
          <cx:pt idx="1626">42.234516129032251</cx:pt>
          <cx:pt idx="1627">42.264193548387084</cx:pt>
          <cx:pt idx="1628">42.220967741935482</cx:pt>
          <cx:pt idx="1629">42.244516129032256</cx:pt>
          <cx:pt idx="1630">42.363870967741931</cx:pt>
          <cx:pt idx="1631">42.295806451612897</cx:pt>
          <cx:pt idx="1632">42.259354838709683</cx:pt>
          <cx:pt idx="1633">42.241612903225807</cx:pt>
          <cx:pt idx="1634">42.18096774193549</cx:pt>
          <cx:pt idx="1635">42.182258064516134</cx:pt>
          <cx:pt idx="1636">42.20000000000001</cx:pt>
          <cx:pt idx="1637">42.301612903225809</cx:pt>
          <cx:pt idx="1638">42.213870967741947</cx:pt>
          <cx:pt idx="1639">42.220645161290328</cx:pt>
          <cx:pt idx="1640">42.304193548387104</cx:pt>
          <cx:pt idx="1641">42.377096774193561</cx:pt>
          <cx:pt idx="1642">42.328709677419361</cx:pt>
          <cx:pt idx="1643">42.359677419354831</cx:pt>
          <cx:pt idx="1644">42.388387096774203</cx:pt>
          <cx:pt idx="1645">42.418387096774204</cx:pt>
          <cx:pt idx="1646">42.419677419354848</cx:pt>
          <cx:pt idx="1647">42.380967741935493</cx:pt>
          <cx:pt idx="1648">42.307096774193553</cx:pt>
          <cx:pt idx="1649">42.265483870967742</cx:pt>
          <cx:pt idx="1650">42.200322580645164</cx:pt>
          <cx:pt idx="1651">42.107096774193543</cx:pt>
          <cx:pt idx="1652">42.052580645161285</cx:pt>
          <cx:pt idx="1653">41.974838709677414</cx:pt>
          <cx:pt idx="1654">41.872580645161285</cx:pt>
          <cx:pt idx="1655">41.967096774193543</cx:pt>
          <cx:pt idx="1656">41.950967741935479</cx:pt>
          <cx:pt idx="1657">41.965806451612899</cx:pt>
          <cx:pt idx="1658">41.845161290322572</cx:pt>
          <cx:pt idx="1659">41.877096774193554</cx:pt>
          <cx:pt idx="1660">41.858064516129033</cx:pt>
          <cx:pt idx="1661">41.853225806451611</cx:pt>
          <cx:pt idx="1662">41.878709677419359</cx:pt>
          <cx:pt idx="1663">41.846774193548384</cx:pt>
          <cx:pt idx="1664">41.885161290322586</cx:pt>
          <cx:pt idx="1665">41.88645161290323</cx:pt>
          <cx:pt idx="1666">41.886774193548391</cx:pt>
          <cx:pt idx="1667">41.785483870967745</cx:pt>
          <cx:pt idx="1668">41.707419354838713</cx:pt>
          <cx:pt idx="1669">41.782580645161289</cx:pt>
          <cx:pt idx="1670">41.68741935483871</cx:pt>
          <cx:pt idx="1671">41.650967741935489</cx:pt>
          <cx:pt idx="1672">41.566774193548383</cx:pt>
          <cx:pt idx="1673">41.604516129032255</cx:pt>
          <cx:pt idx="1674">41.557741935483875</cx:pt>
          <cx:pt idx="1675">41.591935483870969</cx:pt>
          <cx:pt idx="1676">41.647741935483879</cx:pt>
          <cx:pt idx="1677">41.645161290322584</cx:pt>
          <cx:pt idx="1678">41.720322580645167</cx:pt>
          <cx:pt idx="1679">41.702903225806452</cx:pt>
          <cx:pt idx="1680">41.726129032258058</cx:pt>
          <cx:pt idx="1681">41.749999999999993</cx:pt>
          <cx:pt idx="1682">41.841935483870962</cx:pt>
          <cx:pt idx="1683">41.865161290322575</cx:pt>
          <cx:pt idx="1684">41.859032258064509</cx:pt>
          <cx:pt idx="1685">41.926451612903229</cx:pt>
          <cx:pt idx="1686">41.928709677419356</cx:pt>
          <cx:pt idx="1687">41.843870967741935</cx:pt>
          <cx:pt idx="1688">41.859677419354831</cx:pt>
          <cx:pt idx="1689">41.856451612903214</cx:pt>
          <cx:pt idx="1690">41.822580645161281</cx:pt>
          <cx:pt idx="1691">41.802903225806446</cx:pt>
          <cx:pt idx="1692">41.748064516129027</cx:pt>
          <cx:pt idx="1693">41.797741935483863</cx:pt>
          <cx:pt idx="1694">41.810967741935478</cx:pt>
          <cx:pt idx="1695">41.813870967741927</cx:pt>
          <cx:pt idx="1696">41.890967741935476</cx:pt>
          <cx:pt idx="1697">41.880000000000003</cx:pt>
          <cx:pt idx="1698">41.966129032258067</cx:pt>
          <cx:pt idx="1699">42.087419354838708</cx:pt>
          <cx:pt idx="1700">42.084193548387091</cx:pt>
          <cx:pt idx="1701">42.164838709677419</cx:pt>
          <cx:pt idx="1702">42.225483870967743</cx:pt>
          <cx:pt idx="1703">42.343548387096774</cx:pt>
          <cx:pt idx="1704">42.363870967741931</cx:pt>
          <cx:pt idx="1705">42.456451612903223</cx:pt>
          <cx:pt idx="1706">42.443548387096776</cx:pt>
          <cx:pt idx="1707">42.47548387096775</cx:pt>
          <cx:pt idx="1708">42.517096774193554</cx:pt>
          <cx:pt idx="1709">42.589032258064513</cx:pt>
          <cx:pt idx="1710">42.642580645161296</cx:pt>
          <cx:pt idx="1711">42.743225806451612</cx:pt>
          <cx:pt idx="1712">42.842903225806445</cx:pt>
          <cx:pt idx="1713">42.868064516129024</cx:pt>
          <cx:pt idx="1714">42.922258064516129</cx:pt>
          <cx:pt idx="1715">42.977741935483863</cx:pt>
          <cx:pt idx="1716">42.979999999999997</cx:pt>
          <cx:pt idx="1717">43.015483870967735</cx:pt>
          <cx:pt idx="1718">43.122258064516124</cx:pt>
          <cx:pt idx="1719">43.132258064516137</cx:pt>
          <cx:pt idx="1720">43.270000000000003</cx:pt>
          <cx:pt idx="1721">43.329354838709676</cx:pt>
          <cx:pt idx="1722">43.442580645161293</cx:pt>
          <cx:pt idx="1723">43.465161290322577</cx:pt>
          <cx:pt idx="1724">43.512580645161286</cx:pt>
          <cx:pt idx="1725">43.58709677419354</cx:pt>
          <cx:pt idx="1726">43.621935483870956</cx:pt>
          <cx:pt idx="1727">43.685161290322576</cx:pt>
          <cx:pt idx="1728">43.750645161290322</cx:pt>
          <cx:pt idx="1729">43.763870967741937</cx:pt>
          <cx:pt idx="1730">43.755806451612898</cx:pt>
          <cx:pt idx="1731">43.764838709677413</cx:pt>
          <cx:pt idx="1732">43.791290322580636</cx:pt>
          <cx:pt idx="1733">43.718709677419348</cx:pt>
          <cx:pt idx="1734">43.711290322580638</cx:pt>
          <cx:pt idx="1735">43.689677419354837</cx:pt>
          <cx:pt idx="1736">43.695806451612903</cx:pt>
          <cx:pt idx="1737">43.749354838709671</cx:pt>
          <cx:pt idx="1738">43.685806451612898</cx:pt>
          <cx:pt idx="1739">43.62903225806452</cx:pt>
          <cx:pt idx="1740">43.553225806451614</cx:pt>
          <cx:pt idx="1741">43.623870967741944</cx:pt>
          <cx:pt idx="1742">43.534516129032262</cx:pt>
          <cx:pt idx="1743">43.417741935483868</cx:pt>
          <cx:pt idx="1744">43.310967741935492</cx:pt>
          <cx:pt idx="1745">43.321935483870966</cx:pt>
          <cx:pt idx="1746">43.238064516129036</cx:pt>
          <cx:pt idx="1747">43.260645161290327</cx:pt>
          <cx:pt idx="1748">43.226451612903226</cx:pt>
          <cx:pt idx="1749">43.224838709677421</cx:pt>
          <cx:pt idx="1750">43.243225806451619</cx:pt>
          <cx:pt idx="1751">43.181612903225812</cx:pt>
          <cx:pt idx="1752">43.215483870967745</cx:pt>
          <cx:pt idx="1753">43.175806451612914</cx:pt>
          <cx:pt idx="1754">43.203225806451613</cx:pt>
          <cx:pt idx="1755">43.146451612903228</cx:pt>
          <cx:pt idx="1756">43.111612903225804</cx:pt>
          <cx:pt idx="1757">42.995483870967739</cx:pt>
          <cx:pt idx="1758">42.890645161290301</cx:pt>
          <cx:pt idx="1759">42.839999999999989</cx:pt>
          <cx:pt idx="1760">42.864516129032246</cx:pt>
          <cx:pt idx="1761">42.723225806451602</cx:pt>
          <cx:pt idx="1762">42.702903225806445</cx:pt>
          <cx:pt idx="1763">42.638709677419349</cx:pt>
          <cx:pt idx="1764">42.691290322580642</cx:pt>
          <cx:pt idx="1765">42.654838709677414</cx:pt>
          <cx:pt idx="1766">42.605483870967738</cx:pt>
          <cx:pt idx="1767">42.502580645161288</cx:pt>
          <cx:pt idx="1768">42.419032258064512</cx:pt>
          <cx:pt idx="1769">42.385483870967747</cx:pt>
          <cx:pt idx="1770">42.375806451612895</cx:pt>
          <cx:pt idx="1771">42.312258064516122</cx:pt>
          <cx:pt idx="1772">42.199677419354842</cx:pt>
          <cx:pt idx="1773">42.147419354838718</cx:pt>
          <cx:pt idx="1774">42.149032258064523</cx:pt>
          <cx:pt idx="1775">42.235483870967741</cx:pt>
          <cx:pt idx="1776">42.210967741935484</cx:pt>
          <cx:pt idx="1777">42.249032258064517</cx:pt>
          <cx:pt idx="1778">42.212258064516128</cx:pt>
          <cx:pt idx="1779">42.116451612903219</cx:pt>
          <cx:pt idx="1780">42.008387096774193</cx:pt>
          <cx:pt idx="1781">41.94903225806452</cx:pt>
          <cx:pt idx="1782">41.910645161290326</cx:pt>
          <cx:pt idx="1783">41.892580645161296</cx:pt>
          <cx:pt idx="1784">41.784838709677423</cx:pt>
          <cx:pt idx="1785">41.748709677419356</cx:pt>
          <cx:pt idx="1786">41.788064516129033</cx:pt>
          <cx:pt idx="1787">41.741290322580646</cx:pt>
          <cx:pt idx="1788">41.727419354838709</cx:pt>
          <cx:pt idx="1789">41.721612903225811</cx:pt>
          <cx:pt idx="1790">41.644838709677423</cx:pt>
          <cx:pt idx="1791">41.539999999999992</cx:pt>
          <cx:pt idx="1792">41.545161290322575</cx:pt>
          <cx:pt idx="1793">41.54032258064516</cx:pt>
          <cx:pt idx="1794">41.514193548387084</cx:pt>
          <cx:pt idx="1795">41.411290322580633</cx:pt>
          <cx:pt idx="1796">41.42903225806451</cx:pt>
          <cx:pt idx="1797">41.459677419354833</cx:pt>
          <cx:pt idx="1798">41.50967741935483</cx:pt>
          <cx:pt idx="1799">41.534838709677416</cx:pt>
          <cx:pt idx="1800">41.557096774193553</cx:pt>
          <cx:pt idx="1801">41.490967741935485</cx:pt>
          <cx:pt idx="1802">41.513870967741937</cx:pt>
          <cx:pt idx="1803">41.562903225806444</cx:pt>
          <cx:pt idx="1804">41.549999999999997</cx:pt>
          <cx:pt idx="1805">41.552258064516131</cx:pt>
          <cx:pt idx="1806">41.468387096774201</cx:pt>
          <cx:pt idx="1807">41.428709677419356</cx:pt>
          <cx:pt idx="1808">41.482258064516124</cx:pt>
          <cx:pt idx="1809">41.459354838709672</cx:pt>
          <cx:pt idx="1810">41.468709677419355</cx:pt>
          <cx:pt idx="1811">41.490322580645163</cx:pt>
          <cx:pt idx="1812">41.468064516129033</cx:pt>
          <cx:pt idx="1813">41.490000000000002</cx:pt>
          <cx:pt idx="1814">41.470000000000013</cx:pt>
          <cx:pt idx="1815">41.513870967741944</cx:pt>
          <cx:pt idx="1816">41.471935483870979</cx:pt>
          <cx:pt idx="1817">41.378709677419366</cx:pt>
          <cx:pt idx="1818">41.418064516129043</cx:pt>
          <cx:pt idx="1819">41.510322580645166</cx:pt>
          <cx:pt idx="1820">41.586451612903225</cx:pt>
          <cx:pt idx="1821">41.661290322580648</cx:pt>
          <cx:pt idx="1822">41.69580645161291</cx:pt>
          <cx:pt idx="1823">41.793870967741938</cx:pt>
          <cx:pt idx="1824">41.847741935483882</cx:pt>
          <cx:pt idx="1825">41.867741935483885</cx:pt>
          <cx:pt idx="1826">41.923225806451633</cx:pt>
          <cx:pt idx="1827">41.854193548387109</cx:pt>
          <cx:pt idx="1828">41.791935483870979</cx:pt>
          <cx:pt idx="1829">41.776129032258069</cx:pt>
          <cx:pt idx="1830">41.827096774193549</cx:pt>
          <cx:pt idx="1831">41.779354838709686</cx:pt>
          <cx:pt idx="1832">41.881290322580654</cx:pt>
          <cx:pt idx="1833">41.872258064516139</cx:pt>
          <cx:pt idx="1834">41.854516129032262</cx:pt>
          <cx:pt idx="1835">41.93935483870969</cx:pt>
          <cx:pt idx="1836">41.93516129032259</cx:pt>
          <cx:pt idx="1837">41.934838709677422</cx:pt>
          <cx:pt idx="1838">42.021290322580647</cx:pt>
          <cx:pt idx="1839">41.964516129032255</cx:pt>
          <cx:pt idx="1840">41.986774193548392</cx:pt>
          <cx:pt idx="1841">42.002258064516127</cx:pt>
          <cx:pt idx="1842">42.014838709677413</cx:pt>
          <cx:pt idx="1843">42.029999999999994</cx:pt>
          <cx:pt idx="1844">42.011935483870971</cx:pt>
          <cx:pt idx="1845">42.035483870967745</cx:pt>
          <cx:pt idx="1846">42.030322580645169</cx:pt>
          <cx:pt idx="1847">42.018064516129037</cx:pt>
          <cx:pt idx="1848">42.081290322580649</cx:pt>
          <cx:pt idx="1849">42.029032258064525</cx:pt>
          <cx:pt idx="1850">41.991935483870975</cx:pt>
          <cx:pt idx="1851">41.903225806451616</cx:pt>
          <cx:pt idx="1852">41.909032258064521</cx:pt>
          <cx:pt idx="1853">41.927096774193558</cx:pt>
          <cx:pt idx="1854">41.902903225806462</cx:pt>
          <cx:pt idx="1855">41.910967741935494</cx:pt>
          <cx:pt idx="1856">41.887741935483881</cx:pt>
          <cx:pt idx="1857">41.825161290322583</cx:pt>
          <cx:pt idx="1858">41.813225806451612</cx:pt>
          <cx:pt idx="1859">41.795483870967743</cx:pt>
          <cx:pt idx="1860">41.748709677419363</cx:pt>
          <cx:pt idx="1861">41.73935483870968</cx:pt>
          <cx:pt idx="1862">41.812258064516129</cx:pt>
          <cx:pt idx="1863">41.815806451612907</cx:pt>
          <cx:pt idx="1864">41.867096774193541</cx:pt>
          <cx:pt idx="1865">41.871612903225802</cx:pt>
          <cx:pt idx="1866">41.89387096774194</cx:pt>
          <cx:pt idx="1867">41.917419354838714</cx:pt>
          <cx:pt idx="1868">41.881935483870969</cx:pt>
          <cx:pt idx="1869">41.851612903225799</cx:pt>
          <cx:pt idx="1870">41.945483870967742</cx:pt>
          <cx:pt idx="1871">41.98290322580646</cx:pt>
          <cx:pt idx="1872">42.018064516129037</cx:pt>
          <cx:pt idx="1873">42.009354838709676</cx:pt>
          <cx:pt idx="1874">41.959677419354833</cx:pt>
          <cx:pt idx="1875">41.966129032258067</cx:pt>
          <cx:pt idx="1876">41.946774193548386</cx:pt>
          <cx:pt idx="1877">42.018064516129023</cx:pt>
          <cx:pt idx="1878">42.06903225806451</cx:pt>
          <cx:pt idx="1879">42.043870967741924</cx:pt>
          <cx:pt idx="1880">42.145483870967738</cx:pt>
          <cx:pt idx="1881">42.123548387096768</cx:pt>
          <cx:pt idx="1882">42.221612903225804</cx:pt>
          <cx:pt idx="1883">42.166451612903224</cx:pt>
          <cx:pt idx="1884">42.167419354838707</cx:pt>
          <cx:pt idx="1885">42.097096774193538</cx:pt>
          <cx:pt idx="1886">41.98419354838709</cx:pt>
          <cx:pt idx="1887">42.065161290322571</cx:pt>
          <cx:pt idx="1888">42.168709677419351</cx:pt>
          <cx:pt idx="1889">42.241612903225807</cx:pt>
          <cx:pt idx="1890">42.308709677419358</cx:pt>
          <cx:pt idx="1891">42.389677419354847</cx:pt>
          <cx:pt idx="1892">42.385161290322593</cx:pt>
          <cx:pt idx="1893">42.375483870967756</cx:pt>
          <cx:pt idx="1894">42.380000000000017</cx:pt>
          <cx:pt idx="1895">42.456451612903237</cx:pt>
          <cx:pt idx="1896">42.470645161290335</cx:pt>
          <cx:pt idx="1897">42.444516129032266</cx:pt>
          <cx:pt idx="1898">42.510645161290327</cx:pt>
          <cx:pt idx="1899">42.663225806451614</cx:pt>
          <cx:pt idx="1900">42.690322580645166</cx:pt>
          <cx:pt idx="1901">42.685806451612905</cx:pt>
          <cx:pt idx="1902">42.69064516129032</cx:pt>
          <cx:pt idx="1903">42.728387096774192</cx:pt>
          <cx:pt idx="1904">42.773870967741928</cx:pt>
          <cx:pt idx="1905">42.923870967741934</cx:pt>
          <cx:pt idx="1906">42.971935483870972</cx:pt>
          <cx:pt idx="1907">42.990645161290324</cx:pt>
          <cx:pt idx="1908">43.030967741935484</cx:pt>
          <cx:pt idx="1909">43.075806451612905</cx:pt>
          <cx:pt idx="1910">43.152580645161301</cx:pt>
          <cx:pt idx="1911">43.184838709677429</cx:pt>
          <cx:pt idx="1912">43.282258064516135</cx:pt>
          <cx:pt idx="1913">43.25516129032259</cx:pt>
          <cx:pt idx="1914">43.281612903225813</cx:pt>
          <cx:pt idx="1915">43.311612903225814</cx:pt>
          <cx:pt idx="1916">43.455806451612922</cx:pt>
          <cx:pt idx="1917">43.540645161290328</cx:pt>
          <cx:pt idx="1918">43.603225806451618</cx:pt>
          <cx:pt idx="1919">43.588709677419359</cx:pt>
          <cx:pt idx="1920">43.621935483870978</cx:pt>
          <cx:pt idx="1921">43.704838709677425</cx:pt>
          <cx:pt idx="1922">43.69580645161291</cx:pt>
          <cx:pt idx="1923">43.748064516129034</cx:pt>
          <cx:pt idx="1924">43.721290322580643</cx:pt>
          <cx:pt idx="1925">43.711612903225806</cx:pt>
          <cx:pt idx="1926">43.690322580645159</cx:pt>
          <cx:pt idx="1927">43.752903225806442</cx:pt>
          <cx:pt idx="1928">43.8074193548387</cx:pt>
          <cx:pt idx="1929">43.780645161290316</cx:pt>
          <cx:pt idx="1930">43.691935483870971</cx:pt>
          <cx:pt idx="1931">43.602580645161289</cx:pt>
          <cx:pt idx="1932">43.501290322580644</cx:pt>
          <cx:pt idx="1933">43.486451612903224</cx:pt>
          <cx:pt idx="1934">43.416451612903224</cx:pt>
          <cx:pt idx="1935">43.454516129032257</cx:pt>
          <cx:pt idx="1936">43.366451612903219</cx:pt>
          <cx:pt idx="1937">43.292258064516126</cx:pt>
          <cx:pt idx="1938">43.245806451612907</cx:pt>
          <cx:pt idx="1939">43.159677419354836</cx:pt>
          <cx:pt idx="1940">43.063870967741934</cx:pt>
          <cx:pt idx="1941">43.002258064516127</cx:pt>
          <cx:pt idx="1942">42.950645161290325</cx:pt>
          <cx:pt idx="1943">42.916774193548385</cx:pt>
          <cx:pt idx="1944">42.946129032258071</cx:pt>
          <cx:pt idx="1945">42.981290322580648</cx:pt>
          <cx:pt idx="1946">42.921935483870968</cx:pt>
          <cx:pt idx="1947">42.767096774193547</cx:pt>
          <cx:pt idx="1948">42.710645161290316</cx:pt>
          <cx:pt idx="1949">42.643548387096772</cx:pt>
          <cx:pt idx="1950">42.632580645161291</cx:pt>
          <cx:pt idx="1951">42.52129032258064</cx:pt>
          <cx:pt idx="1952">42.490645161290317</cx:pt>
          <cx:pt idx="1953">42.498709677419356</cx:pt>
          <cx:pt idx="1954">42.352580645161282</cx:pt>
          <cx:pt idx="1955">42.374516129032266</cx:pt>
          <cx:pt idx="1956">42.377419354838715</cx:pt>
          <cx:pt idx="1957">42.326774193548381</cx:pt>
          <cx:pt idx="1958">42.246129032258068</cx:pt>
          <cx:pt idx="1959">42.226129032258065</cx:pt>
          <cx:pt idx="1960">42.240000000000002</cx:pt>
          <cx:pt idx="1961">42.182258064516134</cx:pt>
          <cx:pt idx="1962">42.240645161290324</cx:pt>
          <cx:pt idx="1963">42.268387096774191</cx:pt>
          <cx:pt idx="1964">42.240000000000002</cx:pt>
          <cx:pt idx="1965">42.239999999999995</cx:pt>
          <cx:pt idx="1966">42.25</cx:pt>
          <cx:pt idx="1967">42.260322580645159</cx:pt>
          <cx:pt idx="1968">42.323870967741932</cx:pt>
          <cx:pt idx="1969">42.297419354838702</cx:pt>
          <cx:pt idx="1970">42.278387096774182</cx:pt>
          <cx:pt idx="1971">42.356774193548382</cx:pt>
          <cx:pt idx="1972">42.294516129032246</cx:pt>
          <cx:pt idx="1973">42.285483870967738</cx:pt>
          <cx:pt idx="1974">42.232258064516124</cx:pt>
          <cx:pt idx="1975">42.138064516129035</cx:pt>
          <cx:pt idx="1976">42.10290322580645</cx:pt>
          <cx:pt idx="1977">42.072580645161295</cx:pt>
          <cx:pt idx="1978">42.107741935483872</cx:pt>
          <cx:pt idx="1979">42.092903225806459</cx:pt>
          <cx:pt idx="1980">42.008387096774193</cx:pt>
          <cx:pt idx="1981">41.937096774193556</cx:pt>
          <cx:pt idx="1982">41.944516129032273</cx:pt>
          <cx:pt idx="1983">41.89580645161292</cx:pt>
          <cx:pt idx="1984">41.912580645161306</cx:pt>
          <cx:pt idx="1985">41.992258064516136</cx:pt>
          <cx:pt idx="1986">41.988709677419358</cx:pt>
          <cx:pt idx="1987">41.917741935483875</cx:pt>
          <cx:pt idx="1988">41.903870967741938</cx:pt>
          <cx:pt idx="1989">41.907419354838709</cx:pt>
          <cx:pt idx="1990">41.807741935483868</cx:pt>
          <cx:pt idx="1991">41.817741935483873</cx:pt>
          <cx:pt idx="1992">41.856451612903221</cx:pt>
          <cx:pt idx="1993">41.840645161290325</cx:pt>
          <cx:pt idx="1994">41.838709677419359</cx:pt>
          <cx:pt idx="1995">41.885483870967754</cx:pt>
          <cx:pt idx="1996">41.915806451612916</cx:pt>
          <cx:pt idx="1997">41.806451612903231</cx:pt>
          <cx:pt idx="1998">41.829032258064515</cx:pt>
          <cx:pt idx="1999">41.763870967741937</cx:pt>
          <cx:pt idx="2000">41.760322580645166</cx:pt>
          <cx:pt idx="2001">41.708387096774189</cx:pt>
          <cx:pt idx="2002">41.659032258064514</cx:pt>
          <cx:pt idx="2003">41.640967741935484</cx:pt>
          <cx:pt idx="2004">41.660645161290319</cx:pt>
          <cx:pt idx="2005">41.618387096774185</cx:pt>
          <cx:pt idx="2006">41.678709677419356</cx:pt>
          <cx:pt idx="2007">41.649032258064516</cx:pt>
          <cx:pt idx="2008">41.688064516129032</cx:pt>
          <cx:pt idx="2009">41.756129032258059</cx:pt>
          <cx:pt idx="2010">41.780322580645162</cx:pt>
          <cx:pt idx="2011">41.889354838709679</cx:pt>
          <cx:pt idx="2012">41.994838709677417</cx:pt>
          <cx:pt idx="2013">42.05838709677419</cx:pt>
          <cx:pt idx="2014">42.033548387096772</cx:pt>
          <cx:pt idx="2015">42.008387096774193</cx:pt>
          <cx:pt idx="2016">42.039999999999999</cx:pt>
          <cx:pt idx="2017">42.069677419354832</cx:pt>
          <cx:pt idx="2018">42.10612903225806</cx:pt>
          <cx:pt idx="2019">42.038709677419355</cx:pt>
          <cx:pt idx="2020">41.976774193548394</cx:pt>
          <cx:pt idx="2021">42.02645161290323</cx:pt>
          <cx:pt idx="2022">41.972903225806455</cx:pt>
          <cx:pt idx="2023">42.049677419354843</cx:pt>
          <cx:pt idx="2024">41.988387096774197</cx:pt>
          <cx:pt idx="2025">42.039677419354838</cx:pt>
          <cx:pt idx="2026">41.966451612903228</cx:pt>
          <cx:pt idx="2027">41.968387096774194</cx:pt>
          <cx:pt idx="2028">42.04774193548387</cx:pt>
          <cx:pt idx="2029">42.049999999999997</cx:pt>
          <cx:pt idx="2030">42.114193548387092</cx:pt>
          <cx:pt idx="2031">42.105806451612899</cx:pt>
          <cx:pt idx="2032">42.160322580645165</cx:pt>
          <cx:pt idx="2033">42.187741935483871</cx:pt>
          <cx:pt idx="2034">42.18741935483871</cx:pt>
          <cx:pt idx="2035">42.170322580645163</cx:pt>
          <cx:pt idx="2036">42.20322580645162</cx:pt>
          <cx:pt idx="2037">42.224838709677421</cx:pt>
          <cx:pt idx="2038">42.291935483870965</cx:pt>
          <cx:pt idx="2039">42.242903225806451</cx:pt>
          <cx:pt idx="2040">42.143225806451611</cx:pt>
          <cx:pt idx="2041">42.226451612903233</cx:pt>
          <cx:pt idx="2042">42.234516129032251</cx:pt>
          <cx:pt idx="2043">42.189999999999991</cx:pt>
          <cx:pt idx="2044">42.104193548387087</cx:pt>
          <cx:pt idx="2045">42.066774193548383</cx:pt>
          <cx:pt idx="2046">41.994838709677417</cx:pt>
          <cx:pt idx="2047">41.98290322580646</cx:pt>
          <cx:pt idx="2048">41.984516129032258</cx:pt>
          <cx:pt idx="2049">41.917741935483882</cx:pt>
          <cx:pt idx="2050">41.938064516129046</cx:pt>
          <cx:pt idx="2051">41.995483870967753</cx:pt>
          <cx:pt idx="2052">41.952903225806466</cx:pt>
          <cx:pt idx="2053">41.999354838709692</cx:pt>
          <cx:pt idx="2054">41.949032258064527</cx:pt>
          <cx:pt idx="2055">41.951935483870976</cx:pt>
          <cx:pt idx="2056">41.967419354838718</cx:pt>
          <cx:pt idx="2057">42.009354838709683</cx:pt>
          <cx:pt idx="2058">42.009677419354844</cx:pt>
          <cx:pt idx="2059">42.028064516129028</cx:pt>
          <cx:pt idx="2060">41.956129032258062</cx:pt>
          <cx:pt idx="2061">41.923548387096773</cx:pt>
          <cx:pt idx="2062">41.947096774193547</cx:pt>
          <cx:pt idx="2063">41.959354838709672</cx:pt>
          <cx:pt idx="2064">41.90870967741936</cx:pt>
          <cx:pt idx="2065">41.941935483870971</cx:pt>
          <cx:pt idx="2066">41.973870967741938</cx:pt>
          <cx:pt idx="2067">41.971935483870972</cx:pt>
          <cx:pt idx="2068">41.904516129032267</cx:pt>
          <cx:pt idx="2069">41.875483870967756</cx:pt>
          <cx:pt idx="2070">41.936774193548402</cx:pt>
          <cx:pt idx="2071">41.977741935483884</cx:pt>
          <cx:pt idx="2072">41.972580645161301</cx:pt>
          <cx:pt idx="2073">41.910000000000011</cx:pt>
          <cx:pt idx="2074">41.910645161290326</cx:pt>
          <cx:pt idx="2075">41.955806451612908</cx:pt>
          <cx:pt idx="2076">42.057096774193553</cx:pt>
          <cx:pt idx="2077">42.125161290322588</cx:pt>
          <cx:pt idx="2078">42.034838709677423</cx:pt>
          <cx:pt idx="2079">42.030322580645162</cx:pt>
          <cx:pt idx="2080">42.116774193548387</cx:pt>
          <cx:pt idx="2081">42.178709677419356</cx:pt>
          <cx:pt idx="2082">42.152580645161287</cx:pt>
          <cx:pt idx="2083">42.204838709677418</cx:pt>
          <cx:pt idx="2084">42.103225806451611</cx:pt>
          <cx:pt idx="2085">42.147741935483879</cx:pt>
          <cx:pt idx="2086">42.246451612903229</cx:pt>
          <cx:pt idx="2087">42.216774193548396</cx:pt>
          <cx:pt idx="2088">42.226774193548394</cx:pt>
          <cx:pt idx="2089">42.270000000000003</cx:pt>
          <cx:pt idx="2090">42.248387096774195</cx:pt>
          <cx:pt idx="2091">42.229354838709682</cx:pt>
          <cx:pt idx="2092">42.208387096774196</cx:pt>
          <cx:pt idx="2093">42.212258064516135</cx:pt>
          <cx:pt idx="2094">42.235483870967741</cx:pt>
          <cx:pt idx="2095">42.254193548387093</cx:pt>
          <cx:pt idx="2096">42.252903225806449</cx:pt>
          <cx:pt idx="2097">42.231612903225795</cx:pt>
          <cx:pt idx="2098">42.274193548387089</cx:pt>
          <cx:pt idx="2099">42.296451612903212</cx:pt>
          <cx:pt idx="2100">42.321935483870966</cx:pt>
          <cx:pt idx="2101">42.274193548387096</cx:pt>
          <cx:pt idx="2102">42.2458064516129</cx:pt>
          <cx:pt idx="2103">42.248709677419356</cx:pt>
          <cx:pt idx="2104">42.274193548387096</cx:pt>
          <cx:pt idx="2105">42.222580645161301</cx:pt>
          <cx:pt idx="2106">42.183225806451624</cx:pt>
          <cx:pt idx="2107">42.130322580645171</cx:pt>
          <cx:pt idx="2108">42.165161290322587</cx:pt>
          <cx:pt idx="2109">42.273870967741942</cx:pt>
          <cx:pt idx="2110">42.227096774193555</cx:pt>
          <cx:pt idx="2111">42.231290322580648</cx:pt>
          <cx:pt idx="2112">42.164516129032265</cx:pt>
          <cx:pt idx="2113">42.185806451612905</cx:pt>
          <cx:pt idx="2114">42.186451612903241</cx:pt>
          <cx:pt idx="2115">42.25193548387098</cx:pt>
          <cx:pt idx="2116">42.254516129032261</cx:pt>
          <cx:pt idx="2117">42.228064516129038</cx:pt>
          <cx:pt idx="2118">42.185806451612905</cx:pt>
          <cx:pt idx="2119">42.193548387096776</cx:pt>
          <cx:pt idx="2120">42.143225806451611</cx:pt>
          <cx:pt idx="2121">42.163870967741929</cx:pt>
          <cx:pt idx="2122">42.244516129032256</cx:pt>
          <cx:pt idx="2123">42.275161290322579</cx:pt>
          <cx:pt idx="2124">42.259999999999998</cx:pt>
          <cx:pt idx="2125">42.214193548387094</cx:pt>
          <cx:pt idx="2126">42.200645161290318</cx:pt>
          <cx:pt idx="2127">42.287419354838704</cx:pt>
          <cx:pt idx="2128">42.280322580645155</cx:pt>
          <cx:pt idx="2129">42.194193548387091</cx:pt>
          <cx:pt idx="2130">42.234838709677412</cx:pt>
          <cx:pt idx="2131">42.205806451612894</cx:pt>
          <cx:pt idx="2132">42.287096774193543</cx:pt>
          <cx:pt idx="2133">42.32451612903224</cx:pt>
          <cx:pt idx="2134">42.313225806451598</cx:pt>
          <cx:pt idx="2135">42.254193548387086</cx:pt>
          <cx:pt idx="2136">42.256774193548374</cx:pt>
          <cx:pt idx="2137">42.355161290322563</cx:pt>
          <cx:pt idx="2138">42.378387096774176</cx:pt>
          <cx:pt idx="2139">42.284516129032248</cx:pt>
          <cx:pt idx="2140">42.286129032258053</cx:pt>
          <cx:pt idx="2141">42.332258064516125</cx:pt>
          <cx:pt idx="2142">42.315483870967746</cx:pt>
          <cx:pt idx="2143">42.399032258064523</cx:pt>
          <cx:pt idx="2144">42.425161290322592</cx:pt>
          <cx:pt idx="2145">42.405161290322589</cx:pt>
          <cx:pt idx="2146">42.361935483870965</cx:pt>
          <cx:pt idx="2147">42.335161290322581</cx:pt>
          <cx:pt idx="2148">42.316774193548383</cx:pt>
          <cx:pt idx="2149">42.339354838709674</cx:pt>
          <cx:pt idx="2150">42.339999999999996</cx:pt>
          <cx:pt idx="2151">42.341612903225801</cx:pt>
          <cx:pt idx="2152">42.355806451612892</cx:pt>
          <cx:pt idx="2153">42.279354838709665</cx:pt>
          <cx:pt idx="2154">42.215483870967731</cx:pt>
          <cx:pt idx="2155">42.227419354838702</cx:pt>
          <cx:pt idx="2156">42.277419354838706</cx:pt>
          <cx:pt idx="2157">42.282258064516121</cx:pt>
          <cx:pt idx="2158">42.179032258064517</cx:pt>
          <cx:pt idx="2159">42.171290322580646</cx:pt>
          <cx:pt idx="2160">42.17677419354839</cx:pt>
          <cx:pt idx="2161">42.128064516129022</cx:pt>
          <cx:pt idx="2162">42.092580645161284</cx:pt>
          <cx:pt idx="2163">42.04774193548387</cx:pt>
          <cx:pt idx="2164">42.100967741935484</cx:pt>
          <cx:pt idx="2165">42.097741935483874</cx:pt>
          <cx:pt idx="2166">42.170322580645163</cx:pt>
          <cx:pt idx="2167">42.214193548387108</cx:pt>
          <cx:pt idx="2168">42.148387096774208</cx:pt>
          <cx:pt idx="2169">42.164516129032265</cx:pt>
          <cx:pt idx="2170">42.162903225806453</cx:pt>
          <cx:pt idx="2171">42.047419354838702</cx:pt>
          <cx:pt idx="2172">41.939677419354844</cx:pt>
          <cx:pt idx="2173">41.86774193548387</cx:pt>
          <cx:pt idx="2174">41.782258064516128</cx:pt>
          <cx:pt idx="2175">41.77548387096774</cx:pt>
          <cx:pt idx="2176">41.822580645161288</cx:pt>
          <cx:pt idx="2177">41.803225806451607</cx:pt>
          <cx:pt idx="2178">41.762903225806447</cx:pt>
          <cx:pt idx="2179">41.756129032258059</cx:pt>
          <cx:pt idx="2180">41.728387096774192</cx:pt>
          <cx:pt idx="2181">41.752258064516134</cx:pt>
          <cx:pt idx="2182">41.705483870967747</cx:pt>
          <cx:pt idx="2183">41.591612903225808</cx:pt>
          <cx:pt idx="2184">41.643225806451625</cx:pt>
          <cx:pt idx="2185">41.67032258064517</cx:pt>
          <cx:pt idx="2186">41.671612903225807</cx:pt>
          <cx:pt idx="2187">41.686774193548395</cx:pt>
          <cx:pt idx="2188">41.70000000000001</cx:pt>
          <cx:pt idx="2189">41.685483870967744</cx:pt>
          <cx:pt idx="2190">41.626774193548378</cx:pt>
          <cx:pt idx="2191">41.654516129032267</cx:pt>
          <cx:pt idx="2192">41.722580645161294</cx:pt>
          <cx:pt idx="2193">41.752903225806449</cx:pt>
          <cx:pt idx="2194">41.727096774193541</cx:pt>
          <cx:pt idx="2195">41.617741935483863</cx:pt>
          <cx:pt idx="2196">41.598387096774182</cx:pt>
          <cx:pt idx="2197">41.570322580645154</cx:pt>
          <cx:pt idx="2198">41.544193548387092</cx:pt>
          <cx:pt idx="2199">41.551935483870963</cx:pt>
          <cx:pt idx="2200">41.516129032258071</cx:pt>
          <cx:pt idx="2201">41.558064516129043</cx:pt>
          <cx:pt idx="2202">41.558709677419365</cx:pt>
          <cx:pt idx="2203">41.600000000000001</cx:pt>
          <cx:pt idx="2204">41.641290322580659</cx:pt>
          <cx:pt idx="2205">41.635161290322593</cx:pt>
          <cx:pt idx="2206">41.628064516129044</cx:pt>
          <cx:pt idx="2207">41.619032258064529</cx:pt>
          <cx:pt idx="2208">41.71806451612904</cx:pt>
          <cx:pt idx="2209">41.759032258064522</cx:pt>
          <cx:pt idx="2210">41.743225806451619</cx:pt>
          <cx:pt idx="2211">41.724838709677421</cx:pt>
          <cx:pt idx="2212">41.723225806451616</cx:pt>
          <cx:pt idx="2213">41.795483870967743</cx:pt>
          <cx:pt idx="2214">41.839677419354835</cx:pt>
          <cx:pt idx="2215">41.864838709677414</cx:pt>
          <cx:pt idx="2216">41.857419354838711</cx:pt>
          <cx:pt idx="2217">41.84645161290323</cx:pt>
          <cx:pt idx="2218">41.744838709677424</cx:pt>
          <cx:pt idx="2219">41.720000000000006</cx:pt>
          <cx:pt idx="2220">41.755806451612912</cx:pt>
          <cx:pt idx="2221">41.737419354838721</cx:pt>
          <cx:pt idx="2222">41.799354838709682</cx:pt>
          <cx:pt idx="2223">41.553225806451614</cx:pt>
          <cx:pt idx="2224">41.618064516129031</cx:pt>
          <cx:pt idx="2225">41.553548387096768</cx:pt>
          <cx:pt idx="2226">41.723225806451616</cx:pt>
          <cx:pt idx="2227">41.633225806451598</cx:pt>
          <cx:pt idx="2228">41.614516129032253</cx:pt>
          <cx:pt idx="2229">41.72032258064516</cx:pt>
          <cx:pt idx="2230">41.82741935483871</cx:pt>
          <cx:pt idx="2231">41.779354838709686</cx:pt>
          <cx:pt idx="2232">41.658709677419367</cx:pt>
          <cx:pt idx="2233">41.508064516129039</cx:pt>
          <cx:pt idx="2234">41.359677419354846</cx:pt>
          <cx:pt idx="2235">41.485161290322587</cx:pt>
          <cx:pt idx="2236">41.516774193548393</cx:pt>
          <cx:pt idx="2237">41.576129032258066</cx:pt>
          <cx:pt idx="2238">41.502258064516134</cx:pt>
          <cx:pt idx="2239">41.306129032258063</cx:pt>
          <cx:pt idx="2240">41.093225806451606</cx:pt>
          <cx:pt idx="2241">41.083548387096762</cx:pt>
          <cx:pt idx="2242">40.978709677419346</cx:pt>
          <cx:pt idx="2243">41.049354838709661</cx:pt>
          <cx:pt idx="2244">40.919354838709666</cx:pt>
          <cx:pt idx="2245">41.03322580645159</cx:pt>
          <cx:pt idx="2246">40.77677419354837</cx:pt>
          <cx:pt idx="2247">40.595161290322572</cx:pt>
          <cx:pt idx="2248">40.476129032258058</cx:pt>
          <cx:pt idx="2249">40.324516129032247</cx:pt>
          <cx:pt idx="2250">40.327096774193535</cx:pt>
          <cx:pt idx="2251">40.167741935483868</cx:pt>
          <cx:pt idx="2252">39.994838709677417</cx:pt>
          <cx:pt idx="2253">20.336129032258068</cx:pt>
          <cx:pt idx="2254">21.72129032258065</cx:pt>
          <cx:pt idx="2255">23.081935483870971</cx:pt>
          <cx:pt idx="2256">24.372580645161293</cx:pt>
          <cx:pt idx="2257">25.719677419354841</cx:pt>
          <cx:pt idx="2258">27.02741935483871</cx:pt>
          <cx:pt idx="2259">28.379354838709677</cx:pt>
          <cx:pt idx="2260">29.698709677419355</cx:pt>
          <cx:pt idx="2261">31.054838709677416</cx:pt>
          <cx:pt idx="2262">32.361290322580643</cx:pt>
          <cx:pt idx="2263">33.670645161290324</cx:pt>
          <cx:pt idx="2264">35.034516129032255</cx:pt>
          <cx:pt idx="2265">36.404193548387099</cx:pt>
          <cx:pt idx="2266">37.707096774193552</cx:pt>
          <cx:pt idx="2267">39.032580645161289</cx:pt>
          <cx:pt idx="2268">40.373548387096768</cx:pt>
          <cx:pt idx="2269">41.692580645161293</cx:pt>
          <cx:pt idx="2270">41.715483870967738</cx:pt>
          <cx:pt idx="2271">41.707419354838706</cx:pt>
          <cx:pt idx="2272">41.664193548387097</cx:pt>
          <cx:pt idx="2273">41.673225806451605</cx:pt>
          <cx:pt idx="2274">41.670967741935485</cx:pt>
          <cx:pt idx="2275">41.647419354838711</cx:pt>
          <cx:pt idx="2276">41.722258064516126</cx:pt>
          <cx:pt idx="2277">41.697741935483869</cx:pt>
          <cx:pt idx="2278">41.651935483870965</cx:pt>
          <cx:pt idx="2279">41.653548387096777</cx:pt>
          <cx:pt idx="2280">41.687419354838717</cx:pt>
          <cx:pt idx="2281">41.592903225806445</cx:pt>
          <cx:pt idx="2282">41.647419354838711</cx:pt>
          <cx:pt idx="2283">41.537419354838704</cx:pt>
          <cx:pt idx="2284">41.459354838709672</cx:pt>
          <cx:pt idx="2285">41.446129032258057</cx:pt>
          <cx:pt idx="2286">41.501612903225798</cx:pt>
          <cx:pt idx="2287">41.517096774193547</cx:pt>
          <cx:pt idx="2288">41.490967741935485</cx:pt>
          <cx:pt idx="2289">41.520322580645171</cx:pt>
          <cx:pt idx="2290">41.549354838709682</cx:pt>
          <cx:pt idx="2291">41.64806451612904</cx:pt>
          <cx:pt idx="2292">41.644193548387108</cx:pt>
          <cx:pt idx="2293">41.69161290322581</cx:pt>
          <cx:pt idx="2294">41.758064516129039</cx:pt>
          <cx:pt idx="2295">41.811290322580653</cx:pt>
          <cx:pt idx="2296">41.78161290322582</cx:pt>
          <cx:pt idx="2297">41.882258064516144</cx:pt>
          <cx:pt idx="2298">41.95419354838711</cx:pt>
          <cx:pt idx="2299">42.01903225806452</cx:pt>
          <cx:pt idx="2300">42.095161290322572</cx:pt>
          <cx:pt idx="2301">42.077096774193549</cx:pt>
          <cx:pt idx="2302">42.039032258064516</cx:pt>
          <cx:pt idx="2303">42.13645161290323</cx:pt>
          <cx:pt idx="2304">42.023870967741928</cx:pt>
          <cx:pt idx="2305">42.028064516129028</cx:pt>
          <cx:pt idx="2306">41.955161290322586</cx:pt>
          <cx:pt idx="2307">41.943225806451615</cx:pt>
          <cx:pt idx="2308">42.015806451612903</cx:pt>
          <cx:pt idx="2309">42.025161290322572</cx:pt>
          <cx:pt idx="2310">41.922258064516129</cx:pt>
          <cx:pt idx="2311">41.976451612903219</cx:pt>
          <cx:pt idx="2312">41.990645161290317</cx:pt>
          <cx:pt idx="2313">42.025806451612894</cx:pt>
          <cx:pt idx="2314">42.108709677419348</cx:pt>
          <cx:pt idx="2315">42.144838709677423</cx:pt>
          <cx:pt idx="2316">42.167096774193553</cx:pt>
          <cx:pt idx="2317">42.097096774193545</cx:pt>
          <cx:pt idx="2318">42.084193548387091</cx:pt>
          <cx:pt idx="2319">42.120645161290312</cx:pt>
          <cx:pt idx="2320">42.086451612903225</cx:pt>
          <cx:pt idx="2321">42.077419354838703</cx:pt>
          <cx:pt idx="2322">42.072580645161281</cx:pt>
          <cx:pt idx="2323">42.100645161290316</cx:pt>
          <cx:pt idx="2324">42.058064516129029</cx:pt>
          <cx:pt idx="2325">42.013870967741944</cx:pt>
          <cx:pt idx="2326">41.948387096774205</cx:pt>
          <cx:pt idx="2327">41.96806451612904</cx:pt>
          <cx:pt idx="2328">41.934838709677436</cx:pt>
          <cx:pt idx="2329">41.906129032258079</cx:pt>
          <cx:pt idx="2330">41.8325806451613</cx:pt>
          <cx:pt idx="2331">41.759677419354851</cx:pt>
          <cx:pt idx="2332">41.772258064516137</cx:pt>
          <cx:pt idx="2333">41.843548387096781</cx:pt>
          <cx:pt idx="2334">41.822903225806449</cx:pt>
          <cx:pt idx="2335">41.938387096774193</cx:pt>
          <cx:pt idx="2336">42.013225806451608</cx:pt>
          <cx:pt idx="2337">42.108709677419348</cx:pt>
          <cx:pt idx="2338">42.09225806451613</cx:pt>
          <cx:pt idx="2339">42.103225806451604</cx:pt>
          <cx:pt idx="2340">42.201612903225808</cx:pt>
          <cx:pt idx="2341">42.205161290322586</cx:pt>
          <cx:pt idx="2342">42.168709677419358</cx:pt>
          <cx:pt idx="2343">42.16935483870968</cx:pt>
          <cx:pt idx="2344">42.142903225806457</cx:pt>
          <cx:pt idx="2345">42.063870967741941</cx:pt>
          <cx:pt idx="2346">42.112580645161309</cx:pt>
          <cx:pt idx="2347">42.045806451612911</cx:pt>
          <cx:pt idx="2348">42.0741935483871</cx:pt>
          <cx:pt idx="2349">42.115161290322582</cx:pt>
          <cx:pt idx="2350">42.128064516129037</cx:pt>
          <cx:pt idx="2351">42.18</cx:pt>
          <cx:pt idx="2352">42.225483870967743</cx:pt>
          <cx:pt idx="2353">42.199999999999996</cx:pt>
          <cx:pt idx="2354">42.157096774193548</cx:pt>
          <cx:pt idx="2355">42.237419354838714</cx:pt>
          <cx:pt idx="2356">42.22870967741936</cx:pt>
          <cx:pt idx="2357">42.22774193548387</cx:pt>
          <cx:pt idx="2358">42.206451612903223</cx:pt>
          <cx:pt idx="2359">42.22774193548387</cx:pt>
          <cx:pt idx="2360">42.215806451612906</cx:pt>
          <cx:pt idx="2361">42.279677419354833</cx:pt>
          <cx:pt idx="2362">42.329677419354837</cx:pt>
          <cx:pt idx="2363">42.325806451612898</cx:pt>
          <cx:pt idx="2364">42.272903225806445</cx:pt>
          <cx:pt idx="2365">42.254516129032254</cx:pt>
          <cx:pt idx="2366">42.160322580645158</cx:pt>
          <cx:pt idx="2367">42.075483870967737</cx:pt>
          <cx:pt idx="2368">41.971612903225804</cx:pt>
          <cx:pt idx="2369">42.022580645161284</cx:pt>
          <cx:pt idx="2370">42.029354838709665</cx:pt>
          <cx:pt idx="2371">41.983666666666664</cx:pt>
          <cx:pt idx="2372">42.021379310344827</cx:pt>
          <cx:pt idx="2373">42.034285714285708</cx:pt>
          <cx:pt idx="2374">42.071851851851847</cx:pt>
          <cx:pt idx="2375">42.059999999999988</cx:pt>
          <cx:pt idx="2376">42.125599999999991</cx:pt>
          <cx:pt idx="2377">42.089999999999996</cx:pt>
          <cx:pt idx="2378">42.130869565217388</cx:pt>
          <cx:pt idx="2379">42.109090909090909</cx:pt>
          <cx:pt idx="2380">42.1447619047619</cx:pt>
          <cx:pt idx="2381">42.128</cx:pt>
          <cx:pt idx="2382">42.134736842105269</cx:pt>
          <cx:pt idx="2383">42.034444444444453</cx:pt>
          <cx:pt idx="2384">41.976470588235301</cx:pt>
          <cx:pt idx="2385">42.008750000000006</cx:pt>
          <cx:pt idx="2386">41.93333333333333</cx:pt>
          <cx:pt idx="2387">41.999285714285712</cx:pt>
          <cx:pt idx="2388">42.009230769230768</cx:pt>
          <cx:pt idx="2389">42.052500000000002</cx:pt>
          <cx:pt idx="2390">41.953636363636363</cx:pt>
          <cx:pt idx="2391">41.943000000000005</cx:pt>
          <cx:pt idx="2392">41.794444444444444</cx:pt>
          <cx:pt idx="2393">41.701250000000002</cx:pt>
          <cx:pt idx="2394">41.829999999999998</cx:pt>
          <cx:pt idx="2395">41.994999999999997</cx:pt>
          <cx:pt idx="2396">41.939999999999998</cx:pt>
          <cx:pt idx="2397">42.237499999999997</cx:pt>
          <cx:pt idx="2398">42.543333333333329</cx:pt>
          <cx:pt idx="2399">43.549999999999997</cx:pt>
          <cx:pt idx="2400">43.280000000000001</cx:pt>
        </cx:lvl>
      </cx:numDim>
    </cx:data>
    <cx:data id="1">
      <cx:numDim type="val">
        <cx:f>Sheet2!$B$2461:$B$4861</cx:f>
        <cx:lvl ptCount="2401" formatCode="#,##0.00">
          <cx:pt idx="0">41.757419354838696</cx:pt>
          <cx:pt idx="1">41.740645161290317</cx:pt>
          <cx:pt idx="2">41.794838709677407</cx:pt>
          <cx:pt idx="3">41.828387096774186</cx:pt>
          <cx:pt idx="4">41.912903225806453</cx:pt>
          <cx:pt idx="5">41.901935483870972</cx:pt>
          <cx:pt idx="6">42.003225806451624</cx:pt>
          <cx:pt idx="7">41.973870967741938</cx:pt>
          <cx:pt idx="8">42.00516129032259</cx:pt>
          <cx:pt idx="9">41.987741935483882</cx:pt>
          <cx:pt idx="10">42.016774193548393</cx:pt>
          <cx:pt idx="11">42.075483870967751</cx:pt>
          <cx:pt idx="12">41.996451612903236</cx:pt>
          <cx:pt idx="13">41.931612903225805</cx:pt>
          <cx:pt idx="14">41.87903225806452</cx:pt>
          <cx:pt idx="15">41.84032258064515</cx:pt>
          <cx:pt idx="16">41.891935483870967</cx:pt>
          <cx:pt idx="17">41.893225806451611</cx:pt>
          <cx:pt idx="18">41.887096774193552</cx:pt>
          <cx:pt idx="19">41.877741935483883</cx:pt>
          <cx:pt idx="20">41.851935483870967</cx:pt>
          <cx:pt idx="21">41.911612903225809</cx:pt>
          <cx:pt idx="22">41.849032258064518</cx:pt>
          <cx:pt idx="23">41.920645161290331</cx:pt>
          <cx:pt idx="24">41.937741935483878</cx:pt>
          <cx:pt idx="25">41.936129032258073</cx:pt>
          <cx:pt idx="26">42.028064516129035</cx:pt>
          <cx:pt idx="27">42.021935483870969</cx:pt>
          <cx:pt idx="28">42.075161290322583</cx:pt>
          <cx:pt idx="29">42.030967741935484</cx:pt>
          <cx:pt idx="30">42.016774193548393</cx:pt>
          <cx:pt idx="31">42.105483870967745</cx:pt>
          <cx:pt idx="32">42.09225806451613</cx:pt>
          <cx:pt idx="33">42.015161290322588</cx:pt>
          <cx:pt idx="34">42.007741935483878</cx:pt>
          <cx:pt idx="35">41.97225806451614</cx:pt>
          <cx:pt idx="36">41.920645161290338</cx:pt>
          <cx:pt idx="37">41.827419354838717</cx:pt>
          <cx:pt idx="38">41.923548387096787</cx:pt>
          <cx:pt idx="39">41.910645161290333</cx:pt>
          <cx:pt idx="40">41.980000000000004</cx:pt>
          <cx:pt idx="41">42.001612903225812</cx:pt>
          <cx:pt idx="42">41.924838709677424</cx:pt>
          <cx:pt idx="43">41.948387096774198</cx:pt>
          <cx:pt idx="44">41.959677419354833</cx:pt>
          <cx:pt idx="45">42.009032258064508</cx:pt>
          <cx:pt idx="46">41.98096774193548</cx:pt>
          <cx:pt idx="47">41.977096774193541</cx:pt>
          <cx:pt idx="48">41.946774193548386</cx:pt>
          <cx:pt idx="49">41.912903225806453</cx:pt>
          <cx:pt idx="50">42.024516129032257</cx:pt>
          <cx:pt idx="51">41.991935483870968</cx:pt>
          <cx:pt idx="52">41.902903225806462</cx:pt>
          <cx:pt idx="53">41.99774193548388</cx:pt>
          <cx:pt idx="54">42.00516129032259</cx:pt>
          <cx:pt idx="55">42.03387096774194</cx:pt>
          <cx:pt idx="56">42.020645161290332</cx:pt>
          <cx:pt idx="57">41.953870967741949</cx:pt>
          <cx:pt idx="58">41.882258064516137</cx:pt>
          <cx:pt idx="59">41.887741935483874</cx:pt>
          <cx:pt idx="60">41.975483870967743</cx:pt>
          <cx:pt idx="61">41.984516129032272</cx:pt>
          <cx:pt idx="62">41.9467741935484</cx:pt>
          <cx:pt idx="63">41.945806451612917</cx:pt>
          <cx:pt idx="64">42.020322580645171</cx:pt>
          <cx:pt idx="65">41.985161290322587</cx:pt>
          <cx:pt idx="66">41.950322580645164</cx:pt>
          <cx:pt idx="67">42.011935483870964</cx:pt>
          <cx:pt idx="68">42.023225806451606</cx:pt>
          <cx:pt idx="69">41.980967741935473</cx:pt>
          <cx:pt idx="70">41.930322580645154</cx:pt>
          <cx:pt idx="71">41.928064516129027</cx:pt>
          <cx:pt idx="72">41.880967741935471</cx:pt>
          <cx:pt idx="73">41.970967741935482</cx:pt>
          <cx:pt idx="74">41.973548387096777</cx:pt>
          <cx:pt idx="75">42.036774193548389</cx:pt>
          <cx:pt idx="76">42.023225806451613</cx:pt>
          <cx:pt idx="77">42.037741935483872</cx:pt>
          <cx:pt idx="78">41.962580645161289</cx:pt>
          <cx:pt idx="79">41.933870967741939</cx:pt>
          <cx:pt idx="80">42.021935483870955</cx:pt>
          <cx:pt idx="81">41.953870967741921</cx:pt>
          <cx:pt idx="82">41.955806451612894</cx:pt>
          <cx:pt idx="83">42.049354838709668</cx:pt>
          <cx:pt idx="84">41.958387096774189</cx:pt>
          <cx:pt idx="85">41.920000000000002</cx:pt>
          <cx:pt idx="86">41.861612903225804</cx:pt>
          <cx:pt idx="87">41.862580645161287</cx:pt>
          <cx:pt idx="88">41.877419354838722</cx:pt>
          <cx:pt idx="89">41.894516129032269</cx:pt>
          <cx:pt idx="90">41.888064516129042</cx:pt>
          <cx:pt idx="91">41.795806451612904</cx:pt>
          <cx:pt idx="92">41.871935483870963</cx:pt>
          <cx:pt idx="93">41.847741935483867</cx:pt>
          <cx:pt idx="94">41.9216129032258</cx:pt>
          <cx:pt idx="95">41.93967741935483</cx:pt>
          <cx:pt idx="96">41.913548387096768</cx:pt>
          <cx:pt idx="97">41.919677419354841</cx:pt>
          <cx:pt idx="98">41.833225806451601</cx:pt>
          <cx:pt idx="99">41.882258064516115</cx:pt>
          <cx:pt idx="100">41.832580645161279</cx:pt>
          <cx:pt idx="101">41.840967741935472</cx:pt>
          <cx:pt idx="102">41.847419354838706</cx:pt>
          <cx:pt idx="103">41.834516129032252</cx:pt>
          <cx:pt idx="104">41.836129032258057</cx:pt>
          <cx:pt idx="105">41.801935483870956</cx:pt>
          <cx:pt idx="106">41.783225806451604</cx:pt>
          <cx:pt idx="107">41.7416129032258</cx:pt>
          <cx:pt idx="108">41.759999999999998</cx:pt>
          <cx:pt idx="109">41.813548387096773</cx:pt>
          <cx:pt idx="110">41.836774193548379</cx:pt>
          <cx:pt idx="111">41.865806451612897</cx:pt>
          <cx:pt idx="112">41.830322580645159</cx:pt>
          <cx:pt idx="113">41.928709677419356</cx:pt>
          <cx:pt idx="114">41.87580645161291</cx:pt>
          <cx:pt idx="115">41.870645161290334</cx:pt>
          <cx:pt idx="116">41.84322580645162</cx:pt>
          <cx:pt idx="117">41.85032258064517</cx:pt>
          <cx:pt idx="118">41.805483870967748</cx:pt>
          <cx:pt idx="119">41.775806451612908</cx:pt>
          <cx:pt idx="120">41.757096774193549</cx:pt>
          <cx:pt idx="121">41.732903225806446</cx:pt>
          <cx:pt idx="122">41.819677419354832</cx:pt>
          <cx:pt idx="123">41.738064516129029</cx:pt>
          <cx:pt idx="124">41.743548387096766</cx:pt>
          <cx:pt idx="125">41.725483870967743</cx:pt>
          <cx:pt idx="126">41.667096774193553</cx:pt>
          <cx:pt idx="127">41.783225806451611</cx:pt>
          <cx:pt idx="128">41.771935483870969</cx:pt>
          <cx:pt idx="129">41.839354838709681</cx:pt>
          <cx:pt idx="130">41.797419354838716</cx:pt>
          <cx:pt idx="131">41.84225806451613</cx:pt>
          <cx:pt idx="132">41.913225806451621</cx:pt>
          <cx:pt idx="133">41.844838709677418</cx:pt>
          <cx:pt idx="134">41.908064516129031</cx:pt>
          <cx:pt idx="135">41.876129032258056</cx:pt>
          <cx:pt idx="136">41.902580645161294</cx:pt>
          <cx:pt idx="137">41.903225806451616</cx:pt>
          <cx:pt idx="138">41.926129032258068</cx:pt>
          <cx:pt idx="139">41.904516129032267</cx:pt>
          <cx:pt idx="140">41.826451612903234</cx:pt>
          <cx:pt idx="141">41.748064516129041</cx:pt>
          <cx:pt idx="142">41.730967741935501</cx:pt>
          <cx:pt idx="143">41.812258064516143</cx:pt>
          <cx:pt idx="144">41.761290322580656</cx:pt>
          <cx:pt idx="145">41.786774193548403</cx:pt>
          <cx:pt idx="146">41.772903225806466</cx:pt>
          <cx:pt idx="147">41.818387096774202</cx:pt>
          <cx:pt idx="148">41.894516129032262</cx:pt>
          <cx:pt idx="149">41.968387096774194</cx:pt>
          <cx:pt idx="150">42.054193548387097</cx:pt>
          <cx:pt idx="151">42.050967741935487</cx:pt>
          <cx:pt idx="152">42.068709677419356</cx:pt>
          <cx:pt idx="153">42.041935483870972</cx:pt>
          <cx:pt idx="154">42.114838709677436</cx:pt>
          <cx:pt idx="155">42.165483870967755</cx:pt>
          <cx:pt idx="156">42.145806451612906</cx:pt>
          <cx:pt idx="157">42.181290322580644</cx:pt>
          <cx:pt idx="158">42.159032258064514</cx:pt>
          <cx:pt idx="159">42.134838709677425</cx:pt>
          <cx:pt idx="160">42.159677419354843</cx:pt>
          <cx:pt idx="161">42.220645161290321</cx:pt>
          <cx:pt idx="162">42.203225806451613</cx:pt>
          <cx:pt idx="163">42.187096774193563</cx:pt>
          <cx:pt idx="164">42.176451612903236</cx:pt>
          <cx:pt idx="165">42.173870967741948</cx:pt>
          <cx:pt idx="166">42.181290322580658</cx:pt>
          <cx:pt idx="167">42.17870967741937</cx:pt>
          <cx:pt idx="168">42.151290322580664</cx:pt>
          <cx:pt idx="169">42.179032258064524</cx:pt>
          <cx:pt idx="170">42.244516129032263</cx:pt>
          <cx:pt idx="171">42.326451612903227</cx:pt>
          <cx:pt idx="172">42.428709677419356</cx:pt>
          <cx:pt idx="173">42.323870967741932</cx:pt>
          <cx:pt idx="174">42.289354838709677</cx:pt>
          <cx:pt idx="175">42.308709677419351</cx:pt>
          <cx:pt idx="176">42.215161290322577</cx:pt>
          <cx:pt idx="177">42.215806451612899</cx:pt>
          <cx:pt idx="178">42.15290322580644</cx:pt>
          <cx:pt idx="179">42.151612903225796</cx:pt>
          <cx:pt idx="180">42.103225806451597</cx:pt>
          <cx:pt idx="181">42.034193548387087</cx:pt>
          <cx:pt idx="182">42.040645161290314</cx:pt>
          <cx:pt idx="183">42.059999999999988</cx:pt>
          <cx:pt idx="184">42.076774193548381</cx:pt>
          <cx:pt idx="185">41.984838709677419</cx:pt>
          <cx:pt idx="186">41.922903225806458</cx:pt>
          <cx:pt idx="187">41.968387096774201</cx:pt>
          <cx:pt idx="188">41.894193548387101</cx:pt>
          <cx:pt idx="189">41.804193548387097</cx:pt>
          <cx:pt idx="190">41.852580645161289</cx:pt>
          <cx:pt idx="191">41.776774193548384</cx:pt>
          <cx:pt idx="192">41.770645161290318</cx:pt>
          <cx:pt idx="193">41.817419354838698</cx:pt>
          <cx:pt idx="194">41.748709677419349</cx:pt>
          <cx:pt idx="195">41.814516129032249</cx:pt>
          <cx:pt idx="196">41.841935483870941</cx:pt>
          <cx:pt idx="197">41.788064516129019</cx:pt>
          <cx:pt idx="198">41.823870967741925</cx:pt>
          <cx:pt idx="199">41.772580645161277</cx:pt>
          <cx:pt idx="200">41.791290322580643</cx:pt>
          <cx:pt idx="201">41.750645161290315</cx:pt>
          <cx:pt idx="202">41.714838709677416</cx:pt>
          <cx:pt idx="203">41.608709677419355</cx:pt>
          <cx:pt idx="204">41.686774193548388</cx:pt>
          <cx:pt idx="205">41.699354838709674</cx:pt>
          <cx:pt idx="206">41.625806451612895</cx:pt>
          <cx:pt idx="207">41.63548387096774</cx:pt>
          <cx:pt idx="208">41.655483870967736</cx:pt>
          <cx:pt idx="209">41.748387096774181</cx:pt>
          <cx:pt idx="210">41.694193548387091</cx:pt>
          <cx:pt idx="211">41.635161290322586</cx:pt>
          <cx:pt idx="212">41.599032258064511</cx:pt>
          <cx:pt idx="213">41.727419354838709</cx:pt>
          <cx:pt idx="214">41.753870967741939</cx:pt>
          <cx:pt idx="215">41.791612903225804</cx:pt>
          <cx:pt idx="216">41.928064516129041</cx:pt>
          <cx:pt idx="217">41.980322580645165</cx:pt>
          <cx:pt idx="218">41.965806451612906</cx:pt>
          <cx:pt idx="219">42.101612903225806</cx:pt>
          <cx:pt idx="220">42.164193548387097</cx:pt>
          <cx:pt idx="221">42.191935483870964</cx:pt>
          <cx:pt idx="222">42.254193548387086</cx:pt>
          <cx:pt idx="223">42.282580645161282</cx:pt>
          <cx:pt idx="224">42.332580645161286</cx:pt>
          <cx:pt idx="225">42.418709677419358</cx:pt>
          <cx:pt idx="226">42.377419354838715</cx:pt>
          <cx:pt idx="227">42.328064516129025</cx:pt>
          <cx:pt idx="228">42.399354838709684</cx:pt>
          <cx:pt idx="229">42.482903225806453</cx:pt>
          <cx:pt idx="230">42.545806451612897</cx:pt>
          <cx:pt idx="231">42.589677419354828</cx:pt>
          <cx:pt idx="232">42.704193548387089</cx:pt>
          <cx:pt idx="233">42.745806451612893</cx:pt>
          <cx:pt idx="234">42.868709677419346</cx:pt>
          <cx:pt idx="235">42.861290322580643</cx:pt>
          <cx:pt idx="236">42.884838709677425</cx:pt>
          <cx:pt idx="237">43.02967741935484</cx:pt>
          <cx:pt idx="238">43.097741935483874</cx:pt>
          <cx:pt idx="239">43.219032258064523</cx:pt>
          <cx:pt idx="240">43.217419354838718</cx:pt>
          <cx:pt idx="241">43.238064516129036</cx:pt>
          <cx:pt idx="242">43.293548387096777</cx:pt>
          <cx:pt idx="243">43.424193548387102</cx:pt>
          <cx:pt idx="244">43.438064516129039</cx:pt>
          <cx:pt idx="245">43.366451612903226</cx:pt>
          <cx:pt idx="246">43.341935483870962</cx:pt>
          <cx:pt idx="247">43.354838709677416</cx:pt>
          <cx:pt idx="248">43.393870967741933</cx:pt>
          <cx:pt idx="249">43.411935483870963</cx:pt>
          <cx:pt idx="250">43.418064516129029</cx:pt>
          <cx:pt idx="251">43.415806451612902</cx:pt>
          <cx:pt idx="252">43.468709677419348</cx:pt>
          <cx:pt idx="253">43.438064516129032</cx:pt>
          <cx:pt idx="254">43.431612903225812</cx:pt>
          <cx:pt idx="255">43.372258064516117</cx:pt>
          <cx:pt idx="256">43.295483870967743</cx:pt>
          <cx:pt idx="257">43.235806451612902</cx:pt>
          <cx:pt idx="258">43.219677419354838</cx:pt>
          <cx:pt idx="259">43.13225806451613</cx:pt>
          <cx:pt idx="260">43.038387096774187</cx:pt>
          <cx:pt idx="261">42.996774193548376</cx:pt>
          <cx:pt idx="262">42.927096774193544</cx:pt>
          <cx:pt idx="263">42.80419354838709</cx:pt>
          <cx:pt idx="264">42.694516129032252</cx:pt>
          <cx:pt idx="265">42.625161290322573</cx:pt>
          <cx:pt idx="266">42.552580645161292</cx:pt>
          <cx:pt idx="267">42.469032258064516</cx:pt>
          <cx:pt idx="268">42.337741935483869</cx:pt>
          <cx:pt idx="269">42.262903225806461</cx:pt>
          <cx:pt idx="270">42.133225806451634</cx:pt>
          <cx:pt idx="271">42.112580645161309</cx:pt>
          <cx:pt idx="272">42.082903225806461</cx:pt>
          <cx:pt idx="273">42.061935483870975</cx:pt>
          <cx:pt idx="274">42.04548387096775</cx:pt>
          <cx:pt idx="275">42.019677419354842</cx:pt>
          <cx:pt idx="276">42.044838709677421</cx:pt>
          <cx:pt idx="277">41.941612903225817</cx:pt>
          <cx:pt idx="278">41.843225806451613</cx:pt>
          <cx:pt idx="279">41.732258064516131</cx:pt>
          <cx:pt idx="280">41.702903225806459</cx:pt>
          <cx:pt idx="281">41.565483870967746</cx:pt>
          <cx:pt idx="282">41.607419354838711</cx:pt>
          <cx:pt idx="283">41.470000000000006</cx:pt>
          <cx:pt idx="284">41.409354838709682</cx:pt>
          <cx:pt idx="285">41.358709677419363</cx:pt>
          <cx:pt idx="286">41.335161290322581</cx:pt>
          <cx:pt idx="287">41.330967741935481</cx:pt>
          <cx:pt idx="288">41.385161290322579</cx:pt>
          <cx:pt idx="289">41.357096774193543</cx:pt>
          <cx:pt idx="290">41.388387096774196</cx:pt>
          <cx:pt idx="291">41.450322580645164</cx:pt>
          <cx:pt idx="292">41.538709677419355</cx:pt>
          <cx:pt idx="293">41.470967741935482</cx:pt>
          <cx:pt idx="294">41.47354838709677</cx:pt>
          <cx:pt idx="295">41.585483870967735</cx:pt>
          <cx:pt idx="296">41.579999999999991</cx:pt>
          <cx:pt idx="297">41.582258064516132</cx:pt>
          <cx:pt idx="298">41.682903225806449</cx:pt>
          <cx:pt idx="299">41.792903225806448</cx:pt>
          <cx:pt idx="300">41.803870967741936</cx:pt>
          <cx:pt idx="301">41.803225806451614</cx:pt>
          <cx:pt idx="302">41.730645161290319</cx:pt>
          <cx:pt idx="303">41.809677419354834</cx:pt>
          <cx:pt idx="304">41.814516129032256</cx:pt>
          <cx:pt idx="305">41.814516129032256</cx:pt>
          <cx:pt idx="306">41.792258064516133</cx:pt>
          <cx:pt idx="307">41.698064516129037</cx:pt>
          <cx:pt idx="308">41.789354838709677</cx:pt>
          <cx:pt idx="309">41.825161290322576</cx:pt>
          <cx:pt idx="310">41.887419354838713</cx:pt>
          <cx:pt idx="311">41.855806451612899</cx:pt>
          <cx:pt idx="312">41.881935483870969</cx:pt>
          <cx:pt idx="313">41.800645161290319</cx:pt>
          <cx:pt idx="314">41.916774193548385</cx:pt>
          <cx:pt idx="315">41.932903225806449</cx:pt>
          <cx:pt idx="316">41.881612903225793</cx:pt>
          <cx:pt idx="317">41.873870967741915</cx:pt>
          <cx:pt idx="318">41.864516129032246</cx:pt>
          <cx:pt idx="319">41.867096774193541</cx:pt>
          <cx:pt idx="320">41.958709677419357</cx:pt>
          <cx:pt idx="321">41.986129032258063</cx:pt>
          <cx:pt idx="322">41.961612903225806</cx:pt>
          <cx:pt idx="323">41.945161290322581</cx:pt>
          <cx:pt idx="324">41.969354838709677</cx:pt>
          <cx:pt idx="325">41.945483870967742</cx:pt>
          <cx:pt idx="326">41.894193548387101</cx:pt>
          <cx:pt idx="327">41.928387096774195</cx:pt>
          <cx:pt idx="328">42.012580645161286</cx:pt>
          <cx:pt idx="329">42.016774193548386</cx:pt>
          <cx:pt idx="330">41.916129032258063</cx:pt>
          <cx:pt idx="331">41.961290322580638</cx:pt>
          <cx:pt idx="332">41.94387096774193</cx:pt>
          <cx:pt idx="333">41.958064516129028</cx:pt>
          <cx:pt idx="334">41.931935483870966</cx:pt>
          <cx:pt idx="335">41.944516129032259</cx:pt>
          <cx:pt idx="336">41.865806451612897</cx:pt>
          <cx:pt idx="337">41.885806451612908</cx:pt>
          <cx:pt idx="338">41.924838709677431</cx:pt>
          <cx:pt idx="339">41.943548387096783</cx:pt>
          <cx:pt idx="340">41.927096774193551</cx:pt>
          <cx:pt idx="341">41.960645161290323</cx:pt>
          <cx:pt idx="342">42.046451612903219</cx:pt>
          <cx:pt idx="343">42.092258064516123</cx:pt>
          <cx:pt idx="344">42.141290322580645</cx:pt>
          <cx:pt idx="345">42.051612903225802</cx:pt>
          <cx:pt idx="346">42.125483870967734</cx:pt>
          <cx:pt idx="347">42.184193548387086</cx:pt>
          <cx:pt idx="348">42.223870967741924</cx:pt>
          <cx:pt idx="349">42.255161290322562</cx:pt>
          <cx:pt idx="350">42.283548387096751</cx:pt>
          <cx:pt idx="351">42.217096774193543</cx:pt>
          <cx:pt idx="352">42.195161290322574</cx:pt>
          <cx:pt idx="353">42.212258064516121</cx:pt>
          <cx:pt idx="354">42.192258064516125</cx:pt>
          <cx:pt idx="355">42.185483870967737</cx:pt>
          <cx:pt idx="356">42.257741935483871</cx:pt>
          <cx:pt idx="357">42.21290322580645</cx:pt>
          <cx:pt idx="358">42.157096774193541</cx:pt>
          <cx:pt idx="359">42.078387096774179</cx:pt>
          <cx:pt idx="360">42.033870967741919</cx:pt>
          <cx:pt idx="361">42.012580645161272</cx:pt>
          <cx:pt idx="362">41.959999999999987</cx:pt>
          <cx:pt idx="363">41.98419354838709</cx:pt>
          <cx:pt idx="364">42.059677419354827</cx:pt>
          <cx:pt idx="365">41.968387096774194</cx:pt>
          <cx:pt idx="366">42.008709677419354</cx:pt>
          <cx:pt idx="367">42.018709677419352</cx:pt>
          <cx:pt idx="368">41.973225806451616</cx:pt>
          <cx:pt idx="369">41.992903225806458</cx:pt>
          <cx:pt idx="370">41.920645161290338</cx:pt>
          <cx:pt idx="371">41.88000000000001</cx:pt>
          <cx:pt idx="372">41.8725806451613</cx:pt>
          <cx:pt idx="373">41.787419354838711</cx:pt>
          <cx:pt idx="374">41.721612903225811</cx:pt>
          <cx:pt idx="375">41.705806451612901</cx:pt>
          <cx:pt idx="376">41.678387096774188</cx:pt>
          <cx:pt idx="377">41.672258064516122</cx:pt>
          <cx:pt idx="378">41.626129032258056</cx:pt>
          <cx:pt idx="379">41.650967741935474</cx:pt>
          <cx:pt idx="380">41.664838709677419</cx:pt>
          <cx:pt idx="381">41.64612903225806</cx:pt>
          <cx:pt idx="382">41.643548387096772</cx:pt>
          <cx:pt idx="383">41.659354838709682</cx:pt>
          <cx:pt idx="384">41.66290322580646</cx:pt>
          <cx:pt idx="385">41.690000000000005</cx:pt>
          <cx:pt idx="386">41.686451612903241</cx:pt>
          <cx:pt idx="387">41.614838709677421</cx:pt>
          <cx:pt idx="388">41.642903225806464</cx:pt>
          <cx:pt idx="389">41.693548387096783</cx:pt>
          <cx:pt idx="390">41.693548387096776</cx:pt>
          <cx:pt idx="391">41.650645161290328</cx:pt>
          <cx:pt idx="392">41.71935483870967</cx:pt>
          <cx:pt idx="393">41.795483870967736</cx:pt>
          <cx:pt idx="394">41.828709677419347</cx:pt>
          <cx:pt idx="395">41.794838709677414</cx:pt>
          <cx:pt idx="396">41.802903225806446</cx:pt>
          <cx:pt idx="397">41.789032258064509</cx:pt>
          <cx:pt idx="398">41.860322580645153</cx:pt>
          <cx:pt idx="399">41.804516129032251</cx:pt>
          <cx:pt idx="400">41.866451612903219</cx:pt>
          <cx:pt idx="401">41.831935483870964</cx:pt>
          <cx:pt idx="402">41.846774193548377</cx:pt>
          <cx:pt idx="403">41.845806451612894</cx:pt>
          <cx:pt idx="404">41.938064516129025</cx:pt>
          <cx:pt idx="405">41.938387096774193</cx:pt>
          <cx:pt idx="406">41.909354838709675</cx:pt>
          <cx:pt idx="407">41.918709677419351</cx:pt>
          <cx:pt idx="408">41.875483870967734</cx:pt>
          <cx:pt idx="409">41.950322580645164</cx:pt>
          <cx:pt idx="410">41.893870967741933</cx:pt>
          <cx:pt idx="411">41.915483870967741</cx:pt>
          <cx:pt idx="412">41.953225806451613</cx:pt>
          <cx:pt idx="413">41.970645161290321</cx:pt>
          <cx:pt idx="414">41.886129032258069</cx:pt>
          <cx:pt idx="415">41.858709677419355</cx:pt>
          <cx:pt idx="416">41.784838709677423</cx:pt>
          <cx:pt idx="417">41.788387096774201</cx:pt>
          <cx:pt idx="418">41.808387096774197</cx:pt>
          <cx:pt idx="419">41.876774193548393</cx:pt>
          <cx:pt idx="420">41.810000000000002</cx:pt>
          <cx:pt idx="421">41.916774193548399</cx:pt>
          <cx:pt idx="422">41.940322580645166</cx:pt>
          <cx:pt idx="423">41.878709677419359</cx:pt>
          <cx:pt idx="424">41.833870967741923</cx:pt>
          <cx:pt idx="425">41.824838709677415</cx:pt>
          <cx:pt idx="426">41.816451612903215</cx:pt>
          <cx:pt idx="427">41.916451612903224</cx:pt>
          <cx:pt idx="428">41.947741935483869</cx:pt>
          <cx:pt idx="429">41.917419354838707</cx:pt>
          <cx:pt idx="430">42.00548387096773</cx:pt>
          <cx:pt idx="431">41.992580645161283</cx:pt>
          <cx:pt idx="432">42.085806451612903</cx:pt>
          <cx:pt idx="433">42.100645161290323</cx:pt>
          <cx:pt idx="434">42.057419354838707</cx:pt>
          <cx:pt idx="435">41.970645161290335</cx:pt>
          <cx:pt idx="436">42.067096774193551</cx:pt>
          <cx:pt idx="437">42.078064516129039</cx:pt>
          <cx:pt idx="438">42.077096774193549</cx:pt>
          <cx:pt idx="439">42.046774193548387</cx:pt>
          <cx:pt idx="440">42.010967741935488</cx:pt>
          <cx:pt idx="441">41.988064516129036</cx:pt>
          <cx:pt idx="442">41.989677419354841</cx:pt>
          <cx:pt idx="443">41.894193548387108</cx:pt>
          <cx:pt idx="444">41.948064516129037</cx:pt>
          <cx:pt idx="445">42.020967741935479</cx:pt>
          <cx:pt idx="446">42.035483870967738</cx:pt>
          <cx:pt idx="447">42.085806451612896</cx:pt>
          <cx:pt idx="448">42.101935483870953</cx:pt>
          <cx:pt idx="449">42.166129032258056</cx:pt>
          <cx:pt idx="450">42.151612903225796</cx:pt>
          <cx:pt idx="451">42.26064516129032</cx:pt>
          <cx:pt idx="452">42.24064516129031</cx:pt>
          <cx:pt idx="453">42.281612903225792</cx:pt>
          <cx:pt idx="454">42.368064516129024</cx:pt>
          <cx:pt idx="455">42.336451612903211</cx:pt>
          <cx:pt idx="456">42.395483870967745</cx:pt>
          <cx:pt idx="457">42.354516129032255</cx:pt>
          <cx:pt idx="458">42.263870967741937</cx:pt>
          <cx:pt idx="459">42.177741935483873</cx:pt>
          <cx:pt idx="460">42.132580645161298</cx:pt>
          <cx:pt idx="461">42.040322580645167</cx:pt>
          <cx:pt idx="462">42.01580645161291</cx:pt>
          <cx:pt idx="463">42.030000000000008</cx:pt>
          <cx:pt idx="464">42.006451612903234</cx:pt>
          <cx:pt idx="465">41.960967741935491</cx:pt>
          <cx:pt idx="466">41.934838709677429</cx:pt>
          <cx:pt idx="467">41.812258064516129</cx:pt>
          <cx:pt idx="468">41.844193548387089</cx:pt>
          <cx:pt idx="469">41.945161290322574</cx:pt>
          <cx:pt idx="470">42.048709677419353</cx:pt>
          <cx:pt idx="471">42.030000000000001</cx:pt>
          <cx:pt idx="472">42.065483870967739</cx:pt>
          <cx:pt idx="473">42.038709677419355</cx:pt>
          <cx:pt idx="474">42.064516129032263</cx:pt>
          <cx:pt idx="475">42.037741935483872</cx:pt>
          <cx:pt idx="476">42.008387096774193</cx:pt>
          <cx:pt idx="477">41.962258064516128</cx:pt>
          <cx:pt idx="478">41.930645161290322</cx:pt>
          <cx:pt idx="479">41.910322580645165</cx:pt>
          <cx:pt idx="480">41.848064516129028</cx:pt>
          <cx:pt idx="481">41.794838709677414</cx:pt>
          <cx:pt idx="482">41.754516129032261</cx:pt>
          <cx:pt idx="483">41.744838709677424</cx:pt>
          <cx:pt idx="484">41.690000000000005</cx:pt>
          <cx:pt idx="485">41.618387096774192</cx:pt>
          <cx:pt idx="486">41.701935483870969</cx:pt>
          <cx:pt idx="487">41.613870967741931</cx:pt>
          <cx:pt idx="488">41.649999999999999</cx:pt>
          <cx:pt idx="489">41.731290322580648</cx:pt>
          <cx:pt idx="490">41.709032258064518</cx:pt>
          <cx:pt idx="491">41.681612903225805</cx:pt>
          <cx:pt idx="492">41.759677419354837</cx:pt>
          <cx:pt idx="493">41.725483870967736</cx:pt>
          <cx:pt idx="494">41.682258064516127</cx:pt>
          <cx:pt idx="495">41.674516129032249</cx:pt>
          <cx:pt idx="496">41.710645161290316</cx:pt>
          <cx:pt idx="497">41.725161290322582</cx:pt>
          <cx:pt idx="498">41.738064516129036</cx:pt>
          <cx:pt idx="499">41.719677419354845</cx:pt>
          <cx:pt idx="500">41.707741935483881</cx:pt>
          <cx:pt idx="501">41.704516129032278</cx:pt>
          <cx:pt idx="502">41.703225806451627</cx:pt>
          <cx:pt idx="503">41.640967741935498</cx:pt>
          <cx:pt idx="504">41.704193548387103</cx:pt>
          <cx:pt idx="505">41.735806451612909</cx:pt>
          <cx:pt idx="506">41.755483870967751</cx:pt>
          <cx:pt idx="507">41.777096774193559</cx:pt>
          <cx:pt idx="508">41.740000000000009</cx:pt>
          <cx:pt idx="509">41.796129032258079</cx:pt>
          <cx:pt idx="510">41.886129032258083</cx:pt>
          <cx:pt idx="511">41.973548387096777</cx:pt>
          <cx:pt idx="512">42.017741935483869</cx:pt>
          <cx:pt idx="513">41.98193548387097</cx:pt>
          <cx:pt idx="514">41.960322580645162</cx:pt>
          <cx:pt idx="515">41.994516129032242</cx:pt>
          <cx:pt idx="516">42.085483870967721</cx:pt>
          <cx:pt idx="517">42.108387096774173</cx:pt>
          <cx:pt idx="518">42.144838709677394</cx:pt>
          <cx:pt idx="519">42.199677419354828</cx:pt>
          <cx:pt idx="520">42.146451612903213</cx:pt>
          <cx:pt idx="521">42.190967741935481</cx:pt>
          <cx:pt idx="522">42.278709677419343</cx:pt>
          <cx:pt idx="523">42.246774193548383</cx:pt>
          <cx:pt idx="524">42.211290322580638</cx:pt>
          <cx:pt idx="525">42.205161290322572</cx:pt>
          <cx:pt idx="526">42.270967741935486</cx:pt>
          <cx:pt idx="527">42.264516129032259</cx:pt>
          <cx:pt idx="528">42.354516129032255</cx:pt>
          <cx:pt idx="529">42.457741935483881</cx:pt>
          <cx:pt idx="530">42.426451612903236</cx:pt>
          <cx:pt idx="531">42.398387096774201</cx:pt>
          <cx:pt idx="532">42.391612903225813</cx:pt>
          <cx:pt idx="533">42.454193548387103</cx:pt>
          <cx:pt idx="534">42.576774193548388</cx:pt>
          <cx:pt idx="535">42.531935483870974</cx:pt>
          <cx:pt idx="536">42.566451612903229</cx:pt>
          <cx:pt idx="537">42.469032258064516</cx:pt>
          <cx:pt idx="538">42.414516129032258</cx:pt>
          <cx:pt idx="539">42.502580645161288</cx:pt>
          <cx:pt idx="540">42.494193548387095</cx:pt>
          <cx:pt idx="541">42.370322580645151</cx:pt>
          <cx:pt idx="542">42.268387096774191</cx:pt>
          <cx:pt idx="543">42.295806451612897</cx:pt>
          <cx:pt idx="544">42.25741935483871</cx:pt>
          <cx:pt idx="545">42.254516129032261</cx:pt>
          <cx:pt idx="546">42.212580645161289</cx:pt>
          <cx:pt idx="547">42.212580645161289</cx:pt>
          <cx:pt idx="548">42.165806451612909</cx:pt>
          <cx:pt idx="549">42.20967741935484</cx:pt>
          <cx:pt idx="550">42.194193548387091</cx:pt>
          <cx:pt idx="551">42.222258064516119</cx:pt>
          <cx:pt idx="552">42.217419354838704</cx:pt>
          <cx:pt idx="553">42.149032258064508</cx:pt>
          <cx:pt idx="554">42.199677419354842</cx:pt>
          <cx:pt idx="555">42.214193548387101</cx:pt>
          <cx:pt idx="556">42.263225806451615</cx:pt>
          <cx:pt idx="557">42.267741935483876</cx:pt>
          <cx:pt idx="558">42.333870967741937</cx:pt>
          <cx:pt idx="559">42.221935483870972</cx:pt>
          <cx:pt idx="560">42.22451612903226</cx:pt>
          <cx:pt idx="561">42.32</cx:pt>
          <cx:pt idx="562">42.248387096774195</cx:pt>
          <cx:pt idx="563">42.147741935483872</cx:pt>
          <cx:pt idx="564">42.109032258064516</cx:pt>
          <cx:pt idx="565">42.02967741935484</cx:pt>
          <cx:pt idx="566">42.01580645161291</cx:pt>
          <cx:pt idx="567">41.962258064516128</cx:pt>
          <cx:pt idx="568">41.962903225806464</cx:pt>
          <cx:pt idx="569">42.007419354838717</cx:pt>
          <cx:pt idx="570">41.995161290322592</cx:pt>
          <cx:pt idx="571">41.910645161290333</cx:pt>
          <cx:pt idx="572">41.99354838709678</cx:pt>
          <cx:pt idx="573">42.101935483870975</cx:pt>
          <cx:pt idx="574">41.983225806451621</cx:pt>
          <cx:pt idx="575">42.006129032258066</cx:pt>
          <cx:pt idx="576">41.992903225806451</cx:pt>
          <cx:pt idx="577">42.049999999999997</cx:pt>
          <cx:pt idx="578">42.019032258064513</cx:pt>
          <cx:pt idx="579">42.00741935483871</cx:pt>
          <cx:pt idx="580">41.926129032258068</cx:pt>
          <cx:pt idx="581">41.890322580645169</cx:pt>
          <cx:pt idx="582">41.844193548387103</cx:pt>
          <cx:pt idx="583">41.857096774193558</cx:pt>
          <cx:pt idx="584">41.836774193548393</cx:pt>
          <cx:pt idx="585">41.772580645161291</cx:pt>
          <cx:pt idx="586">41.799032258064521</cx:pt>
          <cx:pt idx="587">41.730000000000004</cx:pt>
          <cx:pt idx="588">41.643548387096786</cx:pt>
          <cx:pt idx="589">41.65451612903226</cx:pt>
          <cx:pt idx="590">41.740000000000002</cx:pt>
          <cx:pt idx="591">41.674516129032263</cx:pt>
          <cx:pt idx="592">41.624516129032266</cx:pt>
          <cx:pt idx="593">41.663548387096782</cx:pt>
          <cx:pt idx="594">41.752258064516127</cx:pt>
          <cx:pt idx="595">41.810645161290317</cx:pt>
          <cx:pt idx="596">41.884838709677425</cx:pt>
          <cx:pt idx="597">41.953225806451613</cx:pt>
          <cx:pt idx="598">42.01161290322581</cx:pt>
          <cx:pt idx="599">42.085161290322574</cx:pt>
          <cx:pt idx="600">42.047419354838709</cx:pt>
          <cx:pt idx="601">42.0083870967742</cx:pt>
          <cx:pt idx="602">42.122903225806461</cx:pt>
          <cx:pt idx="603">42.157096774193562</cx:pt>
          <cx:pt idx="604">42.173870967741948</cx:pt>
          <cx:pt idx="605">42.333870967741944</cx:pt>
          <cx:pt idx="606">42.438709677419368</cx:pt>
          <cx:pt idx="607">42.469354838709691</cx:pt>
          <cx:pt idx="608">42.513225806451622</cx:pt>
          <cx:pt idx="609">42.569354838709671</cx:pt>
          <cx:pt idx="610">42.601290322580638</cx:pt>
          <cx:pt idx="611">42.679677419354839</cx:pt>
          <cx:pt idx="612">42.729999999999997</cx:pt>
          <cx:pt idx="613">42.833548387096769</cx:pt>
          <cx:pt idx="614">42.890645161290323</cx:pt>
          <cx:pt idx="615">42.977741935483863</cx:pt>
          <cx:pt idx="616">43.035806451612892</cx:pt>
          <cx:pt idx="617">43.112903225806448</cx:pt>
          <cx:pt idx="618">43.196774193548393</cx:pt>
          <cx:pt idx="619">43.27322580645162</cx:pt>
          <cx:pt idx="620">43.308064516129043</cx:pt>
          <cx:pt idx="621">43.368064516129031</cx:pt>
          <cx:pt idx="622">43.423225806451626</cx:pt>
          <cx:pt idx="623">43.434516129032268</cx:pt>
          <cx:pt idx="624">43.485161290322594</cx:pt>
          <cx:pt idx="625">43.491290322580653</cx:pt>
          <cx:pt idx="626">43.488709677419358</cx:pt>
          <cx:pt idx="627">43.475806451612904</cx:pt>
          <cx:pt idx="628">43.451290322580647</cx:pt>
          <cx:pt idx="629">43.498387096774195</cx:pt>
          <cx:pt idx="630">43.549677419354836</cx:pt>
          <cx:pt idx="631">43.690967741935488</cx:pt>
          <cx:pt idx="632">43.718387096774201</cx:pt>
          <cx:pt idx="633">43.661290322580648</cx:pt>
          <cx:pt idx="634">43.662580645161292</cx:pt>
          <cx:pt idx="635">43.635483870967747</cx:pt>
          <cx:pt idx="636">43.57</cx:pt>
          <cx:pt idx="637">43.50322580645161</cx:pt>
          <cx:pt idx="638">43.573548387096764</cx:pt>
          <cx:pt idx="639">43.527419354838706</cx:pt>
          <cx:pt idx="640">43.526774193548377</cx:pt>
          <cx:pt idx="641">43.595806451612887</cx:pt>
          <cx:pt idx="642">43.569354838709671</cx:pt>
          <cx:pt idx="643">43.545161290322561</cx:pt>
          <cx:pt idx="644">43.511290322580635</cx:pt>
          <cx:pt idx="645">43.39967741935483</cx:pt>
          <cx:pt idx="646">43.30225806451611</cx:pt>
          <cx:pt idx="647">43.265483870967728</cx:pt>
          <cx:pt idx="648">43.239677419354827</cx:pt>
          <cx:pt idx="649">43.134193548387081</cx:pt>
          <cx:pt idx="650">43.095483870967733</cx:pt>
          <cx:pt idx="651">42.957419354838706</cx:pt>
          <cx:pt idx="652">42.908387096774184</cx:pt>
          <cx:pt idx="653">42.865161290322568</cx:pt>
          <cx:pt idx="654">42.851612903225792</cx:pt>
          <cx:pt idx="655">42.77032258064515</cx:pt>
          <cx:pt idx="656">42.774193548387096</cx:pt>
          <cx:pt idx="657">42.744838709677417</cx:pt>
          <cx:pt idx="658">42.767419354838701</cx:pt>
          <cx:pt idx="659">42.735483870967741</cx:pt>
          <cx:pt idx="660">42.605806451612899</cx:pt>
          <cx:pt idx="661">42.542258064516133</cx:pt>
          <cx:pt idx="662">42.472903225806462</cx:pt>
          <cx:pt idx="663">42.408064516129045</cx:pt>
          <cx:pt idx="664">42.446129032258078</cx:pt>
          <cx:pt idx="665">42.352580645161297</cx:pt>
          <cx:pt idx="666">42.24774193548388</cx:pt>
          <cx:pt idx="667">42.177419354838719</cx:pt>
          <cx:pt idx="668">42.112903225806456</cx:pt>
          <cx:pt idx="669">42.086774193548386</cx:pt>
          <cx:pt idx="670">42.109677419354838</cx:pt>
          <cx:pt idx="671">42.001290322580644</cx:pt>
          <cx:pt idx="672">41.853548387096772</cx:pt>
          <cx:pt idx="673">41.895806451612906</cx:pt>
          <cx:pt idx="674">41.825806451612905</cx:pt>
          <cx:pt idx="675">41.842580645161291</cx:pt>
          <cx:pt idx="676">41.921612903225807</cx:pt>
          <cx:pt idx="677">41.960645161290316</cx:pt>
          <cx:pt idx="678">41.967419354838711</cx:pt>
          <cx:pt idx="679">41.97870967741936</cx:pt>
          <cx:pt idx="680">42.055483870967748</cx:pt>
          <cx:pt idx="681">42.091290322580647</cx:pt>
          <cx:pt idx="682">42.136129032258069</cx:pt>
          <cx:pt idx="683">42.145161290322584</cx:pt>
          <cx:pt idx="684">42.153870967741938</cx:pt>
          <cx:pt idx="685">42.095806451612894</cx:pt>
          <cx:pt idx="686">42.138387096774196</cx:pt>
          <cx:pt idx="687">42.11258064516128</cx:pt>
          <cx:pt idx="688">42.087741935483862</cx:pt>
          <cx:pt idx="689">42.058387096774183</cx:pt>
          <cx:pt idx="690">42.11258064516128</cx:pt>
          <cx:pt idx="691">42.087741935483862</cx:pt>
          <cx:pt idx="692">42.025806451612887</cx:pt>
          <cx:pt idx="693">42.011290322580628</cx:pt>
          <cx:pt idx="694">42.030645161290302</cx:pt>
          <cx:pt idx="695">41.99806451612902</cx:pt>
          <cx:pt idx="696">41.977419354838702</cx:pt>
          <cx:pt idx="697">42.027096774193545</cx:pt>
          <cx:pt idx="698">42.026774193548384</cx:pt>
          <cx:pt idx="699">42.064838709677424</cx:pt>
          <cx:pt idx="700">41.986451612903238</cx:pt>
          <cx:pt idx="701">41.980322580645165</cx:pt>
          <cx:pt idx="702">42.013225806451615</cx:pt>
          <cx:pt idx="703">42.063225806451612</cx:pt>
          <cx:pt idx="704">42.053870967741929</cx:pt>
          <cx:pt idx="705">42.091612903225801</cx:pt>
          <cx:pt idx="706">42.058064516129029</cx:pt>
          <cx:pt idx="707">42.068709677419349</cx:pt>
          <cx:pt idx="708">42.083225806451608</cx:pt>
          <cx:pt idx="709">42.11354838709677</cx:pt>
          <cx:pt idx="710">42.074838709677422</cx:pt>
          <cx:pt idx="711">42.053225806451621</cx:pt>
          <cx:pt idx="712">42.052258064516131</cx:pt>
          <cx:pt idx="713">42.084516129032259</cx:pt>
          <cx:pt idx="714">42.094193548387096</cx:pt>
          <cx:pt idx="715">42.022903225806452</cx:pt>
          <cx:pt idx="716">42.093225806451613</cx:pt>
          <cx:pt idx="717">42.096129032258069</cx:pt>
          <cx:pt idx="718">42.076774193548395</cx:pt>
          <cx:pt idx="719">42.101935483870975</cx:pt>
          <cx:pt idx="720">42.125161290322588</cx:pt>
          <cx:pt idx="721">42.135483870967747</cx:pt>
          <cx:pt idx="722">42.252903225806442</cx:pt>
          <cx:pt idx="723">42.25967741935483</cx:pt>
          <cx:pt idx="724">42.310645161290317</cx:pt>
          <cx:pt idx="725">42.395483870967745</cx:pt>
          <cx:pt idx="726">42.33064516129032</cx:pt>
          <cx:pt idx="727">42.328064516129032</cx:pt>
          <cx:pt idx="728">42.337419354838715</cx:pt>
          <cx:pt idx="729">42.3241935483871</cx:pt>
          <cx:pt idx="730">42.399677419354845</cx:pt>
          <cx:pt idx="731">42.351935483870967</cx:pt>
          <cx:pt idx="732">42.368064516129031</cx:pt>
          <cx:pt idx="733">42.376774193548378</cx:pt>
          <cx:pt idx="734">42.403870967741938</cx:pt>
          <cx:pt idx="735">42.33709677419354</cx:pt>
          <cx:pt idx="736">42.378387096774198</cx:pt>
          <cx:pt idx="737">42.398387096774201</cx:pt>
          <cx:pt idx="738">42.377419354838715</cx:pt>
          <cx:pt idx="739">42.378387096774205</cx:pt>
          <cx:pt idx="740">42.358709677419355</cx:pt>
          <cx:pt idx="741">42.390967741935491</cx:pt>
          <cx:pt idx="742">42.332580645161293</cx:pt>
          <cx:pt idx="743">42.30193548387097</cx:pt>
          <cx:pt idx="744">42.272258064516123</cx:pt>
          <cx:pt idx="745">42.206774193548391</cx:pt>
          <cx:pt idx="746">42.276129032258062</cx:pt>
          <cx:pt idx="747">42.207741935483867</cx:pt>
          <cx:pt idx="748">42.219032258064502</cx:pt>
          <cx:pt idx="749">42.194516129032252</cx:pt>
          <cx:pt idx="750">42.195806451612903</cx:pt>
          <cx:pt idx="751">42.138709677419357</cx:pt>
          <cx:pt idx="752">42.112903225806448</cx:pt>
          <cx:pt idx="753">42.104838709677423</cx:pt>
          <cx:pt idx="754">42.160000000000004</cx:pt>
          <cx:pt idx="755">42.042903225806455</cx:pt>
          <cx:pt idx="756">41.971935483870965</cx:pt>
          <cx:pt idx="757">41.982258064516131</cx:pt>
          <cx:pt idx="758">41.994516129032256</cx:pt>
          <cx:pt idx="759">42.030322580645148</cx:pt>
          <cx:pt idx="760">42.083225806451608</cx:pt>
          <cx:pt idx="761">42.038709677419348</cx:pt>
          <cx:pt idx="762">42.092580645161284</cx:pt>
          <cx:pt idx="763">41.99258064516129</cx:pt>
          <cx:pt idx="764">42.007741935483871</cx:pt>
          <cx:pt idx="765">42.015806451612903</cx:pt>
          <cx:pt idx="766">41.995806451612907</cx:pt>
          <cx:pt idx="767">41.96387096774194</cx:pt>
          <cx:pt idx="768">41.947741935483876</cx:pt>
          <cx:pt idx="769">41.891290322580652</cx:pt>
          <cx:pt idx="770">41.926451612903229</cx:pt>
          <cx:pt idx="771">41.877096774193539</cx:pt>
          <cx:pt idx="772">41.807096774193532</cx:pt>
          <cx:pt idx="773">41.867741935483856</cx:pt>
          <cx:pt idx="774">41.89709677419355</cx:pt>
          <cx:pt idx="775">41.856774193548375</cx:pt>
          <cx:pt idx="776">41.867741935483856</cx:pt>
          <cx:pt idx="777">41.885161290322564</cx:pt>
          <cx:pt idx="778">41.935806451612898</cx:pt>
          <cx:pt idx="779">41.957419354838699</cx:pt>
          <cx:pt idx="780">41.931290322580644</cx:pt>
          <cx:pt idx="781">41.936129032258059</cx:pt>
          <cx:pt idx="782">41.975483870967736</cx:pt>
          <cx:pt idx="783">41.919032258064526</cx:pt>
          <cx:pt idx="784">41.808387096774197</cx:pt>
          <cx:pt idx="785">41.841290322580647</cx:pt>
          <cx:pt idx="786">41.922903225806451</cx:pt>
          <cx:pt idx="787">41.959032258064511</cx:pt>
          <cx:pt idx="788">41.945806451612903</cx:pt>
          <cx:pt idx="789">41.951612903225808</cx:pt>
          <cx:pt idx="790">41.971612903225804</cx:pt>
          <cx:pt idx="791">41.936129032258066</cx:pt>
          <cx:pt idx="792">41.931612903225805</cx:pt>
          <cx:pt idx="793">41.953225806451613</cx:pt>
          <cx:pt idx="794">41.960645161290323</cx:pt>
          <cx:pt idx="795">41.976451612903226</cx:pt>
          <cx:pt idx="796">41.905161290322582</cx:pt>
          <cx:pt idx="797">41.912258064516131</cx:pt>
          <cx:pt idx="798">41.922903225806458</cx:pt>
          <cx:pt idx="799">41.86032258064516</cx:pt>
          <cx:pt idx="800">41.932258064516141</cx:pt>
          <cx:pt idx="801">41.840967741935486</cx:pt>
          <cx:pt idx="802">41.907741935483877</cx:pt>
          <cx:pt idx="803">41.907096774193562</cx:pt>
          <cx:pt idx="804">41.8725806451613</cx:pt>
          <cx:pt idx="805">41.837096774193554</cx:pt>
          <cx:pt idx="806">41.887419354838727</cx:pt>
          <cx:pt idx="807">41.919354838709687</cx:pt>
          <cx:pt idx="808">41.845161290322586</cx:pt>
          <cx:pt idx="809">41.816451612903229</cx:pt>
          <cx:pt idx="810">41.797096774193548</cx:pt>
          <cx:pt idx="811">41.89806451612904</cx:pt>
          <cx:pt idx="812">41.886774193548391</cx:pt>
          <cx:pt idx="813">41.82741935483871</cx:pt>
          <cx:pt idx="814">41.904193548387106</cx:pt>
          <cx:pt idx="815">41.905483870967743</cx:pt>
          <cx:pt idx="816">41.867419354838709</cx:pt>
          <cx:pt idx="817">41.780645161290323</cx:pt>
          <cx:pt idx="818">41.717419354838711</cx:pt>
          <cx:pt idx="819">41.755483870967737</cx:pt>
          <cx:pt idx="820">41.818387096774195</cx:pt>
          <cx:pt idx="821">41.807096774193546</cx:pt>
          <cx:pt idx="822">41.859032258064509</cx:pt>
          <cx:pt idx="823">41.877096774193532</cx:pt>
          <cx:pt idx="824">41.815806451612893</cx:pt>
          <cx:pt idx="825">41.817419354838705</cx:pt>
          <cx:pt idx="826">41.812580645161283</cx:pt>
          <cx:pt idx="827">41.880967741935486</cx:pt>
          <cx:pt idx="828">41.913548387096768</cx:pt>
          <cx:pt idx="829">41.878709677419344</cx:pt>
          <cx:pt idx="830">41.899354838709677</cx:pt>
          <cx:pt idx="831">41.8732258064516</cx:pt>
          <cx:pt idx="832">41.920322580645156</cx:pt>
          <cx:pt idx="833">41.827741935483871</cx:pt>
          <cx:pt idx="834">41.810322580645163</cx:pt>
          <cx:pt idx="835">41.851290322580653</cx:pt>
          <cx:pt idx="836">41.800322580645165</cx:pt>
          <cx:pt idx="837">41.840322580645164</cx:pt>
          <cx:pt idx="838">41.753225806451617</cx:pt>
          <cx:pt idx="839">41.779032258064518</cx:pt>
          <cx:pt idx="840">41.862258064516126</cx:pt>
          <cx:pt idx="841">41.849354838709672</cx:pt>
          <cx:pt idx="842">41.827419354838703</cx:pt>
          <cx:pt idx="843">41.793870967741931</cx:pt>
          <cx:pt idx="844">41.806451612903224</cx:pt>
          <cx:pt idx="845">41.746451612903222</cx:pt>
          <cx:pt idx="846">41.757419354838703</cx:pt>
          <cx:pt idx="847">41.78387096774194</cx:pt>
          <cx:pt idx="848">41.859999999999999</cx:pt>
          <cx:pt idx="849">41.935806451612912</cx:pt>
          <cx:pt idx="850">41.980322580645172</cx:pt>
          <cx:pt idx="851">41.983548387096782</cx:pt>
          <cx:pt idx="852">41.990645161290324</cx:pt>
          <cx:pt idx="853">41.948387096774198</cx:pt>
          <cx:pt idx="854">41.976451612903226</cx:pt>
          <cx:pt idx="855">41.973548387096777</cx:pt>
          <cx:pt idx="856">42.065483870967739</cx:pt>
          <cx:pt idx="857">42.008064516129025</cx:pt>
          <cx:pt idx="858">41.967419354838704</cx:pt>
          <cx:pt idx="859">42.00967741935483</cx:pt>
          <cx:pt idx="860">42.087419354838694</cx:pt>
          <cx:pt idx="861">42.066451612903222</cx:pt>
          <cx:pt idx="862">42.102580645161282</cx:pt>
          <cx:pt idx="863">42.104516129032255</cx:pt>
          <cx:pt idx="864">42.08806451612903</cx:pt>
          <cx:pt idx="865">42.191935483870964</cx:pt>
          <cx:pt idx="866">42.213225806451604</cx:pt>
          <cx:pt idx="867">42.299999999999997</cx:pt>
          <cx:pt idx="868">42.307741935483868</cx:pt>
          <cx:pt idx="869">42.355161290322584</cx:pt>
          <cx:pt idx="870">42.405806451612911</cx:pt>
          <cx:pt idx="871">42.377096774193561</cx:pt>
          <cx:pt idx="872">42.347741935483882</cx:pt>
          <cx:pt idx="873">42.347096774193545</cx:pt>
          <cx:pt idx="874">42.370967741935495</cx:pt>
          <cx:pt idx="875">42.349032258064526</cx:pt>
          <cx:pt idx="876">42.344838709677425</cx:pt>
          <cx:pt idx="877">42.363870967741939</cx:pt>
          <cx:pt idx="878">42.320645161290329</cx:pt>
          <cx:pt idx="879">42.298064516129031</cx:pt>
          <cx:pt idx="880">42.324516129032254</cx:pt>
          <cx:pt idx="881">42.272258064516123</cx:pt>
          <cx:pt idx="882">42.223870967741931</cx:pt>
          <cx:pt idx="883">42.198064516129023</cx:pt>
          <cx:pt idx="884">42.264193548387091</cx:pt>
          <cx:pt idx="885">42.179677419354832</cx:pt>
          <cx:pt idx="886">42.264516129032252</cx:pt>
          <cx:pt idx="887">42.214838709677416</cx:pt>
          <cx:pt idx="888">42.234193548387097</cx:pt>
          <cx:pt idx="889">42.290645161290321</cx:pt>
          <cx:pt idx="890">42.259999999999991</cx:pt>
          <cx:pt idx="891">42.154838709677421</cx:pt>
          <cx:pt idx="892">42.192903225806454</cx:pt>
          <cx:pt idx="893">42.196129032258064</cx:pt>
          <cx:pt idx="894">42.16193548387097</cx:pt>
          <cx:pt idx="895">42.193225806451615</cx:pt>
          <cx:pt idx="896">42.131612903225808</cx:pt>
          <cx:pt idx="897">42.114838709677414</cx:pt>
          <cx:pt idx="898">42.130645161290325</cx:pt>
          <cx:pt idx="899">42.027741935483867</cx:pt>
          <cx:pt idx="900">42.008387096774193</cx:pt>
          <cx:pt idx="901">41.985483870967748</cx:pt>
          <cx:pt idx="902">41.941290322580649</cx:pt>
          <cx:pt idx="903">42.029032258064518</cx:pt>
          <cx:pt idx="904">41.996451612903229</cx:pt>
          <cx:pt idx="905">42.049032258064514</cx:pt>
          <cx:pt idx="906">42.050322580645165</cx:pt>
          <cx:pt idx="907">42.019677419354828</cx:pt>
          <cx:pt idx="908">42.083548387096769</cx:pt>
          <cx:pt idx="909">42.045806451612904</cx:pt>
          <cx:pt idx="910">42.038387096774194</cx:pt>
          <cx:pt idx="911">41.934516129032268</cx:pt>
          <cx:pt idx="912">41.968387096774201</cx:pt>
          <cx:pt idx="913">42.022903225806459</cx:pt>
          <cx:pt idx="914">41.971290322580657</cx:pt>
          <cx:pt idx="915">41.982580645161292</cx:pt>
          <cx:pt idx="916">42.014193548387098</cx:pt>
          <cx:pt idx="917">41.933225806451617</cx:pt>
          <cx:pt idx="918">41.9341935483871</cx:pt>
          <cx:pt idx="919">41.890967741935476</cx:pt>
          <cx:pt idx="920">41.821612903225798</cx:pt>
          <cx:pt idx="921">41.78193548387096</cx:pt>
          <cx:pt idx="922">41.87903225806452</cx:pt>
          <cx:pt idx="923">41.874516129032251</cx:pt>
          <cx:pt idx="924">41.806774193548385</cx:pt>
          <cx:pt idx="925">41.862258064516126</cx:pt>
          <cx:pt idx="926">41.945806451612903</cx:pt>
          <cx:pt idx="927">41.950645161290318</cx:pt>
          <cx:pt idx="928">41.96709677419355</cx:pt>
          <cx:pt idx="929">41.878064516129044</cx:pt>
          <cx:pt idx="930">41.911290322580655</cx:pt>
          <cx:pt idx="931">41.945483870967756</cx:pt>
          <cx:pt idx="932">41.902903225806469</cx:pt>
          <cx:pt idx="933">41.875161290322595</cx:pt>
          <cx:pt idx="934">41.812580645161304</cx:pt>
          <cx:pt idx="935">41.834516129032266</cx:pt>
          <cx:pt idx="936">41.719677419354852</cx:pt>
          <cx:pt idx="937">41.731935483870977</cx:pt>
          <cx:pt idx="938">41.819677419354846</cx:pt>
          <cx:pt idx="939">41.778064516129035</cx:pt>
          <cx:pt idx="940">41.795161290322582</cx:pt>
          <cx:pt idx="941">41.775806451612908</cx:pt>
          <cx:pt idx="942">41.811612903225807</cx:pt>
          <cx:pt idx="943">41.830322580645166</cx:pt>
          <cx:pt idx="944">41.792903225806455</cx:pt>
          <cx:pt idx="945">41.82741935483871</cx:pt>
          <cx:pt idx="946">41.832258064516132</cx:pt>
          <cx:pt idx="947">41.809354838709687</cx:pt>
          <cx:pt idx="948">41.851935483870975</cx:pt>
          <cx:pt idx="949">41.879354838709688</cx:pt>
          <cx:pt idx="950">41.971290322580657</cx:pt>
          <cx:pt idx="951">41.980967741935487</cx:pt>
          <cx:pt idx="952">42.028709677419364</cx:pt>
          <cx:pt idx="953">42.014516129032266</cx:pt>
          <cx:pt idx="954">41.963548387096779</cx:pt>
          <cx:pt idx="955">42.04451612903226</cx:pt>
          <cx:pt idx="956">42.002580645161288</cx:pt>
          <cx:pt idx="957">41.893870967741933</cx:pt>
          <cx:pt idx="958">41.925483870967739</cx:pt>
          <cx:pt idx="959">41.933548387096778</cx:pt>
          <cx:pt idx="960">41.932580645161295</cx:pt>
          <cx:pt idx="961">42.006774193548388</cx:pt>
          <cx:pt idx="962">41.949032258064527</cx:pt>
          <cx:pt idx="963">42.024516129032264</cx:pt>
          <cx:pt idx="964">42.090000000000003</cx:pt>
          <cx:pt idx="965">42.114838709677421</cx:pt>
          <cx:pt idx="966">42.056774193548392</cx:pt>
          <cx:pt idx="967">42.053225806451621</cx:pt>
          <cx:pt idx="968">42.126451612903239</cx:pt>
          <cx:pt idx="969">42.079999999999991</cx:pt>
          <cx:pt idx="970">42.104838709677416</cx:pt>
          <cx:pt idx="971">42.179999999999993</cx:pt>
          <cx:pt idx="972">42.187096774193542</cx:pt>
          <cx:pt idx="973">42.173870967741934</cx:pt>
          <cx:pt idx="974">42.206129032258069</cx:pt>
          <cx:pt idx="975">42.187741935483878</cx:pt>
          <cx:pt idx="976">42.164193548387104</cx:pt>
          <cx:pt idx="977">42.115806451612904</cx:pt>
          <cx:pt idx="978">42.125483870967749</cx:pt>
          <cx:pt idx="979">42.171612903225807</cx:pt>
          <cx:pt idx="980">42.171612903225814</cx:pt>
          <cx:pt idx="981">42.131612903225815</cx:pt>
          <cx:pt idx="982">42.109354838709685</cx:pt>
          <cx:pt idx="983">42.049677419354843</cx:pt>
          <cx:pt idx="984">42.019677419354842</cx:pt>
          <cx:pt idx="985">42.053548387096775</cx:pt>
          <cx:pt idx="986">41.960967741935484</cx:pt>
          <cx:pt idx="987">41.9874193548387</cx:pt>
          <cx:pt idx="988">42.084516129032252</cx:pt>
          <cx:pt idx="989">42.062258064516122</cx:pt>
          <cx:pt idx="990">41.958387096774196</cx:pt>
          <cx:pt idx="991">42.071290322580644</cx:pt>
          <cx:pt idx="992">41.994838709677431</cx:pt>
          <cx:pt idx="993">42.063225806451619</cx:pt>
          <cx:pt idx="994">42.051935483870963</cx:pt>
          <cx:pt idx="995">41.997096774193551</cx:pt>
          <cx:pt idx="996">41.933870967741939</cx:pt>
          <cx:pt idx="997">41.965161290322577</cx:pt>
          <cx:pt idx="998">42.036451612903221</cx:pt>
          <cx:pt idx="999">41.989032258064505</cx:pt>
          <cx:pt idx="1000">41.976451612903219</cx:pt>
          <cx:pt idx="1001">41.9216129032258</cx:pt>
          <cx:pt idx="1002">41.929354838709678</cx:pt>
          <cx:pt idx="1003">41.940322580645159</cx:pt>
          <cx:pt idx="1004">41.905806451612904</cx:pt>
          <cx:pt idx="1005">41.876774193548378</cx:pt>
          <cx:pt idx="1006">41.879999999999988</cx:pt>
          <cx:pt idx="1007">41.898709677419355</cx:pt>
          <cx:pt idx="1008">41.952903225806452</cx:pt>
          <cx:pt idx="1009">41.979677419354843</cx:pt>
          <cx:pt idx="1010">41.929032258064517</cx:pt>
          <cx:pt idx="1011">41.939677419354837</cx:pt>
          <cx:pt idx="1012">41.938709677419361</cx:pt>
          <cx:pt idx="1013">42.039677419354845</cx:pt>
          <cx:pt idx="1014">42.129677419354849</cx:pt>
          <cx:pt idx="1015">42.119032258064529</cx:pt>
          <cx:pt idx="1016">42.149032258064523</cx:pt>
          <cx:pt idx="1017">42.182580645161302</cx:pt>
          <cx:pt idx="1018">42.244516129032263</cx:pt>
          <cx:pt idx="1019">42.150967741935489</cx:pt>
          <cx:pt idx="1020">42.100000000000001</cx:pt>
          <cx:pt idx="1021">42.093225806451613</cx:pt>
          <cx:pt idx="1022">42.07</cx:pt>
          <cx:pt idx="1023">42.118709677419353</cx:pt>
          <cx:pt idx="1024">42.098064516129035</cx:pt>
          <cx:pt idx="1025">42.100000000000001</cx:pt>
          <cx:pt idx="1026">42.081290322580649</cx:pt>
          <cx:pt idx="1027">42.116451612903226</cx:pt>
          <cx:pt idx="1028">42.096774193548384</cx:pt>
          <cx:pt idx="1029">42.099032258064518</cx:pt>
          <cx:pt idx="1030">42.046451612903226</cx:pt>
          <cx:pt idx="1031">42.038709677419355</cx:pt>
          <cx:pt idx="1032">42.020322580645157</cx:pt>
          <cx:pt idx="1033">42.027419354838706</cx:pt>
          <cx:pt idx="1034">41.992580645161297</cx:pt>
          <cx:pt idx="1035">42.048064516129038</cx:pt>
          <cx:pt idx="1036">42.010645161290334</cx:pt>
          <cx:pt idx="1037">42.000000000000007</cx:pt>
          <cx:pt idx="1038">41.986774193548399</cx:pt>
          <cx:pt idx="1039">41.929677419354853</cx:pt>
          <cx:pt idx="1040">41.945483870967756</cx:pt>
          <cx:pt idx="1041">41.983548387096782</cx:pt>
          <cx:pt idx="1042">42.002903225806456</cx:pt>
          <cx:pt idx="1043">42.033225806451611</cx:pt>
          <cx:pt idx="1044">42.055483870967741</cx:pt>
          <cx:pt idx="1045">42.038064516129019</cx:pt>
          <cx:pt idx="1046">42.078387096774179</cx:pt>
          <cx:pt idx="1047">42.132580645161269</cx:pt>
          <cx:pt idx="1048">42.206774193548384</cx:pt>
          <cx:pt idx="1049">42.23419354838709</cx:pt>
          <cx:pt idx="1050">42.341935483870969</cx:pt>
          <cx:pt idx="1051">42.400322580645167</cx:pt>
          <cx:pt idx="1052">42.470645161290342</cx:pt>
          <cx:pt idx="1053">42.513870967741944</cx:pt>
          <cx:pt idx="1054">42.586774193548393</cx:pt>
          <cx:pt idx="1055">42.607419354838719</cx:pt>
          <cx:pt idx="1056">42.634516129032264</cx:pt>
          <cx:pt idx="1057">42.752258064516134</cx:pt>
          <cx:pt idx="1058">42.822258064516134</cx:pt>
          <cx:pt idx="1059">42.895161290322591</cx:pt>
          <cx:pt idx="1060">42.914516129032265</cx:pt>
          <cx:pt idx="1061">43.050645161290326</cx:pt>
          <cx:pt idx="1062">43.132903225806459</cx:pt>
          <cx:pt idx="1063">43.274838709677425</cx:pt>
          <cx:pt idx="1064">43.284193548387094</cx:pt>
          <cx:pt idx="1065">43.342258064516123</cx:pt>
          <cx:pt idx="1066">43.38967741935484</cx:pt>
          <cx:pt idx="1067">43.481935483870963</cx:pt>
          <cx:pt idx="1068">43.516451612903218</cx:pt>
          <cx:pt idx="1069">43.611935483870965</cx:pt>
          <cx:pt idx="1070">43.615161290322575</cx:pt>
          <cx:pt idx="1071">43.61677419354838</cx:pt>
          <cx:pt idx="1072">43.655161290322575</cx:pt>
          <cx:pt idx="1073">43.595806451612901</cx:pt>
          <cx:pt idx="1074">43.590645161290318</cx:pt>
          <cx:pt idx="1075">43.541935483870965</cx:pt>
          <cx:pt idx="1076">43.514193548387098</cx:pt>
          <cx:pt idx="1077">43.482258064516117</cx:pt>
          <cx:pt idx="1078">43.4341935483871</cx:pt>
          <cx:pt idx="1079">43.400967741935482</cx:pt>
          <cx:pt idx="1080">43.410322580645158</cx:pt>
          <cx:pt idx="1081">43.425806451612907</cx:pt>
          <cx:pt idx="1082">43.465483870967745</cx:pt>
          <cx:pt idx="1083">43.398709677419362</cx:pt>
          <cx:pt idx="1084">43.348064516129035</cx:pt>
          <cx:pt idx="1085">43.251290322580651</cx:pt>
          <cx:pt idx="1086">43.247096774193558</cx:pt>
          <cx:pt idx="1087">43.193548387096776</cx:pt>
          <cx:pt idx="1088">43.088387096774198</cx:pt>
          <cx:pt idx="1089">42.979999999999997</cx:pt>
          <cx:pt idx="1090">42.905483870967743</cx:pt>
          <cx:pt idx="1091">42.834516129032259</cx:pt>
          <cx:pt idx="1092">42.689677419354844</cx:pt>
          <cx:pt idx="1093">42.635161290322579</cx:pt>
          <cx:pt idx="1094">42.504838709677408</cx:pt>
          <cx:pt idx="1095">42.385483870967725</cx:pt>
          <cx:pt idx="1096">42.32548387096773</cx:pt>
          <cx:pt idx="1097">42.220322580645153</cx:pt>
          <cx:pt idx="1098">42.162258064516116</cx:pt>
          <cx:pt idx="1099">42.154193548387092</cx:pt>
          <cx:pt idx="1100">42.039677419354831</cx:pt>
          <cx:pt idx="1101">42.029677419354833</cx:pt>
          <cx:pt idx="1102">42.04677419354838</cx:pt>
          <cx:pt idx="1103">41.958387096774189</cx:pt>
          <cx:pt idx="1104">41.909354838709682</cx:pt>
          <cx:pt idx="1105">41.86354838709677</cx:pt>
          <cx:pt idx="1106">41.844516129032257</cx:pt>
          <cx:pt idx="1107">41.790645161290321</cx:pt>
          <cx:pt idx="1108">41.78709677419355</cx:pt>
          <cx:pt idx="1109">41.778387096774203</cx:pt>
          <cx:pt idx="1110">41.69483870967742</cx:pt>
          <cx:pt idx="1111">41.540000000000006</cx:pt>
          <cx:pt idx="1112">41.428064516129034</cx:pt>
          <cx:pt idx="1113">41.320322580645168</cx:pt>
          <cx:pt idx="1114">41.401612903225818</cx:pt>
          <cx:pt idx="1115">41.433870967741946</cx:pt>
          <cx:pt idx="1116">41.427741935483887</cx:pt>
          <cx:pt idx="1117">41.460322580645176</cx:pt>
          <cx:pt idx="1118">41.421612903225821</cx:pt>
          <cx:pt idx="1119">41.454838709677432</cx:pt>
          <cx:pt idx="1120">41.453548387096781</cx:pt>
          <cx:pt idx="1121">41.549354838709682</cx:pt>
          <cx:pt idx="1122">41.647096774193557</cx:pt>
          <cx:pt idx="1123">41.749032258064517</cx:pt>
          <cx:pt idx="1124">41.729999999999997</cx:pt>
          <cx:pt idx="1125">41.779999999999994</cx:pt>
          <cx:pt idx="1126">41.822580645161288</cx:pt>
          <cx:pt idx="1127">41.842580645161284</cx:pt>
          <cx:pt idx="1128">41.85935483870967</cx:pt>
          <cx:pt idx="1129">41.857419354838704</cx:pt>
          <cx:pt idx="1130">41.883548387096781</cx:pt>
          <cx:pt idx="1131">41.924193548387095</cx:pt>
          <cx:pt idx="1132">41.882258064516115</cx:pt>
          <cx:pt idx="1133">41.774838709677411</cx:pt>
          <cx:pt idx="1134">41.834193548387077</cx:pt>
          <cx:pt idx="1135">41.878064516129015</cx:pt>
          <cx:pt idx="1136">41.909677419354828</cx:pt>
          <cx:pt idx="1137">41.905483870967736</cx:pt>
          <cx:pt idx="1138">41.993225806451598</cx:pt>
          <cx:pt idx="1139">41.968387096774187</cx:pt>
          <cx:pt idx="1140">41.986774193548378</cx:pt>
          <cx:pt idx="1141">42.019032258064506</cx:pt>
          <cx:pt idx="1142">42.070967741935476</cx:pt>
          <cx:pt idx="1143">42.166774193548392</cx:pt>
          <cx:pt idx="1144">42.163225806451621</cx:pt>
          <cx:pt idx="1145">42.127419354838715</cx:pt>
          <cx:pt idx="1146">42.071290322580637</cx:pt>
          <cx:pt idx="1147">42.020645161290332</cx:pt>
          <cx:pt idx="1148">41.922258064516136</cx:pt>
          <cx:pt idx="1149">42.007096774193549</cx:pt>
          <cx:pt idx="1150">42.073870967741939</cx:pt>
          <cx:pt idx="1151">42.073548387096764</cx:pt>
          <cx:pt idx="1152">42.011612903225803</cx:pt>
          <cx:pt idx="1153">41.897419354838703</cx:pt>
          <cx:pt idx="1154">41.799999999999983</cx:pt>
          <cx:pt idx="1155">41.839677419354828</cx:pt>
          <cx:pt idx="1156">41.866774193548373</cx:pt>
          <cx:pt idx="1157">41.829999999999991</cx:pt>
          <cx:pt idx="1158">41.895161290322584</cx:pt>
          <cx:pt idx="1159">41.906774193548394</cx:pt>
          <cx:pt idx="1160">41.920000000000002</cx:pt>
          <cx:pt idx="1161">41.962580645161289</cx:pt>
          <cx:pt idx="1162">41.909032258064521</cx:pt>
          <cx:pt idx="1163">42.005161290322583</cx:pt>
          <cx:pt idx="1164">42.093548387096774</cx:pt>
          <cx:pt idx="1165">42.029354838709679</cx:pt>
          <cx:pt idx="1166">42.068387096774195</cx:pt>
          <cx:pt idx="1167">42.039354838709684</cx:pt>
          <cx:pt idx="1168">41.965161290322584</cx:pt>
          <cx:pt idx="1169">41.892580645161296</cx:pt>
          <cx:pt idx="1170">41.983548387096775</cx:pt>
          <cx:pt idx="1171">42.000967741935483</cx:pt>
          <cx:pt idx="1172">42.005161290322576</cx:pt>
          <cx:pt idx="1173">41.962258064516128</cx:pt>
          <cx:pt idx="1174">41.944838709677413</cx:pt>
          <cx:pt idx="1175">42.037741935483865</cx:pt>
          <cx:pt idx="1176">42.043870967741931</cx:pt>
          <cx:pt idx="1177">41.995161290322578</cx:pt>
          <cx:pt idx="1178">42.090322580645157</cx:pt>
          <cx:pt idx="1179">42.085161290322574</cx:pt>
          <cx:pt idx="1180">42.085806451612903</cx:pt>
          <cx:pt idx="1181">42.022903225806452</cx:pt>
          <cx:pt idx="1182">42.082258064516125</cx:pt>
          <cx:pt idx="1183">42.040967741935475</cx:pt>
          <cx:pt idx="1184">42.138064516129035</cx:pt>
          <cx:pt idx="1185">42.149032258064523</cx:pt>
          <cx:pt idx="1186">42.073225806451617</cx:pt>
          <cx:pt idx="1187">42.080645161290327</cx:pt>
          <cx:pt idx="1188">42.082903225806454</cx:pt>
          <cx:pt idx="1189">42.044193548387099</cx:pt>
          <cx:pt idx="1190">42.102258064516128</cx:pt>
          <cx:pt idx="1191">42.056774193548378</cx:pt>
          <cx:pt idx="1192">42.058709677419351</cx:pt>
          <cx:pt idx="1193">42.132580645161276</cx:pt>
          <cx:pt idx="1194">42.088387096774191</cx:pt>
          <cx:pt idx="1195">42.074838709677415</cx:pt>
          <cx:pt idx="1196">42.165161290322587</cx:pt>
          <cx:pt idx="1197">42.070645161290315</cx:pt>
          <cx:pt idx="1198">42.073548387096771</cx:pt>
          <cx:pt idx="1199">42.16516129032258</cx:pt>
          <cx:pt idx="1200">42.226451612903226</cx:pt>
          <cx:pt idx="1201">42.192580645161293</cx:pt>
          <cx:pt idx="1202">42.119677419354851</cx:pt>
          <cx:pt idx="1203">42.13000000000001</cx:pt>
          <cx:pt idx="1204">42.116451612903241</cx:pt>
          <cx:pt idx="1205">42.130967741935493</cx:pt>
          <cx:pt idx="1206">42.127096774193539</cx:pt>
          <cx:pt idx="1207">42.079999999999991</cx:pt>
          <cx:pt idx="1208">42.133548387096781</cx:pt>
          <cx:pt idx="1209">42.044193548387099</cx:pt>
          <cx:pt idx="1210">42.134838709677425</cx:pt>
          <cx:pt idx="1211">42.110322580645153</cx:pt>
          <cx:pt idx="1212">42.15032258064516</cx:pt>
          <cx:pt idx="1213">42.129999999999988</cx:pt>
          <cx:pt idx="1214">42.155161290322575</cx:pt>
          <cx:pt idx="1215">42.110645161290314</cx:pt>
          <cx:pt idx="1216">42.101290322580645</cx:pt>
          <cx:pt idx="1217">42.138064516129035</cx:pt>
          <cx:pt idx="1218">42.035161290322577</cx:pt>
          <cx:pt idx="1219">42.111612903225804</cx:pt>
          <cx:pt idx="1220">42.103225806451604</cx:pt>
          <cx:pt idx="1221">42.029999999999994</cx:pt>
          <cx:pt idx="1222">42.07322580645161</cx:pt>
          <cx:pt idx="1223">42.004838709677415</cx:pt>
          <cx:pt idx="1224">41.934838709677422</cx:pt>
          <cx:pt idx="1225">41.887419354838705</cx:pt>
          <cx:pt idx="1226">41.908387096774199</cx:pt>
          <cx:pt idx="1227">41.904193548387099</cx:pt>
          <cx:pt idx="1228">41.924838709677417</cx:pt>
          <cx:pt idx="1229">41.930967741935483</cx:pt>
          <cx:pt idx="1230">41.853225806451611</cx:pt>
          <cx:pt idx="1231">41.873225806451607</cx:pt>
          <cx:pt idx="1232">41.849677419354826</cx:pt>
          <cx:pt idx="1233">41.963548387096772</cx:pt>
          <cx:pt idx="1234">41.970322580645146</cx:pt>
          <cx:pt idx="1235">42.035806451612892</cx:pt>
          <cx:pt idx="1236">42.073225806451603</cx:pt>
          <cx:pt idx="1237">42.072903225806442</cx:pt>
          <cx:pt idx="1238">42.194838709677413</cx:pt>
          <cx:pt idx="1239">42.185483870967737</cx:pt>
          <cx:pt idx="1240">42.247741935483866</cx:pt>
          <cx:pt idx="1241">42.278064516129028</cx:pt>
          <cx:pt idx="1242">42.343548387096767</cx:pt>
          <cx:pt idx="1243">42.339354838709674</cx:pt>
          <cx:pt idx="1244">42.434516129032261</cx:pt>
          <cx:pt idx="1245">42.492258064516122</cx:pt>
          <cx:pt idx="1246">42.528387096774196</cx:pt>
          <cx:pt idx="1247">42.643870967741933</cx:pt>
          <cx:pt idx="1248">42.720000000000006</cx:pt>
          <cx:pt idx="1249">42.864838709677421</cx:pt>
          <cx:pt idx="1250">42.930322580645161</cx:pt>
          <cx:pt idx="1251">42.959032258064518</cx:pt>
          <cx:pt idx="1252">43.016774193548393</cx:pt>
          <cx:pt idx="1253">43.070000000000007</cx:pt>
          <cx:pt idx="1254">43.095161290322586</cx:pt>
          <cx:pt idx="1255">43.158064516129045</cx:pt>
          <cx:pt idx="1256">43.278709677419364</cx:pt>
          <cx:pt idx="1257">43.315161290322578</cx:pt>
          <cx:pt idx="1258">43.282580645161289</cx:pt>
          <cx:pt idx="1259">43.376451612903239</cx:pt>
          <cx:pt idx="1260">43.437096774193556</cx:pt>
          <cx:pt idx="1261">43.555483870967741</cx:pt>
          <cx:pt idx="1262">43.543870967741931</cx:pt>
          <cx:pt idx="1263">43.570645161290322</cx:pt>
          <cx:pt idx="1264">43.566129032258061</cx:pt>
          <cx:pt idx="1265">43.61935483870969</cx:pt>
          <cx:pt idx="1266">43.675806451612907</cx:pt>
          <cx:pt idx="1267">43.675806451612907</cx:pt>
          <cx:pt idx="1268">43.671612903225814</cx:pt>
          <cx:pt idx="1269">43.597741935483867</cx:pt>
          <cx:pt idx="1270">43.602580645161289</cx:pt>
          <cx:pt idx="1271">43.657741935483877</cx:pt>
          <cx:pt idx="1272">43.59548387096774</cx:pt>
          <cx:pt idx="1273">43.582580645161293</cx:pt>
          <cx:pt idx="1274">43.564516129032256</cx:pt>
          <cx:pt idx="1275">43.438064516129032</cx:pt>
          <cx:pt idx="1276">43.336774193548379</cx:pt>
          <cx:pt idx="1277">43.266129032258057</cx:pt>
          <cx:pt idx="1278">43.155161290322575</cx:pt>
          <cx:pt idx="1279">43.040967741935475</cx:pt>
          <cx:pt idx="1280">42.968709677419348</cx:pt>
          <cx:pt idx="1281">42.813870967741927</cx:pt>
          <cx:pt idx="1282">42.76709677419354</cx:pt>
          <cx:pt idx="1283">42.802258064516124</cx:pt>
          <cx:pt idx="1284">42.700967741935479</cx:pt>
          <cx:pt idx="1285">42.706451612903223</cx:pt>
          <cx:pt idx="1286">42.706774193548384</cx:pt>
          <cx:pt idx="1287">42.59967741935484</cx:pt>
          <cx:pt idx="1288">42.522903225806452</cx:pt>
          <cx:pt idx="1289">42.543870967741938</cx:pt>
          <cx:pt idx="1290">42.535806451612906</cx:pt>
          <cx:pt idx="1291">42.490645161290331</cx:pt>
          <cx:pt idx="1292">42.426774193548397</cx:pt>
          <cx:pt idx="1293">42.359677419354846</cx:pt>
          <cx:pt idx="1294">42.344193548387096</cx:pt>
          <cx:pt idx="1295">42.295483870967743</cx:pt>
          <cx:pt idx="1296">42.177096774193558</cx:pt>
          <cx:pt idx="1297">42.065161290322585</cx:pt>
          <cx:pt idx="1298">42.008709677419361</cx:pt>
          <cx:pt idx="1299">41.91096774193548</cx:pt>
          <cx:pt idx="1300">41.862903225806441</cx:pt>
          <cx:pt idx="1301">41.801612903225795</cx:pt>
          <cx:pt idx="1302">41.787419354838697</cx:pt>
          <cx:pt idx="1303">41.765161290322567</cx:pt>
          <cx:pt idx="1304">41.643548387096764</cx:pt>
          <cx:pt idx="1305">41.639354838709679</cx:pt>
          <cx:pt idx="1306">41.733225806451614</cx:pt>
          <cx:pt idx="1307">41.810322580645156</cx:pt>
          <cx:pt idx="1308">41.905161290322589</cx:pt>
          <cx:pt idx="1309">41.96806451612904</cx:pt>
          <cx:pt idx="1310">42.067419354838712</cx:pt>
          <cx:pt idx="1311">42.080645161290327</cx:pt>
          <cx:pt idx="1312">42.116774193548387</cx:pt>
          <cx:pt idx="1313">42.118387096774192</cx:pt>
          <cx:pt idx="1314">42.137741935483881</cx:pt>
          <cx:pt idx="1315">42.176129032258075</cx:pt>
          <cx:pt idx="1316">42.121290322580656</cx:pt>
          <cx:pt idx="1317">42.083548387096769</cx:pt>
          <cx:pt idx="1318">42.146451612903235</cx:pt>
          <cx:pt idx="1319">42.19161290322581</cx:pt>
          <cx:pt idx="1320">42.118387096774192</cx:pt>
          <cx:pt idx="1321">42.051612903225802</cx:pt>
          <cx:pt idx="1322">42.058064516129029</cx:pt>
          <cx:pt idx="1323">41.992903225806451</cx:pt>
          <cx:pt idx="1324">42.054516129032251</cx:pt>
          <cx:pt idx="1325">42.048064516129024</cx:pt>
          <cx:pt idx="1326">41.991935483870961</cx:pt>
          <cx:pt idx="1327">42.058387096774183</cx:pt>
          <cx:pt idx="1328">42.069677419354832</cx:pt>
          <cx:pt idx="1329">42.096451612903223</cx:pt>
          <cx:pt idx="1330">42.219032258064516</cx:pt>
          <cx:pt idx="1331">42.218709677419355</cx:pt>
          <cx:pt idx="1332">42.265483870967742</cx:pt>
          <cx:pt idx="1333">42.273870967741935</cx:pt>
          <cx:pt idx="1334">42.294193548387092</cx:pt>
          <cx:pt idx="1335">42.322580645161281</cx:pt>
          <cx:pt idx="1336">42.348387096774182</cx:pt>
          <cx:pt idx="1337">42.287741935483851</cx:pt>
          <cx:pt idx="1338">42.296451612903212</cx:pt>
          <cx:pt idx="1339">42.180967741935483</cx:pt>
          <cx:pt idx="1340">42.201935483870969</cx:pt>
          <cx:pt idx="1341">42.090967741935486</cx:pt>
          <cx:pt idx="1342">42.123225806451622</cx:pt>
          <cx:pt idx="1343">42.094838709677425</cx:pt>
          <cx:pt idx="1344">42.174193548387109</cx:pt>
          <cx:pt idx="1345">42.131612903225822</cx:pt>
          <cx:pt idx="1346">42.088387096774206</cx:pt>
          <cx:pt idx="1347">42.150645161290335</cx:pt>
          <cx:pt idx="1348">42.1309677419355</cx:pt>
          <cx:pt idx="1349">42.077419354838717</cx:pt>
          <cx:pt idx="1350">42.001612903225812</cx:pt>
          <cx:pt idx="1351">42.059677419354848</cx:pt>
          <cx:pt idx="1352">42.131612903225808</cx:pt>
          <cx:pt idx="1353">42.068387096774181</cx:pt>
          <cx:pt idx="1354">42.164193548387097</cx:pt>
          <cx:pt idx="1355">42.199677419354842</cx:pt>
          <cx:pt idx="1356">42.228709677419353</cx:pt>
          <cx:pt idx="1357">42.238387096774197</cx:pt>
          <cx:pt idx="1358">42.267096774193547</cx:pt>
          <cx:pt idx="1359">42.331290322580649</cx:pt>
          <cx:pt idx="1360">42.244838709677431</cx:pt>
          <cx:pt idx="1361">42.239032258064519</cx:pt>
          <cx:pt idx="1362">42.308064516129036</cx:pt>
          <cx:pt idx="1363">42.354193548387094</cx:pt>
          <cx:pt idx="1364">42.306129032258063</cx:pt>
          <cx:pt idx="1365">42.352258064516121</cx:pt>
          <cx:pt idx="1366">42.419032258064512</cx:pt>
          <cx:pt idx="1367">42.444516129032252</cx:pt>
          <cx:pt idx="1368">42.424193548387095</cx:pt>
          <cx:pt idx="1369">42.426451612903229</cx:pt>
          <cx:pt idx="1370">42.521290322580647</cx:pt>
          <cx:pt idx="1371">42.428064516129034</cx:pt>
          <cx:pt idx="1372">42.529032258064518</cx:pt>
          <cx:pt idx="1373">42.450000000000003</cx:pt>
          <cx:pt idx="1374">42.49258064516129</cx:pt>
          <cx:pt idx="1375">42.458064516129035</cx:pt>
          <cx:pt idx="1376">42.377741935483883</cx:pt>
          <cx:pt idx="1377">42.346774193548391</cx:pt>
          <cx:pt idx="1378">42.347741935483874</cx:pt>
          <cx:pt idx="1379">42.32096774193549</cx:pt>
          <cx:pt idx="1380">42.300000000000011</cx:pt>
          <cx:pt idx="1381">42.307096774193553</cx:pt>
          <cx:pt idx="1382">42.328709677419361</cx:pt>
          <cx:pt idx="1383">42.290967741935489</cx:pt>
          <cx:pt idx="1384">42.388387096774196</cx:pt>
          <cx:pt idx="1385">42.32</cx:pt>
          <cx:pt idx="1386">42.205161290322579</cx:pt>
          <cx:pt idx="1387">42.218709677419355</cx:pt>
          <cx:pt idx="1388">42.225161290322582</cx:pt>
          <cx:pt idx="1389">42.211612903225806</cx:pt>
          <cx:pt idx="1390">42.234838709677419</cx:pt>
          <cx:pt idx="1391">42.210000000000001</cx:pt>
          <cx:pt idx="1392">42.128709677419359</cx:pt>
          <cx:pt idx="1393">42.097419354838706</cx:pt>
          <cx:pt idx="1394">42.056774193548385</cx:pt>
          <cx:pt idx="1395">41.98193548387097</cx:pt>
          <cx:pt idx="1396">41.944516129032259</cx:pt>
          <cx:pt idx="1397">41.863870967741924</cx:pt>
          <cx:pt idx="1398">41.837741935483862</cx:pt>
          <cx:pt idx="1399">41.916451612903231</cx:pt>
          <cx:pt idx="1400">41.91935483870968</cx:pt>
          <cx:pt idx="1401">41.888064516129042</cx:pt>
          <cx:pt idx="1402">41.904193548387099</cx:pt>
          <cx:pt idx="1403">41.82741935483871</cx:pt>
          <cx:pt idx="1404">41.879677419354842</cx:pt>
          <cx:pt idx="1405">41.861612903225804</cx:pt>
          <cx:pt idx="1406">41.797096774193555</cx:pt>
          <cx:pt idx="1407">41.840645161290325</cx:pt>
          <cx:pt idx="1408">41.926774193548383</cx:pt>
          <cx:pt idx="1409">41.927096774193544</cx:pt>
          <cx:pt idx="1410">41.92258064516129</cx:pt>
          <cx:pt idx="1411">41.941612903225803</cx:pt>
          <cx:pt idx="1412">41.972258064516126</cx:pt>
          <cx:pt idx="1413">41.949677419354842</cx:pt>
          <cx:pt idx="1414">41.912903225806453</cx:pt>
          <cx:pt idx="1415">41.890000000000015</cx:pt>
          <cx:pt idx="1416">41.949677419354849</cx:pt>
          <cx:pt idx="1417">42.061935483870975</cx:pt>
          <cx:pt idx="1418">42.062258064516129</cx:pt>
          <cx:pt idx="1419">42.067741935483866</cx:pt>
          <cx:pt idx="1420">41.986774193548385</cx:pt>
          <cx:pt idx="1421">41.988709677419358</cx:pt>
          <cx:pt idx="1422">42.084838709677413</cx:pt>
          <cx:pt idx="1423">42.103870967741926</cx:pt>
          <cx:pt idx="1424">42.111290322580636</cx:pt>
          <cx:pt idx="1425">42.078709677419354</cx:pt>
          <cx:pt idx="1426">42.092580645161291</cx:pt>
          <cx:pt idx="1427">42.082580645161293</cx:pt>
          <cx:pt idx="1428">42.056451612903224</cx:pt>
          <cx:pt idx="1429">42.05709677419356</cx:pt>
          <cx:pt idx="1430">42.06032258064517</cx:pt>
          <cx:pt idx="1431">42.037419354838711</cx:pt>
          <cx:pt idx="1432">42.077741935483878</cx:pt>
          <cx:pt idx="1433">42.067741935483873</cx:pt>
          <cx:pt idx="1434">42.089354838709681</cx:pt>
          <cx:pt idx="1435">42.094516129032257</cx:pt>
          <cx:pt idx="1436">42.078064516129039</cx:pt>
          <cx:pt idx="1437">42.146129032258074</cx:pt>
          <cx:pt idx="1438">42.188709677419361</cx:pt>
          <cx:pt idx="1439">42.137741935483874</cx:pt>
          <cx:pt idx="1440">42.129999999999981</cx:pt>
          <cx:pt idx="1441">42.220645161290307</cx:pt>
          <cx:pt idx="1442">42.260967741935467</cx:pt>
          <cx:pt idx="1443">42.212258064516114</cx:pt>
          <cx:pt idx="1444">42.149032258064508</cx:pt>
          <cx:pt idx="1445">42.136129032258061</cx:pt>
          <cx:pt idx="1446">42.166774193548385</cx:pt>
          <cx:pt idx="1447">42.119999999999997</cx:pt>
          <cx:pt idx="1448">42.099032258064518</cx:pt>
          <cx:pt idx="1449">42.068387096774188</cx:pt>
          <cx:pt idx="1450">42.012580645161279</cx:pt>
          <cx:pt idx="1451">42.074193548387093</cx:pt>
          <cx:pt idx="1452">42.015161290322581</cx:pt>
          <cx:pt idx="1453">41.944516129032259</cx:pt>
          <cx:pt idx="1454">41.973870967741938</cx:pt>
          <cx:pt idx="1455">41.984516129032258</cx:pt>
          <cx:pt idx="1456">42.012903225806447</cx:pt>
          <cx:pt idx="1457">42.004516129032261</cx:pt>
          <cx:pt idx="1458">42.029032258064518</cx:pt>
          <cx:pt idx="1459">42.119677419354836</cx:pt>
          <cx:pt idx="1460">42.079999999999991</cx:pt>
          <cx:pt idx="1461">41.99483870967741</cx:pt>
          <cx:pt idx="1462">41.96935483870967</cx:pt>
          <cx:pt idx="1463">41.973870967741924</cx:pt>
          <cx:pt idx="1464">42.054193548387083</cx:pt>
          <cx:pt idx="1465">42.013225806451608</cx:pt>
          <cx:pt idx="1466">41.997096774193551</cx:pt>
          <cx:pt idx="1467">41.980000000000004</cx:pt>
          <cx:pt idx="1468">41.91290322580646</cx:pt>
          <cx:pt idx="1469">41.858387096774202</cx:pt>
          <cx:pt idx="1470">41.891612903225813</cx:pt>
          <cx:pt idx="1471">41.880645161290325</cx:pt>
          <cx:pt idx="1472">41.837096774193547</cx:pt>
          <cx:pt idx="1473">41.79032258064516</cx:pt>
          <cx:pt idx="1474">41.874838709677405</cx:pt>
          <cx:pt idx="1475">41.912258064516131</cx:pt>
          <cx:pt idx="1476">41.918064516129029</cx:pt>
          <cx:pt idx="1477">41.794516129032253</cx:pt>
          <cx:pt idx="1478">41.774838709677411</cx:pt>
          <cx:pt idx="1479">41.755806451612891</cx:pt>
          <cx:pt idx="1480">41.748387096774188</cx:pt>
          <cx:pt idx="1481">41.86258064516128</cx:pt>
          <cx:pt idx="1482">41.799999999999997</cx:pt>
          <cx:pt idx="1483">41.802580645161292</cx:pt>
          <cx:pt idx="1484">41.894193548387101</cx:pt>
          <cx:pt idx="1485">41.807419354838707</cx:pt>
          <cx:pt idx="1486">41.791612903225811</cx:pt>
          <cx:pt idx="1487">41.841935483870969</cx:pt>
          <cx:pt idx="1488">41.894193548387101</cx:pt>
          <cx:pt idx="1489">41.910000000000004</cx:pt>
          <cx:pt idx="1490">41.840967741935479</cx:pt>
          <cx:pt idx="1491">41.900645161290328</cx:pt>
          <cx:pt idx="1492">41.959032258064518</cx:pt>
          <cx:pt idx="1493">41.961935483870967</cx:pt>
          <cx:pt idx="1494">41.939032258064515</cx:pt>
          <cx:pt idx="1495">41.90774193548387</cx:pt>
          <cx:pt idx="1496">42.022258064516123</cx:pt>
          <cx:pt idx="1497">41.947419354838715</cx:pt>
          <cx:pt idx="1498">41.969032258064516</cx:pt>
          <cx:pt idx="1499">42.065483870967739</cx:pt>
          <cx:pt idx="1500">42.052258064516124</cx:pt>
          <cx:pt idx="1501">42.039677419354838</cx:pt>
          <cx:pt idx="1502">42.024838709677411</cx:pt>
          <cx:pt idx="1503">42.04677419354838</cx:pt>
          <cx:pt idx="1504">42.025161290322579</cx:pt>
          <cx:pt idx="1505">41.954193548387096</cx:pt>
          <cx:pt idx="1506">41.926451612903236</cx:pt>
          <cx:pt idx="1507">41.946774193548393</cx:pt>
          <cx:pt idx="1508">42.022903225806459</cx:pt>
          <cx:pt idx="1509">42.010967741935488</cx:pt>
          <cx:pt idx="1510">41.928387096774202</cx:pt>
          <cx:pt idx="1511">41.936451612903234</cx:pt>
          <cx:pt idx="1512">41.863870967741939</cx:pt>
          <cx:pt idx="1513">41.849032258064518</cx:pt>
          <cx:pt idx="1514">41.87419354838709</cx:pt>
          <cx:pt idx="1515">41.799677419354836</cx:pt>
          <cx:pt idx="1516">41.870645161290319</cx:pt>
          <cx:pt idx="1517">41.86032258064516</cx:pt>
          <cx:pt idx="1518">41.821290322580637</cx:pt>
          <cx:pt idx="1519">41.838064516129023</cx:pt>
          <cx:pt idx="1520">41.828709677419347</cx:pt>
          <cx:pt idx="1521">41.849677419354826</cx:pt>
          <cx:pt idx="1522">41.794193548387085</cx:pt>
          <cx:pt idx="1523">41.761612903225803</cx:pt>
          <cx:pt idx="1524">41.743870967741934</cx:pt>
          <cx:pt idx="1525">41.743225806451612</cx:pt>
          <cx:pt idx="1526">41.699677419354842</cx:pt>
          <cx:pt idx="1527">41.688064516129032</cx:pt>
          <cx:pt idx="1528">41.777741935483867</cx:pt>
          <cx:pt idx="1529">41.780322580645155</cx:pt>
          <cx:pt idx="1530">41.727419354838702</cx:pt>
          <cx:pt idx="1531">41.832258064516125</cx:pt>
          <cx:pt idx="1532">41.818387096774188</cx:pt>
          <cx:pt idx="1533">41.828387096774193</cx:pt>
          <cx:pt idx="1534">41.833870967741937</cx:pt>
          <cx:pt idx="1535">41.844516129032257</cx:pt>
          <cx:pt idx="1536">41.843548387096767</cx:pt>
          <cx:pt idx="1537">41.893225806451611</cx:pt>
          <cx:pt idx="1538">41.957419354838706</cx:pt>
          <cx:pt idx="1539">41.927419354838712</cx:pt>
          <cx:pt idx="1540">41.957419354838706</cx:pt>
          <cx:pt idx="1541">42</cx:pt>
          <cx:pt idx="1542">41.958709677419357</cx:pt>
          <cx:pt idx="1543">42.029032258064518</cx:pt>
          <cx:pt idx="1544">42.139032258064525</cx:pt>
          <cx:pt idx="1545">42.177096774193551</cx:pt>
          <cx:pt idx="1546">42.229032258064521</cx:pt>
          <cx:pt idx="1547">42.253225806451624</cx:pt>
          <cx:pt idx="1548">42.241612903225814</cx:pt>
          <cx:pt idx="1549">42.193548387096783</cx:pt>
          <cx:pt idx="1550">42.178709677419363</cx:pt>
          <cx:pt idx="1551">42.178064516129034</cx:pt>
          <cx:pt idx="1552">42.216774193548389</cx:pt>
          <cx:pt idx="1553">42.267096774193547</cx:pt>
          <cx:pt idx="1554">42.247096774193544</cx:pt>
          <cx:pt idx="1555">42.246774193548376</cx:pt>
          <cx:pt idx="1556">42.203870967741935</cx:pt>
          <cx:pt idx="1557">42.279677419354833</cx:pt>
          <cx:pt idx="1558">42.228709677419353</cx:pt>
          <cx:pt idx="1559">42.23838709677419</cx:pt>
          <cx:pt idx="1560">42.256129032258066</cx:pt>
          <cx:pt idx="1561">42.238064516129036</cx:pt>
          <cx:pt idx="1562">42.228064516129038</cx:pt>
          <cx:pt idx="1563">42.247096774193551</cx:pt>
          <cx:pt idx="1564">42.198064516129037</cx:pt>
          <cx:pt idx="1565">42.150000000000006</cx:pt>
          <cx:pt idx="1566">42.181612903225805</cx:pt>
          <cx:pt idx="1567">42.253870967741939</cx:pt>
          <cx:pt idx="1568">42.195161290322581</cx:pt>
          <cx:pt idx="1569">42.089032258064506</cx:pt>
          <cx:pt idx="1570">42.158064516129031</cx:pt>
          <cx:pt idx="1571">42.123870967741922</cx:pt>
          <cx:pt idx="1572">42.200000000000003</cx:pt>
          <cx:pt idx="1573">42.187741935483871</cx:pt>
          <cx:pt idx="1574">42.154193548387092</cx:pt>
          <cx:pt idx="1575">42.04580645161289</cx:pt>
          <cx:pt idx="1576">42.022903225806452</cx:pt>
          <cx:pt idx="1577">41.95967741935484</cx:pt>
          <cx:pt idx="1578">41.979999999999997</cx:pt>
          <cx:pt idx="1579">41.959354838709672</cx:pt>
          <cx:pt idx="1580">41.943548387096776</cx:pt>
          <cx:pt idx="1581">41.883870967741935</cx:pt>
          <cx:pt idx="1582">41.90870967741936</cx:pt>
          <cx:pt idx="1583">41.908064516129031</cx:pt>
          <cx:pt idx="1584">41.804516129032265</cx:pt>
          <cx:pt idx="1585">41.782258064516128</cx:pt>
          <cx:pt idx="1586">41.788064516129033</cx:pt>
          <cx:pt idx="1587">41.766129032258071</cx:pt>
          <cx:pt idx="1588">41.782258064516128</cx:pt>
          <cx:pt idx="1589">41.84129032258064</cx:pt>
          <cx:pt idx="1590">41.858064516129026</cx:pt>
          <cx:pt idx="1591">41.860645161290314</cx:pt>
          <cx:pt idx="1592">41.873870967741944</cx:pt>
          <cx:pt idx="1593">41.796129032258065</cx:pt>
          <cx:pt idx="1594">41.837741935483869</cx:pt>
          <cx:pt idx="1595">41.813548387096766</cx:pt>
          <cx:pt idx="1596">41.834193548387098</cx:pt>
          <cx:pt idx="1597">41.869999999999997</cx:pt>
          <cx:pt idx="1598">41.86677419354838</cx:pt>
          <cx:pt idx="1599">41.95225806451613</cx:pt>
          <cx:pt idx="1600">41.936129032258066</cx:pt>
          <cx:pt idx="1601">41.900322580645167</cx:pt>
          <cx:pt idx="1602">41.930645161290329</cx:pt>
          <cx:pt idx="1603">41.931935483870973</cx:pt>
          <cx:pt idx="1604">41.931290322580651</cx:pt>
          <cx:pt idx="1605">41.869032258064507</cx:pt>
          <cx:pt idx="1606">41.880322580645164</cx:pt>
          <cx:pt idx="1607">41.799999999999997</cx:pt>
          <cx:pt idx="1608">41.838709677419352</cx:pt>
          <cx:pt idx="1609">41.740322580645156</cx:pt>
          <cx:pt idx="1610">41.829354838709676</cx:pt>
          <cx:pt idx="1611">41.85032258064517</cx:pt>
          <cx:pt idx="1612">41.975483870967757</cx:pt>
          <cx:pt idx="1613">41.884516129032271</cx:pt>
          <cx:pt idx="1614">41.899354838709691</cx:pt>
          <cx:pt idx="1615">41.980322580645172</cx:pt>
          <cx:pt idx="1616">42.027096774193552</cx:pt>
          <cx:pt idx="1617">42.090645161290325</cx:pt>
          <cx:pt idx="1618">42.178064516129034</cx:pt>
          <cx:pt idx="1619">42.181935483870966</cx:pt>
          <cx:pt idx="1620">42.169354838709673</cx:pt>
          <cx:pt idx="1621">42.122580645161278</cx:pt>
          <cx:pt idx="1622">42.177741935483866</cx:pt>
          <cx:pt idx="1623">42.189354838709676</cx:pt>
          <cx:pt idx="1624">42.268709677419352</cx:pt>
          <cx:pt idx="1625">42.201935483870962</cx:pt>
          <cx:pt idx="1626">42.21290322580645</cx:pt>
          <cx:pt idx="1627">42.199677419354835</cx:pt>
          <cx:pt idx="1628">42.157419354838716</cx:pt>
          <cx:pt idx="1629">42.1225806451613</cx:pt>
          <cx:pt idx="1630">42.116451612903226</cx:pt>
          <cx:pt idx="1631">42.211612903225813</cx:pt>
          <cx:pt idx="1632">42.223548387096777</cx:pt>
          <cx:pt idx="1633">42.263870967741937</cx:pt>
          <cx:pt idx="1634">42.259677419354837</cx:pt>
          <cx:pt idx="1635">42.335806451612889</cx:pt>
          <cx:pt idx="1636">42.396451612903221</cx:pt>
          <cx:pt idx="1637">42.413548387096768</cx:pt>
          <cx:pt idx="1638">42.490967741935478</cx:pt>
          <cx:pt idx="1639">42.510322580645152</cx:pt>
          <cx:pt idx="1640">42.541935483870958</cx:pt>
          <cx:pt idx="1641">42.452903225806445</cx:pt>
          <cx:pt idx="1642">42.510322580645152</cx:pt>
          <cx:pt idx="1643">42.396451612903221</cx:pt>
          <cx:pt idx="1644">42.453225806451599</cx:pt>
          <cx:pt idx="1645">42.361290322580643</cx:pt>
          <cx:pt idx="1646">42.32</cx:pt>
          <cx:pt idx="1647">42.327741935483871</cx:pt>
          <cx:pt idx="1648">42.266451612903225</cx:pt>
          <cx:pt idx="1649">42.270000000000003</cx:pt>
          <cx:pt idx="1650">42.22870967741936</cx:pt>
          <cx:pt idx="1651">42.22870967741936</cx:pt>
          <cx:pt idx="1652">42.206129032258069</cx:pt>
          <cx:pt idx="1653">42.18935483870969</cx:pt>
          <cx:pt idx="1654">42.177419354838726</cx:pt>
          <cx:pt idx="1655">42.184838709677436</cx:pt>
          <cx:pt idx="1656">42.169032258064526</cx:pt>
          <cx:pt idx="1657">42.264193548387105</cx:pt>
          <cx:pt idx="1658">42.245161290322585</cx:pt>
          <cx:pt idx="1659">42.277096774193552</cx:pt>
          <cx:pt idx="1660">42.299677419354843</cx:pt>
          <cx:pt idx="1661">42.305806451612902</cx:pt>
          <cx:pt idx="1662">42.262258064516139</cx:pt>
          <cx:pt idx="1663">42.221935483870972</cx:pt>
          <cx:pt idx="1664">42.208064516129028</cx:pt>
          <cx:pt idx="1665">42.194516129032259</cx:pt>
          <cx:pt idx="1666">42.145161290322584</cx:pt>
          <cx:pt idx="1667">42.079354838709676</cx:pt>
          <cx:pt idx="1668">42.089354838709674</cx:pt>
          <cx:pt idx="1669">42.067741935483873</cx:pt>
          <cx:pt idx="1670">42.023870967741942</cx:pt>
          <cx:pt idx="1671">42.009032258064522</cx:pt>
          <cx:pt idx="1672">42.069677419354846</cx:pt>
          <cx:pt idx="1673">41.989032258064519</cx:pt>
          <cx:pt idx="1674">42.042580645161287</cx:pt>
          <cx:pt idx="1675">41.995161290322585</cx:pt>
          <cx:pt idx="1676">42.071935483870966</cx:pt>
          <cx:pt idx="1677">42.046451612903226</cx:pt>
          <cx:pt idx="1678">42.085806451612896</cx:pt>
          <cx:pt idx="1679">42.136774193548391</cx:pt>
          <cx:pt idx="1680">42.141612903225806</cx:pt>
          <cx:pt idx="1681">42.091612903225801</cx:pt>
          <cx:pt idx="1682">42.075483870967744</cx:pt>
          <cx:pt idx="1683">42.072258064516127</cx:pt>
          <cx:pt idx="1684">42.106451612903221</cx:pt>
          <cx:pt idx="1685">42.162903225806453</cx:pt>
          <cx:pt idx="1686">42.071935483870973</cx:pt>
          <cx:pt idx="1687">42.14806451612904</cx:pt>
          <cx:pt idx="1688">42.044838709677421</cx:pt>
          <cx:pt idx="1689">42.131612903225815</cx:pt>
          <cx:pt idx="1690">42.106451612903221</cx:pt>
          <cx:pt idx="1691">42.071935483870966</cx:pt>
          <cx:pt idx="1692">42.075483870967737</cx:pt>
          <cx:pt idx="1693">42.027741935483867</cx:pt>
          <cx:pt idx="1694">41.995806451612886</cx:pt>
          <cx:pt idx="1695">41.939999999999991</cx:pt>
          <cx:pt idx="1696">41.917096774193539</cx:pt>
          <cx:pt idx="1697">41.897096774193535</cx:pt>
          <cx:pt idx="1698">41.928709677419349</cx:pt>
          <cx:pt idx="1699">42.029999999999987</cx:pt>
          <cx:pt idx="1700">42.11258064516128</cx:pt>
          <cx:pt idx="1701">42.134516129032264</cx:pt>
          <cx:pt idx="1702">42.223225806451616</cx:pt>
          <cx:pt idx="1703">42.22870967741936</cx:pt>
          <cx:pt idx="1704">42.373225806451629</cx:pt>
          <cx:pt idx="1705">42.43096774193549</cx:pt>
          <cx:pt idx="1706">42.470967741935482</cx:pt>
          <cx:pt idx="1707">42.480645161290319</cx:pt>
          <cx:pt idx="1708">42.583225806451601</cx:pt>
          <cx:pt idx="1709">42.628387096774183</cx:pt>
          <cx:pt idx="1710">42.626129032258056</cx:pt>
          <cx:pt idx="1711">42.573548387096771</cx:pt>
          <cx:pt idx="1712">42.683225806451617</cx:pt>
          <cx:pt idx="1713">42.671612903225807</cx:pt>
          <cx:pt idx="1714">42.744193548387095</cx:pt>
          <cx:pt idx="1715">42.732258064516131</cx:pt>
          <cx:pt idx="1716">42.70000000000001</cx:pt>
          <cx:pt idx="1717">42.780322580645176</cx:pt>
          <cx:pt idx="1718">42.826129032258066</cx:pt>
          <cx:pt idx="1719">42.912580645161292</cx:pt>
          <cx:pt idx="1720">42.931935483870973</cx:pt>
          <cx:pt idx="1721">43.008064516129032</cx:pt>
          <cx:pt idx="1722">43.038709677419355</cx:pt>
          <cx:pt idx="1723">43.011612903225803</cx:pt>
          <cx:pt idx="1724">43.12903225806452</cx:pt>
          <cx:pt idx="1725">43.233548387096775</cx:pt>
          <cx:pt idx="1726">43.292903225806455</cx:pt>
          <cx:pt idx="1727">43.336774193548386</cx:pt>
          <cx:pt idx="1728">43.376129032258071</cx:pt>
          <cx:pt idx="1729">43.466129032258067</cx:pt>
          <cx:pt idx="1730">43.470000000000006</cx:pt>
          <cx:pt idx="1731">43.399032258064516</cx:pt>
          <cx:pt idx="1732">43.389354838709679</cx:pt>
          <cx:pt idx="1733">43.340967741935472</cx:pt>
          <cx:pt idx="1734">43.360967741935475</cx:pt>
          <cx:pt idx="1735">43.282903225806457</cx:pt>
          <cx:pt idx="1736">43.299999999999997</cx:pt>
          <cx:pt idx="1737">43.3158064516129</cx:pt>
          <cx:pt idx="1738">43.361935483870958</cx:pt>
          <cx:pt idx="1739">43.308064516129029</cx:pt>
          <cx:pt idx="1740">43.288064516129019</cx:pt>
          <cx:pt idx="1741">43.290645161290321</cx:pt>
          <cx:pt idx="1742">43.239354838709673</cx:pt>
          <cx:pt idx="1743">43.11354838709677</cx:pt>
          <cx:pt idx="1744">43.143548387096779</cx:pt>
          <cx:pt idx="1745">43.12903225806452</cx:pt>
          <cx:pt idx="1746">43.1274193548387</cx:pt>
          <cx:pt idx="1747">43.085161290322574</cx:pt>
          <cx:pt idx="1748">43.086129032258057</cx:pt>
          <cx:pt idx="1749">42.965161290322577</cx:pt>
          <cx:pt idx="1750">42.95129032258064</cx:pt>
          <cx:pt idx="1751">42.94161290322581</cx:pt>
          <cx:pt idx="1752">42.825806451612898</cx:pt>
          <cx:pt idx="1753">42.748387096774195</cx:pt>
          <cx:pt idx="1754">42.694838709677427</cx:pt>
          <cx:pt idx="1755">42.646451612903235</cx:pt>
          <cx:pt idx="1756">42.624193548387105</cx:pt>
          <cx:pt idx="1757">42.62354838709679</cx:pt>
          <cx:pt idx="1758">42.600322580645162</cx:pt>
          <cx:pt idx="1759">42.644193548387108</cx:pt>
          <cx:pt idx="1760">42.51580645161291</cx:pt>
          <cx:pt idx="1761">42.370322580645173</cx:pt>
          <cx:pt idx="1762">42.369999999999997</cx:pt>
          <cx:pt idx="1763">42.338064516129037</cx:pt>
          <cx:pt idx="1764">42.371290322580656</cx:pt>
          <cx:pt idx="1765">42.33903225806452</cx:pt>
          <cx:pt idx="1766">42.332903225806447</cx:pt>
          <cx:pt idx="1767">42.306451612903217</cx:pt>
          <cx:pt idx="1768">42.316129032258068</cx:pt>
          <cx:pt idx="1769">42.186451612903227</cx:pt>
          <cx:pt idx="1770">42.120322580645158</cx:pt>
          <cx:pt idx="1771">42.004838709677422</cx:pt>
          <cx:pt idx="1772">41.941612903225817</cx:pt>
          <cx:pt idx="1773">41.944193548387105</cx:pt>
          <cx:pt idx="1774">42.000322580645168</cx:pt>
          <cx:pt idx="1775">41.973225806451623</cx:pt>
          <cx:pt idx="1776">41.967419354838718</cx:pt>
          <cx:pt idx="1777">41.919677419354848</cx:pt>
          <cx:pt idx="1778">41.965161290322591</cx:pt>
          <cx:pt idx="1779">41.900967741935496</cx:pt>
          <cx:pt idx="1780">41.905161290322589</cx:pt>
          <cx:pt idx="1781">41.859677419354846</cx:pt>
          <cx:pt idx="1782">41.742903225806451</cx:pt>
          <cx:pt idx="1783">41.801290322580648</cx:pt>
          <cx:pt idx="1784">41.829999999999998</cx:pt>
          <cx:pt idx="1785">41.832580645161286</cx:pt>
          <cx:pt idx="1786">41.779032258064511</cx:pt>
          <cx:pt idx="1787">41.725483870967743</cx:pt>
          <cx:pt idx="1788">41.69064516129032</cx:pt>
          <cx:pt idx="1789">41.67677419354839</cx:pt>
          <cx:pt idx="1790">41.579032258064508</cx:pt>
          <cx:pt idx="1791">41.684516129032254</cx:pt>
          <cx:pt idx="1792">41.769032258064506</cx:pt>
          <cx:pt idx="1793">41.786774193548375</cx:pt>
          <cx:pt idx="1794">41.828387096774186</cx:pt>
          <cx:pt idx="1795">41.738709677419351</cx:pt>
          <cx:pt idx="1796">41.739032258064512</cx:pt>
          <cx:pt idx="1797">41.749354838709678</cx:pt>
          <cx:pt idx="1798">41.709032258064518</cx:pt>
          <cx:pt idx="1799">41.628064516129022</cx:pt>
          <cx:pt idx="1800">41.621290322580634</cx:pt>
          <cx:pt idx="1801">41.680967741935483</cx:pt>
          <cx:pt idx="1802">41.693225806451608</cx:pt>
          <cx:pt idx="1803">41.790967741935482</cx:pt>
          <cx:pt idx="1804">41.876451612903217</cx:pt>
          <cx:pt idx="1805">41.888064516129027</cx:pt>
          <cx:pt idx="1806">41.875161290322588</cx:pt>
          <cx:pt idx="1807">41.90129032258065</cx:pt>
          <cx:pt idx="1808">41.880645161290325</cx:pt>
          <cx:pt idx="1809">41.828064516129032</cx:pt>
          <cx:pt idx="1810">41.777419354838706</cx:pt>
          <cx:pt idx="1811">41.766451612903218</cx:pt>
          <cx:pt idx="1812">41.737741935483875</cx:pt>
          <cx:pt idx="1813">41.779032258064511</cx:pt>
          <cx:pt idx="1814">41.804838709677419</cx:pt>
          <cx:pt idx="1815">41.852258064516121</cx:pt>
          <cx:pt idx="1816">41.818709677419349</cx:pt>
          <cx:pt idx="1817">41.849032258064518</cx:pt>
          <cx:pt idx="1818">41.929354838709685</cx:pt>
          <cx:pt idx="1819">42.013225806451622</cx:pt>
          <cx:pt idx="1820">41.970000000000006</cx:pt>
          <cx:pt idx="1821">42.045161290322582</cx:pt>
          <cx:pt idx="1822">42.037741935483872</cx:pt>
          <cx:pt idx="1823">42.007741935483871</cx:pt>
          <cx:pt idx="1824">41.91516129032258</cx:pt>
          <cx:pt idx="1825">41.888709677419357</cx:pt>
          <cx:pt idx="1826">41.911935483870963</cx:pt>
          <cx:pt idx="1827">41.903870967741931</cx:pt>
          <cx:pt idx="1828">41.829999999999991</cx:pt>
          <cx:pt idx="1829">41.865161290322561</cx:pt>
          <cx:pt idx="1830">41.848387096774175</cx:pt>
          <cx:pt idx="1831">41.908064516129016</cx:pt>
          <cx:pt idx="1832">41.851290322580631</cx:pt>
          <cx:pt idx="1833">41.884516129032242</cx:pt>
          <cx:pt idx="1834">41.766774193548372</cx:pt>
          <cx:pt idx="1835">41.686774193548381</cx:pt>
          <cx:pt idx="1836">41.620645161290312</cx:pt>
          <cx:pt idx="1837">41.633548387096774</cx:pt>
          <cx:pt idx="1838">41.514193548387084</cx:pt>
          <cx:pt idx="1839">41.478387096774199</cx:pt>
          <cx:pt idx="1840">41.45645161290323</cx:pt>
          <cx:pt idx="1841">41.51354838709679</cx:pt>
          <cx:pt idx="1842">41.518064516129044</cx:pt>
          <cx:pt idx="1843">41.578064516129039</cx:pt>
          <cx:pt idx="1844">41.587419354838723</cx:pt>
          <cx:pt idx="1845">41.570645161290329</cx:pt>
          <cx:pt idx="1846">41.608387096774202</cx:pt>
          <cx:pt idx="1847">41.700322580645171</cx:pt>
          <cx:pt idx="1848">41.647096774193557</cx:pt>
          <cx:pt idx="1849">41.572903225806456</cx:pt>
          <cx:pt idx="1850">41.55935483870968</cx:pt>
          <cx:pt idx="1851">41.59548387096774</cx:pt>
          <cx:pt idx="1852">41.544516129032253</cx:pt>
          <cx:pt idx="1853">41.469677419354838</cx:pt>
          <cx:pt idx="1854">41.470967741935489</cx:pt>
          <cx:pt idx="1855">41.491290322580639</cx:pt>
          <cx:pt idx="1856">41.447419354838708</cx:pt>
          <cx:pt idx="1857">41.516774193548386</cx:pt>
          <cx:pt idx="1858">41.525806451612901</cx:pt>
          <cx:pt idx="1859">41.617096774193548</cx:pt>
          <cx:pt idx="1860">41.528064516129028</cx:pt>
          <cx:pt idx="1861">41.57322580645161</cx:pt>
          <cx:pt idx="1862">41.604516129032255</cx:pt>
          <cx:pt idx="1863">41.712258064516128</cx:pt>
          <cx:pt idx="1864">41.69161290322581</cx:pt>
          <cx:pt idx="1865">41.73516129032258</cx:pt>
          <cx:pt idx="1866">41.789354838709677</cx:pt>
          <cx:pt idx="1867">41.776774193548391</cx:pt>
          <cx:pt idx="1868">41.799354838709682</cx:pt>
          <cx:pt idx="1869">41.908064516129045</cx:pt>
          <cx:pt idx="1870">41.988064516129036</cx:pt>
          <cx:pt idx="1871">42.061290322580646</cx:pt>
          <cx:pt idx="1872">42.078709677419354</cx:pt>
          <cx:pt idx="1873">42.163870967741943</cx:pt>
          <cx:pt idx="1874">42.179354838709692</cx:pt>
          <cx:pt idx="1875">42.159032258064528</cx:pt>
          <cx:pt idx="1876">42.175806451612914</cx:pt>
          <cx:pt idx="1877">42.121612903225817</cx:pt>
          <cx:pt idx="1878">42.120645161290319</cx:pt>
          <cx:pt idx="1879">42.180322580645161</cx:pt>
          <cx:pt idx="1880">42.152903225806448</cx:pt>
          <cx:pt idx="1881">42.07225806451612</cx:pt>
          <cx:pt idx="1882">42.029032258064504</cx:pt>
          <cx:pt idx="1883">42.018387096774184</cx:pt>
          <cx:pt idx="1884">42.017096774193547</cx:pt>
          <cx:pt idx="1885">42.020322580645157</cx:pt>
          <cx:pt idx="1886">41.999677419354839</cx:pt>
          <cx:pt idx="1887">42.079677419354837</cx:pt>
          <cx:pt idx="1888">42.044193548387092</cx:pt>
          <cx:pt idx="1889">42.062903225806451</cx:pt>
          <cx:pt idx="1890">42.123225806451607</cx:pt>
          <cx:pt idx="1891">42.25741935483871</cx:pt>
          <cx:pt idx="1892">42.353870967741933</cx:pt>
          <cx:pt idx="1893">42.373225806451622</cx:pt>
          <cx:pt idx="1894">42.395483870967752</cx:pt>
          <cx:pt idx="1895">42.459032258064525</cx:pt>
          <cx:pt idx="1896">42.550322580645165</cx:pt>
          <cx:pt idx="1897">42.599354838709672</cx:pt>
          <cx:pt idx="1898">42.673225806451619</cx:pt>
          <cx:pt idx="1899">42.667096774193553</cx:pt>
          <cx:pt idx="1900">42.686129032258073</cx:pt>
          <cx:pt idx="1901">42.735483870967748</cx:pt>
          <cx:pt idx="1902">42.799032258064528</cx:pt>
          <cx:pt idx="1903">42.825483870967751</cx:pt>
          <cx:pt idx="1904">42.807096774193553</cx:pt>
          <cx:pt idx="1905">42.816451612903229</cx:pt>
          <cx:pt idx="1906">42.885483870967754</cx:pt>
          <cx:pt idx="1907">42.933870967741939</cx:pt>
          <cx:pt idx="1908">43.033225806451611</cx:pt>
          <cx:pt idx="1909">43.067419354838712</cx:pt>
          <cx:pt idx="1910">43.131290322580647</cx:pt>
          <cx:pt idx="1911">43.254516129032261</cx:pt>
          <cx:pt idx="1912">43.370000000000012</cx:pt>
          <cx:pt idx="1913">43.406129032258065</cx:pt>
          <cx:pt idx="1914">43.52548387096774</cx:pt>
          <cx:pt idx="1915">43.643548387096772</cx:pt>
          <cx:pt idx="1916">43.744516129032256</cx:pt>
          <cx:pt idx="1917">43.82225806451612</cx:pt>
          <cx:pt idx="1918">43.824838709677408</cx:pt>
          <cx:pt idx="1919">43.849677419354826</cx:pt>
          <cx:pt idx="1920">43.897096774193543</cx:pt>
          <cx:pt idx="1921">43.828064516129011</cx:pt>
          <cx:pt idx="1922">43.816129032258054</cx:pt>
          <cx:pt idx="1923">43.736129032258056</cx:pt>
          <cx:pt idx="1924">43.698064516129023</cx:pt>
          <cx:pt idx="1925">43.66193548387097</cx:pt>
          <cx:pt idx="1926">43.649354838709677</cx:pt>
          <cx:pt idx="1927">43.612258064516126</cx:pt>
          <cx:pt idx="1928">43.575161290322583</cx:pt>
          <cx:pt idx="1929">43.650322580645167</cx:pt>
          <cx:pt idx="1930">43.566129032258061</cx:pt>
          <cx:pt idx="1931">43.49258064516129</cx:pt>
          <cx:pt idx="1932">43.403870967741938</cx:pt>
          <cx:pt idx="1933">43.367419354838702</cx:pt>
          <cx:pt idx="1934">43.264516129032252</cx:pt>
          <cx:pt idx="1935">43.279354838709672</cx:pt>
          <cx:pt idx="1936">43.250322580645154</cx:pt>
          <cx:pt idx="1937">43.18</cx:pt>
          <cx:pt idx="1938">43.049354838709668</cx:pt>
          <cx:pt idx="1939">42.935161290322576</cx:pt>
          <cx:pt idx="1940">42.858387096774187</cx:pt>
          <cx:pt idx="1941">42.814516129032256</cx:pt>
          <cx:pt idx="1942">42.787741935483865</cx:pt>
          <cx:pt idx="1943">42.654838709677421</cx:pt>
          <cx:pt idx="1944">42.660967741935487</cx:pt>
          <cx:pt idx="1945">42.583225806451608</cx:pt>
          <cx:pt idx="1946">42.511290322580635</cx:pt>
          <cx:pt idx="1947">42.365806451612897</cx:pt>
          <cx:pt idx="1948">42.292580645161287</cx:pt>
          <cx:pt idx="1949">42.214838709677416</cx:pt>
          <cx:pt idx="1950">42.237096774193539</cx:pt>
          <cx:pt idx="1951">42.16838709677419</cx:pt>
          <cx:pt idx="1952">42.180645161290315</cx:pt>
          <cx:pt idx="1953">42.053870967741929</cx:pt>
          <cx:pt idx="1954">42.015483870967742</cx:pt>
          <cx:pt idx="1955">42.049354838709675</cx:pt>
          <cx:pt idx="1956">42.01483870967742</cx:pt>
          <cx:pt idx="1957">42.052580645161285</cx:pt>
          <cx:pt idx="1958">42.027096774193545</cx:pt>
          <cx:pt idx="1959">42.012580645161286</cx:pt>
          <cx:pt idx="1960">41.968709677419355</cx:pt>
          <cx:pt idx="1961">41.974193548387099</cx:pt>
          <cx:pt idx="1962">41.932258064516141</cx:pt>
          <cx:pt idx="1963">41.944193548387112</cx:pt>
          <cx:pt idx="1964">41.919354838709694</cx:pt>
          <cx:pt idx="1965">41.918387096774211</cx:pt>
          <cx:pt idx="1966">41.915483870967755</cx:pt>
          <cx:pt idx="1967">41.870645161290334</cx:pt>
          <cx:pt idx="1968">41.957096774193559</cx:pt>
          <cx:pt idx="1969">41.997096774193558</cx:pt>
          <cx:pt idx="1970">42.025161290322593</cx:pt>
          <cx:pt idx="1971">41.980967741935494</cx:pt>
          <cx:pt idx="1972">41.924193548387109</cx:pt>
          <cx:pt idx="1973">41.808709677419358</cx:pt>
          <cx:pt idx="1974">41.859354838709677</cx:pt>
          <cx:pt idx="1975">41.802580645161285</cx:pt>
          <cx:pt idx="1976">41.751935483870966</cx:pt>
          <cx:pt idx="1977">41.733225806451614</cx:pt>
          <cx:pt idx="1978">41.765161290322574</cx:pt>
          <cx:pt idx="1979">41.838387096774184</cx:pt>
          <cx:pt idx="1980">41.879354838709681</cx:pt>
          <cx:pt idx="1981">41.809999999999995</cx:pt>
          <cx:pt idx="1982">41.801612903225802</cx:pt>
          <cx:pt idx="1983">41.780322580645162</cx:pt>
          <cx:pt idx="1984">41.886129032258061</cx:pt>
          <cx:pt idx="1985">41.959999999999994</cx:pt>
          <cx:pt idx="1986">41.88064516129031</cx:pt>
          <cx:pt idx="1987">41.849677419354826</cx:pt>
          <cx:pt idx="1988">41.835483870967721</cx:pt>
          <cx:pt idx="1989">41.848387096774175</cx:pt>
          <cx:pt idx="1990">41.821935483870952</cx:pt>
          <cx:pt idx="1991">41.814838709677403</cx:pt>
          <cx:pt idx="1992">41.804516129032251</cx:pt>
          <cx:pt idx="1993">41.787419354838704</cx:pt>
          <cx:pt idx="1994">41.809677419354841</cx:pt>
          <cx:pt idx="1995">41.759999999999998</cx:pt>
          <cx:pt idx="1996">41.763548387096776</cx:pt>
          <cx:pt idx="1997">41.678709677419363</cx:pt>
          <cx:pt idx="1998">41.682903225806456</cx:pt>
          <cx:pt idx="1999">41.605161290322577</cx:pt>
          <cx:pt idx="2000">41.565161290322578</cx:pt>
          <cx:pt idx="2001">41.57741935483871</cx:pt>
          <cx:pt idx="2002">41.587419354838708</cx:pt>
          <cx:pt idx="2003">41.686774193548395</cx:pt>
          <cx:pt idx="2004">41.703870967741942</cx:pt>
          <cx:pt idx="2005">41.721935483870972</cx:pt>
          <cx:pt idx="2006">41.746451612903229</cx:pt>
          <cx:pt idx="2007">41.732903225806453</cx:pt>
          <cx:pt idx="2008">41.706129032258069</cx:pt>
          <cx:pt idx="2009">41.722258064516133</cx:pt>
          <cx:pt idx="2010">41.694516129032266</cx:pt>
          <cx:pt idx="2011">41.648709677419362</cx:pt>
          <cx:pt idx="2012">41.644516129032262</cx:pt>
          <cx:pt idx="2013">41.604193548387094</cx:pt>
          <cx:pt idx="2014">41.542580645161294</cx:pt>
          <cx:pt idx="2015">41.481612903225802</cx:pt>
          <cx:pt idx="2016">41.48516129032258</cx:pt>
          <cx:pt idx="2017">41.460322580645162</cx:pt>
          <cx:pt idx="2018">41.48419354838709</cx:pt>
          <cx:pt idx="2019">41.439032258064515</cx:pt>
          <cx:pt idx="2020">41.354193548387087</cx:pt>
          <cx:pt idx="2021">41.415806451612902</cx:pt>
          <cx:pt idx="2022">41.387096774193544</cx:pt>
          <cx:pt idx="2023">41.464838709677416</cx:pt>
          <cx:pt idx="2024">41.566451612903222</cx:pt>
          <cx:pt idx="2025">41.559677419354834</cx:pt>
          <cx:pt idx="2026">41.57322580645161</cx:pt>
          <cx:pt idx="2027">41.633548387096774</cx:pt>
          <cx:pt idx="2028">41.610645161290321</cx:pt>
          <cx:pt idx="2029">41.664838709677419</cx:pt>
          <cx:pt idx="2030">41.744193548387102</cx:pt>
          <cx:pt idx="2031">41.747741935483873</cx:pt>
          <cx:pt idx="2032">41.730322580645165</cx:pt>
          <cx:pt idx="2033">41.781935483870967</cx:pt>
          <cx:pt idx="2034">41.752258064516127</cx:pt>
          <cx:pt idx="2035">41.768709677419359</cx:pt>
          <cx:pt idx="2036">41.693225806451615</cx:pt>
          <cx:pt idx="2037">41.770322580645164</cx:pt>
          <cx:pt idx="2038">41.856774193548382</cx:pt>
          <cx:pt idx="2039">41.911612903225809</cx:pt>
          <cx:pt idx="2040">41.874838709677412</cx:pt>
          <cx:pt idx="2041">41.888064516129035</cx:pt>
          <cx:pt idx="2042">41.973548387096777</cx:pt>
          <cx:pt idx="2043">42.036129032258067</cx:pt>
          <cx:pt idx="2044">42.015161290322581</cx:pt>
          <cx:pt idx="2045">42.016451612903225</cx:pt>
          <cx:pt idx="2046">42.012258064516132</cx:pt>
          <cx:pt idx="2047">41.917096774193553</cx:pt>
          <cx:pt idx="2048">42.029677419354833</cx:pt>
          <cx:pt idx="2049">42.066451612903215</cx:pt>
          <cx:pt idx="2050">42.119354838709675</cx:pt>
          <cx:pt idx="2051">42.237096774193546</cx:pt>
          <cx:pt idx="2052">42.228387096774192</cx:pt>
          <cx:pt idx="2053">42.206129032258062</cx:pt>
          <cx:pt idx="2054">42.237419354838707</cx:pt>
          <cx:pt idx="2055">42.231290322580641</cx:pt>
          <cx:pt idx="2056">42.237096774193546</cx:pt>
          <cx:pt idx="2057">42.299032258064507</cx:pt>
          <cx:pt idx="2058">42.321612903225798</cx:pt>
          <cx:pt idx="2059">42.357096774193543</cx:pt>
          <cx:pt idx="2060">42.369677419354851</cx:pt>
          <cx:pt idx="2061">42.26580645161291</cx:pt>
          <cx:pt idx="2062">42.354838709677416</cx:pt>
          <cx:pt idx="2063">42.371935483870978</cx:pt>
          <cx:pt idx="2064">42.419032258064519</cx:pt>
          <cx:pt idx="2065">42.421612903225814</cx:pt>
          <cx:pt idx="2066">42.421290322580646</cx:pt>
          <cx:pt idx="2067">42.512258064516125</cx:pt>
          <cx:pt idx="2068">42.431612903225805</cx:pt>
          <cx:pt idx="2069">42.452903225806452</cx:pt>
          <cx:pt idx="2070">42.412580645161299</cx:pt>
          <cx:pt idx="2071">42.391612903225813</cx:pt>
          <cx:pt idx="2072">42.3767741935484</cx:pt>
          <cx:pt idx="2073">42.382258064516137</cx:pt>
          <cx:pt idx="2074">42.383548387096788</cx:pt>
          <cx:pt idx="2075">42.465161290322591</cx:pt>
          <cx:pt idx="2076">42.524516129032257</cx:pt>
          <cx:pt idx="2077">42.500322580645161</cx:pt>
          <cx:pt idx="2078">42.618064516129024</cx:pt>
          <cx:pt idx="2079">42.605806451612899</cx:pt>
          <cx:pt idx="2080">42.634838709677425</cx:pt>
          <cx:pt idx="2081">42.632580645161298</cx:pt>
          <cx:pt idx="2082">42.531935483870974</cx:pt>
          <cx:pt idx="2083">42.447096774193554</cx:pt>
          <cx:pt idx="2084">42.482258064516138</cx:pt>
          <cx:pt idx="2085">42.380000000000003</cx:pt>
          <cx:pt idx="2086">42.339354838709667</cx:pt>
          <cx:pt idx="2087">42.337419354838694</cx:pt>
          <cx:pt idx="2088">42.273870967741921</cx:pt>
          <cx:pt idx="2089">42.293548387096763</cx:pt>
          <cx:pt idx="2090">42.382903225806437</cx:pt>
          <cx:pt idx="2091">42.332580645161272</cx:pt>
          <cx:pt idx="2092">42.364838709677407</cx:pt>
          <cx:pt idx="2093">42.318709677419349</cx:pt>
          <cx:pt idx="2094">42.296451612903226</cx:pt>
          <cx:pt idx="2095">42.237741935483875</cx:pt>
          <cx:pt idx="2096">42.260000000000005</cx:pt>
          <cx:pt idx="2097">42.272258064516137</cx:pt>
          <cx:pt idx="2098">42.181290322580665</cx:pt>
          <cx:pt idx="2099">42.23709677419356</cx:pt>
          <cx:pt idx="2100">42.178709677419363</cx:pt>
          <cx:pt idx="2101">42.222580645161294</cx:pt>
          <cx:pt idx="2102">42.254838709677422</cx:pt>
          <cx:pt idx="2103">42.243225806451605</cx:pt>
          <cx:pt idx="2104">42.213225806451611</cx:pt>
          <cx:pt idx="2105">42.131612903225808</cx:pt>
          <cx:pt idx="2106">42.135806451612908</cx:pt>
          <cx:pt idx="2107">42.08806451612903</cx:pt>
          <cx:pt idx="2108">42.112580645161287</cx:pt>
          <cx:pt idx="2109">42.090967741935479</cx:pt>
          <cx:pt idx="2110">42.043225806451609</cx:pt>
          <cx:pt idx="2111">42.04032258064516</cx:pt>
          <cx:pt idx="2112">41.992903225806451</cx:pt>
          <cx:pt idx="2113">42.085806451612896</cx:pt>
          <cx:pt idx="2114">42.181612903225805</cx:pt>
          <cx:pt idx="2115">42.099354838709672</cx:pt>
          <cx:pt idx="2116">42.127096774193554</cx:pt>
          <cx:pt idx="2117">42.173870967741948</cx:pt>
          <cx:pt idx="2118">42.140967741935484</cx:pt>
          <cx:pt idx="2119">42.162258064516131</cx:pt>
          <cx:pt idx="2120">42.109999999999999</cx:pt>
          <cx:pt idx="2121">42.051290322580648</cx:pt>
          <cx:pt idx="2122">42.081290322580649</cx:pt>
          <cx:pt idx="2123">42.150967741935496</cx:pt>
          <cx:pt idx="2124">42.128387096774205</cx:pt>
          <cx:pt idx="2125">42.15000000000002</cx:pt>
          <cx:pt idx="2126">42.211935483870981</cx:pt>
          <cx:pt idx="2127">42.159032258064528</cx:pt>
          <cx:pt idx="2128">42.135161290322593</cx:pt>
          <cx:pt idx="2129">42.253548387096778</cx:pt>
          <cx:pt idx="2130">42.230645161290326</cx:pt>
          <cx:pt idx="2131">42.205161290322579</cx:pt>
          <cx:pt idx="2132">42.155806451612904</cx:pt>
          <cx:pt idx="2133">42.170645161290317</cx:pt>
          <cx:pt idx="2134">42.199032258064506</cx:pt>
          <cx:pt idx="2135">42.214516129032248</cx:pt>
          <cx:pt idx="2136">42.198387096774184</cx:pt>
          <cx:pt idx="2137">42.216774193548382</cx:pt>
          <cx:pt idx="2138">42.283870967741926</cx:pt>
          <cx:pt idx="2139">42.257741935483871</cx:pt>
          <cx:pt idx="2140">42.173225806451619</cx:pt>
          <cx:pt idx="2141">42.126774193548393</cx:pt>
          <cx:pt idx="2142">42.10709677419355</cx:pt>
          <cx:pt idx="2143">42.155483870967757</cx:pt>
          <cx:pt idx="2144">42.131612903225815</cx:pt>
          <cx:pt idx="2145">42.078387096774193</cx:pt>
          <cx:pt idx="2146">42.191290322580649</cx:pt>
          <cx:pt idx="2147">42.16387096774195</cx:pt>
          <cx:pt idx="2148">42.108387096774194</cx:pt>
          <cx:pt idx="2149">42.193548387096783</cx:pt>
          <cx:pt idx="2150">42.185161290322597</cx:pt>
          <cx:pt idx="2151">42.200322580645171</cx:pt>
          <cx:pt idx="2152">42.16290322580646</cx:pt>
          <cx:pt idx="2153">42.217741935483872</cx:pt>
          <cx:pt idx="2154">42.208709677419357</cx:pt>
          <cx:pt idx="2155">42.287741935483879</cx:pt>
          <cx:pt idx="2156">42.260645161290327</cx:pt>
          <cx:pt idx="2157">42.203870967741942</cx:pt>
          <cx:pt idx="2158">42.190322580645166</cx:pt>
          <cx:pt idx="2159">42.274838709677418</cx:pt>
          <cx:pt idx="2160">42.244838709677417</cx:pt>
          <cx:pt idx="2161">42.203870967741928</cx:pt>
          <cx:pt idx="2162">42.183870967741932</cx:pt>
          <cx:pt idx="2163">42.273548387096767</cx:pt>
          <cx:pt idx="2164">42.285806451612899</cx:pt>
          <cx:pt idx="2165">42.258064516129025</cx:pt>
          <cx:pt idx="2166">42.201935483870962</cx:pt>
          <cx:pt idx="2167">42.206129032258062</cx:pt>
          <cx:pt idx="2168">42.174516129032256</cx:pt>
          <cx:pt idx="2169">42.164838709677412</cx:pt>
          <cx:pt idx="2170">42.258064516129025</cx:pt>
          <cx:pt idx="2171">42.350645161290309</cx:pt>
          <cx:pt idx="2172">42.429677419354832</cx:pt>
          <cx:pt idx="2173">42.373870967741922</cx:pt>
          <cx:pt idx="2174">42.290967741935482</cx:pt>
          <cx:pt idx="2175">42.319354838709678</cx:pt>
          <cx:pt idx="2176">42.379354838709688</cx:pt>
          <cx:pt idx="2177">42.386129032258069</cx:pt>
          <cx:pt idx="2178">42.442903225806454</cx:pt>
          <cx:pt idx="2179">42.460000000000001</cx:pt>
          <cx:pt idx="2180">42.384516129032264</cx:pt>
          <cx:pt idx="2181">42.345161290322579</cx:pt>
          <cx:pt idx="2182">42.284516129032255</cx:pt>
          <cx:pt idx="2183">42.368064516129024</cx:pt>
          <cx:pt idx="2184">42.283870967741933</cx:pt>
          <cx:pt idx="2185">42.192580645161293</cx:pt>
          <cx:pt idx="2186">42.146451612903228</cx:pt>
          <cx:pt idx="2187">42.153548387096777</cx:pt>
          <cx:pt idx="2188">42.109999999999992</cx:pt>
          <cx:pt idx="2189">42.059354838709673</cx:pt>
          <cx:pt idx="2190">42.058064516129029</cx:pt>
          <cx:pt idx="2191">42.041290322580643</cx:pt>
          <cx:pt idx="2192">42.117419354838702</cx:pt>
          <cx:pt idx="2193">42.212903225806457</cx:pt>
          <cx:pt idx="2194">42.200645161290325</cx:pt>
          <cx:pt idx="2195">42.174516129032263</cx:pt>
          <cx:pt idx="2196">42.194193548387098</cx:pt>
          <cx:pt idx="2197">42.270967741935479</cx:pt>
          <cx:pt idx="2198">42.328387096774193</cx:pt>
          <cx:pt idx="2199">42.315806451612907</cx:pt>
          <cx:pt idx="2200">42.264516129032259</cx:pt>
          <cx:pt idx="2201">42.270322580645164</cx:pt>
          <cx:pt idx="2202">42.270645161290318</cx:pt>
          <cx:pt idx="2203">42.282258064516128</cx:pt>
          <cx:pt idx="2204">42.234838709677412</cx:pt>
          <cx:pt idx="2205">42.307096774193546</cx:pt>
          <cx:pt idx="2206">42.214193548387101</cx:pt>
          <cx:pt idx="2207">42.133225806451613</cx:pt>
          <cx:pt idx="2208">42.094838709677418</cx:pt>
          <cx:pt idx="2209">42.063870967741934</cx:pt>
          <cx:pt idx="2210">42.014516129032266</cx:pt>
          <cx:pt idx="2211">42.063225806451612</cx:pt>
          <cx:pt idx="2212">42.105483870967738</cx:pt>
          <cx:pt idx="2213">42.123225806451607</cx:pt>
          <cx:pt idx="2214">42.058709677419351</cx:pt>
          <cx:pt idx="2215">42.143870967741925</cx:pt>
          <cx:pt idx="2216">42.193548387096762</cx:pt>
          <cx:pt idx="2217">42.115483870967722</cx:pt>
          <cx:pt idx="2218">42.156774193548372</cx:pt>
          <cx:pt idx="2219">42.207741935483853</cx:pt>
          <cx:pt idx="2220">42.237741935483854</cx:pt>
          <cx:pt idx="2221">42.201935483870962</cx:pt>
          <cx:pt idx="2222">42.180322580645154</cx:pt>
          <cx:pt idx="2223">41.9258064516129</cx:pt>
          <cx:pt idx="2224">41.730967741935473</cx:pt>
          <cx:pt idx="2225">41.511290322580635</cx:pt>
          <cx:pt idx="2226">41.65354838709677</cx:pt>
          <cx:pt idx="2227">41.605483870967731</cx:pt>
          <cx:pt idx="2228">41.451612903225801</cx:pt>
          <cx:pt idx="2229">41.430645161290322</cx:pt>
          <cx:pt idx="2230">41.345161290322572</cx:pt>
          <cx:pt idx="2231">41.368064516129031</cx:pt>
          <cx:pt idx="2232">41.398387096774194</cx:pt>
          <cx:pt idx="2233">41.4258064516129</cx:pt>
          <cx:pt idx="2234">41.506129032258066</cx:pt>
          <cx:pt idx="2235">41.426129032258061</cx:pt>
          <cx:pt idx="2236">41.460000000000001</cx:pt>
          <cx:pt idx="2237">41.330967741935474</cx:pt>
          <cx:pt idx="2238">41.34451612903225</cx:pt>
          <cx:pt idx="2239">41.169999999999995</cx:pt>
          <cx:pt idx="2240">40.981290322580641</cx:pt>
          <cx:pt idx="2241">40.970645161290328</cx:pt>
          <cx:pt idx="2242">40.824838709677422</cx:pt>
          <cx:pt idx="2243">40.782903225806457</cx:pt>
          <cx:pt idx="2244">40.65129032258065</cx:pt>
          <cx:pt idx="2245">40.731612903225809</cx:pt>
          <cx:pt idx="2246">40.473225806451609</cx:pt>
          <cx:pt idx="2247">40.319354838709671</cx:pt>
          <cx:pt idx="2248">40.48096774193548</cx:pt>
          <cx:pt idx="2249">40.439032258064515</cx:pt>
          <cx:pt idx="2250">40.469354838709677</cx:pt>
          <cx:pt idx="2251">40.473225806451616</cx:pt>
          <cx:pt idx="2252">40.511935483870964</cx:pt>
          <cx:pt idx="2253">20.468709677419358</cx:pt>
          <cx:pt idx="2254">21.79451612903226</cx:pt>
          <cx:pt idx="2255">23.162903225806453</cx:pt>
          <cx:pt idx="2256">24.495161290322581</cx:pt>
          <cx:pt idx="2257">25.825483870967744</cx:pt>
          <cx:pt idx="2258">27.183548387096774</cx:pt>
          <cx:pt idx="2259">28.497419354838712</cx:pt>
          <cx:pt idx="2260">29.837741935483873</cx:pt>
          <cx:pt idx="2261">31.203225806451616</cx:pt>
          <cx:pt idx="2262">32.588387096774191</cx:pt>
          <cx:pt idx="2263">33.889032258064518</cx:pt>
          <cx:pt idx="2264">35.196774193548386</cx:pt>
          <cx:pt idx="2265">36.489999999999995</cx:pt>
          <cx:pt idx="2266">37.823225806451603</cx:pt>
          <cx:pt idx="2267">39.203548387096767</cx:pt>
          <cx:pt idx="2268">40.581935483870957</cx:pt>
          <cx:pt idx="2269">41.951935483870962</cx:pt>
          <cx:pt idx="2270">41.951612903225808</cx:pt>
          <cx:pt idx="2271">41.89290322580645</cx:pt>
          <cx:pt idx="2272">41.876129032258056</cx:pt>
          <cx:pt idx="2273">41.894516129032262</cx:pt>
          <cx:pt idx="2274">41.908709677419353</cx:pt>
          <cx:pt idx="2275">42.003870967741932</cx:pt>
          <cx:pt idx="2276">41.967419354838718</cx:pt>
          <cx:pt idx="2277">42.052580645161292</cx:pt>
          <cx:pt idx="2278">42.129354838709695</cx:pt>
          <cx:pt idx="2279">42.15548387096775</cx:pt>
          <cx:pt idx="2280">42.189354838709683</cx:pt>
          <cx:pt idx="2281">42.170000000000009</cx:pt>
          <cx:pt idx="2282">42.100645161290331</cx:pt>
          <cx:pt idx="2283">42.013870967741944</cx:pt>
          <cx:pt idx="2284">41.98612903225807</cx:pt>
          <cx:pt idx="2285">41.981290322580648</cx:pt>
          <cx:pt idx="2286">42.026129032258069</cx:pt>
          <cx:pt idx="2287">41.989354838709687</cx:pt>
          <cx:pt idx="2288">41.956129032258076</cx:pt>
          <cx:pt idx="2289">41.952903225806459</cx:pt>
          <cx:pt idx="2290">41.937741935483878</cx:pt>
          <cx:pt idx="2291">41.981612903225809</cx:pt>
          <cx:pt idx="2292">41.917741935483875</cx:pt>
          <cx:pt idx="2293">41.862580645161287</cx:pt>
          <cx:pt idx="2294">41.95870967741935</cx:pt>
          <cx:pt idx="2295">41.994516129032263</cx:pt>
          <cx:pt idx="2296">41.997419354838712</cx:pt>
          <cx:pt idx="2297">42.006129032258059</cx:pt>
          <cx:pt idx="2298">41.998387096774188</cx:pt>
          <cx:pt idx="2299">42.006129032258059</cx:pt>
          <cx:pt idx="2300">42.022903225806459</cx:pt>
          <cx:pt idx="2301">42.030322580645155</cx:pt>
          <cx:pt idx="2302">42.096129032258055</cx:pt>
          <cx:pt idx="2303">42.149999999999999</cx:pt>
          <cx:pt idx="2304">42.148064516129033</cx:pt>
          <cx:pt idx="2305">42.07870967741934</cx:pt>
          <cx:pt idx="2306">42.094838709677411</cx:pt>
          <cx:pt idx="2307">42.062258064516122</cx:pt>
          <cx:pt idx="2308">42.021612903225808</cx:pt>
          <cx:pt idx="2309">41.910000000000004</cx:pt>
          <cx:pt idx="2310">41.808064516129036</cx:pt>
          <cx:pt idx="2311">41.784838709677423</cx:pt>
          <cx:pt idx="2312">41.771290322580647</cx:pt>
          <cx:pt idx="2313">41.729354838709682</cx:pt>
          <cx:pt idx="2314">41.740000000000002</cx:pt>
          <cx:pt idx="2315">41.762258064516132</cx:pt>
          <cx:pt idx="2316">41.758709677419354</cx:pt>
          <cx:pt idx="2317">41.756451612903227</cx:pt>
          <cx:pt idx="2318">41.755806451612898</cx:pt>
          <cx:pt idx="2319">41.848387096774182</cx:pt>
          <cx:pt idx="2320">41.801612903225802</cx:pt>
          <cx:pt idx="2321">41.814193548387095</cx:pt>
          <cx:pt idx="2322">41.7541935483871</cx:pt>
          <cx:pt idx="2323">41.846129032258062</cx:pt>
          <cx:pt idx="2324">41.927096774193551</cx:pt>
          <cx:pt idx="2325">41.90225806451614</cx:pt>
          <cx:pt idx="2326">41.858387096774194</cx:pt>
          <cx:pt idx="2327">41.857741935483872</cx:pt>
          <cx:pt idx="2328">41.822903225806449</cx:pt>
          <cx:pt idx="2329">41.789354838709677</cx:pt>
          <cx:pt idx="2330">41.783870967741933</cx:pt>
          <cx:pt idx="2331">41.700000000000003</cx:pt>
          <cx:pt idx="2332">41.671612903225814</cx:pt>
          <cx:pt idx="2333">41.643548387096779</cx:pt>
          <cx:pt idx="2334">41.67032258064517</cx:pt>
          <cx:pt idx="2335">41.623870967741944</cx:pt>
          <cx:pt idx="2336">41.604193548387101</cx:pt>
          <cx:pt idx="2337">41.564838709677417</cx:pt>
          <cx:pt idx="2338">41.537419354838711</cx:pt>
          <cx:pt idx="2339">41.557096774193539</cx:pt>
          <cx:pt idx="2340">41.598387096774189</cx:pt>
          <cx:pt idx="2341">41.629354838709666</cx:pt>
          <cx:pt idx="2342">41.629999999999988</cx:pt>
          <cx:pt idx="2343">41.621290322580641</cx:pt>
          <cx:pt idx="2344">41.729999999999997</cx:pt>
          <cx:pt idx="2345">41.733548387096775</cx:pt>
          <cx:pt idx="2346">41.781935483870967</cx:pt>
          <cx:pt idx="2347">41.851935483870967</cx:pt>
          <cx:pt idx="2348">41.852258064516136</cx:pt>
          <cx:pt idx="2349">41.906774193548401</cx:pt>
          <cx:pt idx="2350">41.920967741935485</cx:pt>
          <cx:pt idx="2351">41.967741935483872</cx:pt>
          <cx:pt idx="2352">42.000322580645161</cx:pt>
          <cx:pt idx="2353">42.028387096774203</cx:pt>
          <cx:pt idx="2354">41.958709677419357</cx:pt>
          <cx:pt idx="2355">41.862903225806456</cx:pt>
          <cx:pt idx="2356">41.832903225806454</cx:pt>
          <cx:pt idx="2357">41.855806451612906</cx:pt>
          <cx:pt idx="2358">41.918064516129036</cx:pt>
          <cx:pt idx="2359">42.004838709677415</cx:pt>
          <cx:pt idx="2360">41.983870967741929</cx:pt>
          <cx:pt idx="2361">41.965806451612899</cx:pt>
          <cx:pt idx="2362">42.033225806451604</cx:pt>
          <cx:pt idx="2363">42.035483870967731</cx:pt>
          <cx:pt idx="2364">42.046129032258058</cx:pt>
          <cx:pt idx="2365">42.035806451612899</cx:pt>
          <cx:pt idx="2366">42.048387096774185</cx:pt>
          <cx:pt idx="2367">42.108064516129026</cx:pt>
          <cx:pt idx="2368">42.042258064516126</cx:pt>
          <cx:pt idx="2369">42.10516129032257</cx:pt>
          <cx:pt idx="2370">42.068064516129027</cx:pt>
          <cx:pt idx="2371">42.087333333333326</cx:pt>
          <cx:pt idx="2372">42.104482758620691</cx:pt>
          <cx:pt idx="2373">42.132857142857141</cx:pt>
          <cx:pt idx="2374">42.14222222222223</cx:pt>
          <cx:pt idx="2375">42.081153846153853</cx:pt>
          <cx:pt idx="2376">42.096000000000004</cx:pt>
          <cx:pt idx="2377">42.090833333333343</cx:pt>
          <cx:pt idx="2378">42.050869565217397</cx:pt>
          <cx:pt idx="2379">41.973636363636366</cx:pt>
          <cx:pt idx="2380">41.980476190476189</cx:pt>
          <cx:pt idx="2381">41.903500000000008</cx:pt>
          <cx:pt idx="2382">41.898421052631583</cx:pt>
          <cx:pt idx="2383">41.911666666666669</cx:pt>
          <cx:pt idx="2384">41.911176470588238</cx:pt>
          <cx:pt idx="2385">41.965625000000003</cx:pt>
          <cx:pt idx="2386">42.045333333333332</cx:pt>
          <cx:pt idx="2387">42.07714285714286</cx:pt>
          <cx:pt idx="2388">42.160000000000004</cx:pt>
          <cx:pt idx="2389">42.165833333333332</cx:pt>
          <cx:pt idx="2390">42.07090909090909</cx:pt>
          <cx:pt idx="2391">42.191999999999993</cx:pt>
          <cx:pt idx="2392">42.18666666666666</cx:pt>
          <cx:pt idx="2393">42.149999999999999</cx:pt>
          <cx:pt idx="2394">42.132857142857141</cx:pt>
          <cx:pt idx="2395">42.101666666666667</cx:pt>
          <cx:pt idx="2396">41.892000000000003</cx:pt>
          <cx:pt idx="2397">41.962500000000006</cx:pt>
          <cx:pt idx="2398">41.836666666666666</cx:pt>
          <cx:pt idx="2399">42.414999999999999</cx:pt>
          <cx:pt idx="2400">41.960000000000001</cx:pt>
        </cx:lvl>
      </cx:numDim>
    </cx:data>
    <cx:data id="2">
      <cx:numDim type="val">
        <cx:f>Sheet2!$C$2461:$C$4861</cx:f>
        <cx:lvl ptCount="2401" formatCode="#,##0.00">
          <cx:pt idx="0">88.935483870967744</cx:pt>
          <cx:pt idx="1">88.387096774193552</cx:pt>
          <cx:pt idx="2">88.548387096774192</cx:pt>
          <cx:pt idx="3">89.032258064516128</cx:pt>
          <cx:pt idx="4">88.967741935483872</cx:pt>
          <cx:pt idx="5">88.967741935483872</cx:pt>
          <cx:pt idx="6">88.806451612903231</cx:pt>
          <cx:pt idx="7">88.741935483870961</cx:pt>
          <cx:pt idx="8">88.193548387096769</cx:pt>
          <cx:pt idx="9">87.870967741935488</cx:pt>
          <cx:pt idx="10">88.064516129032256</cx:pt>
          <cx:pt idx="11">87.935483870967744</cx:pt>
          <cx:pt idx="12">88.290322580645167</cx:pt>
          <cx:pt idx="13">88.677419354838705</cx:pt>
          <cx:pt idx="14">88.870967741935488</cx:pt>
          <cx:pt idx="15">88.903225806451616</cx:pt>
          <cx:pt idx="16">89.161290322580641</cx:pt>
          <cx:pt idx="17">89.354838709677423</cx:pt>
          <cx:pt idx="18">89.290322580645167</cx:pt>
          <cx:pt idx="19">89.096774193548384</cx:pt>
          <cx:pt idx="20">89.032258064516128</cx:pt>
          <cx:pt idx="21">88.935483870967744</cx:pt>
          <cx:pt idx="22">88.709677419354833</cx:pt>
          <cx:pt idx="23">88.516129032258064</cx:pt>
          <cx:pt idx="24">88.612903225806448</cx:pt>
          <cx:pt idx="25">88.096774193548384</cx:pt>
          <cx:pt idx="26">88.58064516129032</cx:pt>
          <cx:pt idx="27">88.322580645161295</cx:pt>
          <cx:pt idx="28">88.451612903225808</cx:pt>
          <cx:pt idx="29">87.903225806451616</cx:pt>
          <cx:pt idx="30">87.935483870967744</cx:pt>
          <cx:pt idx="31">87.41935483870968</cx:pt>
          <cx:pt idx="32">87.58064516129032</cx:pt>
          <cx:pt idx="33">87.290322580645167</cx:pt>
          <cx:pt idx="34">87.451612903225808</cx:pt>
          <cx:pt idx="35">87.41935483870968</cx:pt>
          <cx:pt idx="36">87.354838709677423</cx:pt>
          <cx:pt idx="37">87.354838709677423</cx:pt>
          <cx:pt idx="38">87.709677419354833</cx:pt>
          <cx:pt idx="39">87.806451612903231</cx:pt>
          <cx:pt idx="40">87.935483870967744</cx:pt>
          <cx:pt idx="41">87.741935483870961</cx:pt>
          <cx:pt idx="42">87.870967741935488</cx:pt>
          <cx:pt idx="43">87.483870967741936</cx:pt>
          <cx:pt idx="44">87.225806451612897</cx:pt>
          <cx:pt idx="45">87.129032258064512</cx:pt>
          <cx:pt idx="46">86.838709677419359</cx:pt>
          <cx:pt idx="47">86.483870967741936</cx:pt>
          <cx:pt idx="48">86.451612903225808</cx:pt>
          <cx:pt idx="49">86.225806451612897</cx:pt>
          <cx:pt idx="50">86.58064516129032</cx:pt>
          <cx:pt idx="51">87.193548387096769</cx:pt>
          <cx:pt idx="52">87.064516129032256</cx:pt>
          <cx:pt idx="53">87.129032258064512</cx:pt>
          <cx:pt idx="54">87.612903225806448</cx:pt>
          <cx:pt idx="55">87.709677419354833</cx:pt>
          <cx:pt idx="56">88.096774193548384</cx:pt>
          <cx:pt idx="57">87.838709677419359</cx:pt>
          <cx:pt idx="58">88.064516129032256</cx:pt>
          <cx:pt idx="59">88.387096774193552</cx:pt>
          <cx:pt idx="60">88.645161290322577</cx:pt>
          <cx:pt idx="61">88.645161290322577</cx:pt>
          <cx:pt idx="62">88.903225806451616</cx:pt>
          <cx:pt idx="63">89.064516129032256</cx:pt>
          <cx:pt idx="64">89.290322580645167</cx:pt>
          <cx:pt idx="65">88.806451612903231</cx:pt>
          <cx:pt idx="66">88.935483870967744</cx:pt>
          <cx:pt idx="67">89.064516129032256</cx:pt>
          <cx:pt idx="68">89.258064516129039</cx:pt>
          <cx:pt idx="69">88.935483870967744</cx:pt>
          <cx:pt idx="70">89.354838709677423</cx:pt>
          <cx:pt idx="71">89.838709677419359</cx:pt>
          <cx:pt idx="72">90.193548387096769</cx:pt>
          <cx:pt idx="73">90.451612903225808</cx:pt>
          <cx:pt idx="74">90.516129032258064</cx:pt>
          <cx:pt idx="75">90.774193548387103</cx:pt>
          <cx:pt idx="76">90.935483870967744</cx:pt>
          <cx:pt idx="77">91.290322580645167</cx:pt>
          <cx:pt idx="78">91.354838709677423</cx:pt>
          <cx:pt idx="79">91.129032258064512</cx:pt>
          <cx:pt idx="80">91.645161290322577</cx:pt>
          <cx:pt idx="81">91.838709677419359</cx:pt>
          <cx:pt idx="82">91.483870967741936</cx:pt>
          <cx:pt idx="83">91.838709677419359</cx:pt>
          <cx:pt idx="84">91.709677419354833</cx:pt>
          <cx:pt idx="85">91.645161290322577</cx:pt>
          <cx:pt idx="86">91.451612903225808</cx:pt>
          <cx:pt idx="87">91.645161290322577</cx:pt>
          <cx:pt idx="88">91.806451612903231</cx:pt>
          <cx:pt idx="89">91.677419354838705</cx:pt>
          <cx:pt idx="90">91.645161290322577</cx:pt>
          <cx:pt idx="91">91.806451612903231</cx:pt>
          <cx:pt idx="92">91.451612903225808</cx:pt>
          <cx:pt idx="93">91.193548387096769</cx:pt>
          <cx:pt idx="94">91.096774193548384</cx:pt>
          <cx:pt idx="95">90.645161290322577</cx:pt>
          <cx:pt idx="96">90.774193548387103</cx:pt>
          <cx:pt idx="97">91.032258064516128</cx:pt>
          <cx:pt idx="98">91.096774193548384</cx:pt>
          <cx:pt idx="99">91.193548387096769</cx:pt>
          <cx:pt idx="100">91.161290322580641</cx:pt>
          <cx:pt idx="101">90.612903225806448</cx:pt>
          <cx:pt idx="102">90.41935483870968</cx:pt>
          <cx:pt idx="103">90.096774193548384</cx:pt>
          <cx:pt idx="104">90.225806451612897</cx:pt>
          <cx:pt idx="105">90.451612903225808</cx:pt>
          <cx:pt idx="106">90.387096774193552</cx:pt>
          <cx:pt idx="107">89.935483870967744</cx:pt>
          <cx:pt idx="108">89.903225806451616</cx:pt>
          <cx:pt idx="109">90.258064516129039</cx:pt>
          <cx:pt idx="110">90.193548387096769</cx:pt>
          <cx:pt idx="111">90.258064516129039</cx:pt>
          <cx:pt idx="112">90.096774193548384</cx:pt>
          <cx:pt idx="113">90.225806451612897</cx:pt>
          <cx:pt idx="114">90.032258064516128</cx:pt>
          <cx:pt idx="115">90.193548387096769</cx:pt>
          <cx:pt idx="116">89.806451612903231</cx:pt>
          <cx:pt idx="117">90.129032258064512</cx:pt>
          <cx:pt idx="118">89.548387096774192</cx:pt>
          <cx:pt idx="119">89.516129032258064</cx:pt>
          <cx:pt idx="120">89.258064516129039</cx:pt>
          <cx:pt idx="121">89.096774193548384</cx:pt>
          <cx:pt idx="122">88.838709677419359</cx:pt>
          <cx:pt idx="123">89</cx:pt>
          <cx:pt idx="124">89.129032258064512</cx:pt>
          <cx:pt idx="125">89.225806451612897</cx:pt>
          <cx:pt idx="126">89.516129032258064</cx:pt>
          <cx:pt idx="127">89.870967741935488</cx:pt>
          <cx:pt idx="128">89.548387096774192</cx:pt>
          <cx:pt idx="129">89.612903225806448</cx:pt>
          <cx:pt idx="130">89.645161290322577</cx:pt>
          <cx:pt idx="131">89.612903225806448</cx:pt>
          <cx:pt idx="132">89.838709677419359</cx:pt>
          <cx:pt idx="133">89.903225806451616</cx:pt>
          <cx:pt idx="134">89.967741935483872</cx:pt>
          <cx:pt idx="135">89.58064516129032</cx:pt>
          <cx:pt idx="136">89.548387096774192</cx:pt>
          <cx:pt idx="137">89.193548387096769</cx:pt>
          <cx:pt idx="138">89.58064516129032</cx:pt>
          <cx:pt idx="139">89.483870967741936</cx:pt>
          <cx:pt idx="140">89.096774193548384</cx:pt>
          <cx:pt idx="141">89.41935483870968</cx:pt>
          <cx:pt idx="142">88.806451612903231</cx:pt>
          <cx:pt idx="143">88.451612903225808</cx:pt>
          <cx:pt idx="144">88.548387096774192</cx:pt>
          <cx:pt idx="145">88.41935483870968</cx:pt>
          <cx:pt idx="146">88.322580645161295</cx:pt>
          <cx:pt idx="147">88.516129032258064</cx:pt>
          <cx:pt idx="148">88.225806451612897</cx:pt>
          <cx:pt idx="149">88.58064516129032</cx:pt>
          <cx:pt idx="150">88.516129032258064</cx:pt>
          <cx:pt idx="151">88.645161290322577</cx:pt>
          <cx:pt idx="152">88.935483870967744</cx:pt>
          <cx:pt idx="153">89.354838709677423</cx:pt>
          <cx:pt idx="154">89.451612903225808</cx:pt>
          <cx:pt idx="155">89.41935483870968</cx:pt>
          <cx:pt idx="156">89.677419354838705</cx:pt>
          <cx:pt idx="157">89.935483870967744</cx:pt>
          <cx:pt idx="158">89.806451612903231</cx:pt>
          <cx:pt idx="159">90.064516129032256</cx:pt>
          <cx:pt idx="160">89.870967741935488</cx:pt>
          <cx:pt idx="161">89.322580645161295</cx:pt>
          <cx:pt idx="162">89.483870967741936</cx:pt>
          <cx:pt idx="163">89.774193548387103</cx:pt>
          <cx:pt idx="164">89.58064516129032</cx:pt>
          <cx:pt idx="165">89.806451612903231</cx:pt>
          <cx:pt idx="166">89.677419354838705</cx:pt>
          <cx:pt idx="167">89.870967741935488</cx:pt>
          <cx:pt idx="168">90.225806451612897</cx:pt>
          <cx:pt idx="169">90.129032258064512</cx:pt>
          <cx:pt idx="170">90.193548387096769</cx:pt>
          <cx:pt idx="171">90.483870967741936</cx:pt>
          <cx:pt idx="172">90</cx:pt>
          <cx:pt idx="173">90.548387096774192</cx:pt>
          <cx:pt idx="174">91</cx:pt>
          <cx:pt idx="175">90.806451612903231</cx:pt>
          <cx:pt idx="176">90.935483870967744</cx:pt>
          <cx:pt idx="177">90.903225806451616</cx:pt>
          <cx:pt idx="178">91.032258064516128</cx:pt>
          <cx:pt idx="179">91.096774193548384</cx:pt>
          <cx:pt idx="180">90.709677419354833</cx:pt>
          <cx:pt idx="181">90.451612903225808</cx:pt>
          <cx:pt idx="182">90.161290322580641</cx:pt>
          <cx:pt idx="183">89.806451612903231</cx:pt>
          <cx:pt idx="184">89.322580645161295</cx:pt>
          <cx:pt idx="185">89.032258064516128</cx:pt>
          <cx:pt idx="186">88.967741935483872</cx:pt>
          <cx:pt idx="187">88.451612903225808</cx:pt>
          <cx:pt idx="188">88.032258064516128</cx:pt>
          <cx:pt idx="189">88.161290322580641</cx:pt>
          <cx:pt idx="190">88.290322580645167</cx:pt>
          <cx:pt idx="191">87.967741935483872</cx:pt>
          <cx:pt idx="192">88.290322580645167</cx:pt>
          <cx:pt idx="193">88.096774193548384</cx:pt>
          <cx:pt idx="194">87.774193548387103</cx:pt>
          <cx:pt idx="195">87.870967741935488</cx:pt>
          <cx:pt idx="196">87.935483870967744</cx:pt>
          <cx:pt idx="197">87.903225806451616</cx:pt>
          <cx:pt idx="198">88</cx:pt>
          <cx:pt idx="199">87.838709677419359</cx:pt>
          <cx:pt idx="200">87.967741935483872</cx:pt>
          <cx:pt idx="201">88.064516129032256</cx:pt>
          <cx:pt idx="202">88</cx:pt>
          <cx:pt idx="203">88.483870967741936</cx:pt>
          <cx:pt idx="204">88.322580645161295</cx:pt>
          <cx:pt idx="205">87.935483870967744</cx:pt>
          <cx:pt idx="206">87.741935483870961</cx:pt>
          <cx:pt idx="207">87.935483870967744</cx:pt>
          <cx:pt idx="208">88.354838709677423</cx:pt>
          <cx:pt idx="209">88.161290322580641</cx:pt>
          <cx:pt idx="210">88.129032258064512</cx:pt>
          <cx:pt idx="211">88.387096774193552</cx:pt>
          <cx:pt idx="212">88.709677419354833</cx:pt>
          <cx:pt idx="213">89.258064516129039</cx:pt>
          <cx:pt idx="214">89.612903225806448</cx:pt>
          <cx:pt idx="215">90.290322580645167</cx:pt>
          <cx:pt idx="216">90.967741935483872</cx:pt>
          <cx:pt idx="217">91.516129032258064</cx:pt>
          <cx:pt idx="218">92.161290322580641</cx:pt>
          <cx:pt idx="219">92.548387096774192</cx:pt>
          <cx:pt idx="220">92.483870967741936</cx:pt>
          <cx:pt idx="221">92.612903225806448</cx:pt>
          <cx:pt idx="222">93.161290322580641</cx:pt>
          <cx:pt idx="223">93.483870967741936</cx:pt>
          <cx:pt idx="224">94.064516129032256</cx:pt>
          <cx:pt idx="225">94.516129032258064</cx:pt>
          <cx:pt idx="226">94.677419354838705</cx:pt>
          <cx:pt idx="227">94.774193548387103</cx:pt>
          <cx:pt idx="228">95.483870967741936</cx:pt>
          <cx:pt idx="229">95.516129032258064</cx:pt>
          <cx:pt idx="230">95.903225806451616</cx:pt>
          <cx:pt idx="231">96.129032258064512</cx:pt>
          <cx:pt idx="232">96.193548387096769</cx:pt>
          <cx:pt idx="233">96.483870967741936</cx:pt>
          <cx:pt idx="234">96.451612903225808</cx:pt>
          <cx:pt idx="235">96.806451612903231</cx:pt>
          <cx:pt idx="236">97.322580645161295</cx:pt>
          <cx:pt idx="237">97.903225806451616</cx:pt>
          <cx:pt idx="238">98.064516129032256</cx:pt>
          <cx:pt idx="239">97.967741935483872</cx:pt>
          <cx:pt idx="240">98.451612903225808</cx:pt>
          <cx:pt idx="241">98.806451612903231</cx:pt>
          <cx:pt idx="242">99.322580645161295</cx:pt>
          <cx:pt idx="243">99.677419354838705</cx:pt>
          <cx:pt idx="244">99.935483870967744</cx:pt>
          <cx:pt idx="245">99.903225806451616</cx:pt>
          <cx:pt idx="246">99.645161290322577</cx:pt>
          <cx:pt idx="247">99.451612903225808</cx:pt>
          <cx:pt idx="248">99.41935483870968</cx:pt>
          <cx:pt idx="249">99.193548387096769</cx:pt>
          <cx:pt idx="250">99.290322580645167</cx:pt>
          <cx:pt idx="251">99.387096774193552</cx:pt>
          <cx:pt idx="252">99.354838709677423</cx:pt>
          <cx:pt idx="253">99.41935483870968</cx:pt>
          <cx:pt idx="254">99.483870967741936</cx:pt>
          <cx:pt idx="255">99.322580645161295</cx:pt>
          <cx:pt idx="256">99.225806451612897</cx:pt>
          <cx:pt idx="257">98.935483870967744</cx:pt>
          <cx:pt idx="258">98.645161290322577</cx:pt>
          <cx:pt idx="259">98.032258064516128</cx:pt>
          <cx:pt idx="260">97.677419354838705</cx:pt>
          <cx:pt idx="261">97.41935483870968</cx:pt>
          <cx:pt idx="262">97.258064516129039</cx:pt>
          <cx:pt idx="263">96.870967741935488</cx:pt>
          <cx:pt idx="264">96.41935483870968</cx:pt>
          <cx:pt idx="265">96.483870967741936</cx:pt>
          <cx:pt idx="266">96.032258064516128</cx:pt>
          <cx:pt idx="267">95.516129032258064</cx:pt>
          <cx:pt idx="268">94.967741935483872</cx:pt>
          <cx:pt idx="269">94.677419354838705</cx:pt>
          <cx:pt idx="270">94.354838709677423</cx:pt>
          <cx:pt idx="271">94.129032258064512</cx:pt>
          <cx:pt idx="272">94</cx:pt>
          <cx:pt idx="273">93.290322580645167</cx:pt>
          <cx:pt idx="274">92.677419354838705</cx:pt>
          <cx:pt idx="275">92.225806451612897</cx:pt>
          <cx:pt idx="276">91.870967741935488</cx:pt>
          <cx:pt idx="277">91.612903225806448</cx:pt>
          <cx:pt idx="278">91.741935483870961</cx:pt>
          <cx:pt idx="279">91.483870967741936</cx:pt>
          <cx:pt idx="280">91.322580645161295</cx:pt>
          <cx:pt idx="281">90.967741935483872</cx:pt>
          <cx:pt idx="282">90.741935483870961</cx:pt>
          <cx:pt idx="283">90.58064516129032</cx:pt>
          <cx:pt idx="284">90.258064516129039</cx:pt>
          <cx:pt idx="285">90.096774193548384</cx:pt>
          <cx:pt idx="286">89.612903225806448</cx:pt>
          <cx:pt idx="287">89.612903225806448</cx:pt>
          <cx:pt idx="288">89.838709677419359</cx:pt>
          <cx:pt idx="289">89.677419354838705</cx:pt>
          <cx:pt idx="290">89.774193548387103</cx:pt>
          <cx:pt idx="291">89.774193548387103</cx:pt>
          <cx:pt idx="292">90</cx:pt>
          <cx:pt idx="293">89.903225806451616</cx:pt>
          <cx:pt idx="294">90.258064516129039</cx:pt>
          <cx:pt idx="295">90.290322580645167</cx:pt>
          <cx:pt idx="296">90.032258064516128</cx:pt>
          <cx:pt idx="297">90.064516129032256</cx:pt>
          <cx:pt idx="298">90.258064516129039</cx:pt>
          <cx:pt idx="299">90.741935483870961</cx:pt>
          <cx:pt idx="300">90.967741935483872</cx:pt>
          <cx:pt idx="301">90.967741935483872</cx:pt>
          <cx:pt idx="302">90.516129032258064</cx:pt>
          <cx:pt idx="303">90.516129032258064</cx:pt>
          <cx:pt idx="304">91.032258064516128</cx:pt>
          <cx:pt idx="305">91.129032258064512</cx:pt>
          <cx:pt idx="306">90.935483870967744</cx:pt>
          <cx:pt idx="307">91.161290322580641</cx:pt>
          <cx:pt idx="308">91.516129032258064</cx:pt>
          <cx:pt idx="309">91.451612903225808</cx:pt>
          <cx:pt idx="310">91.58064516129032</cx:pt>
          <cx:pt idx="311">91.838709677419359</cx:pt>
          <cx:pt idx="312">91.774193548387103</cx:pt>
          <cx:pt idx="313">91.387096774193552</cx:pt>
          <cx:pt idx="314">91.41935483870968</cx:pt>
          <cx:pt idx="315">91.741935483870961</cx:pt>
          <cx:pt idx="316">91.58064516129032</cx:pt>
          <cx:pt idx="317">92.096774193548384</cx:pt>
          <cx:pt idx="318">92.064516129032256</cx:pt>
          <cx:pt idx="319">91.645161290322577</cx:pt>
          <cx:pt idx="320">91.935483870967744</cx:pt>
          <cx:pt idx="321">91.741935483870961</cx:pt>
          <cx:pt idx="322">91.612903225806448</cx:pt>
          <cx:pt idx="323">91.709677419354833</cx:pt>
          <cx:pt idx="324">91.483870967741936</cx:pt>
          <cx:pt idx="325">91.096774193548384</cx:pt>
          <cx:pt idx="326">90.935483870967744</cx:pt>
          <cx:pt idx="327">90.645161290322577</cx:pt>
          <cx:pt idx="328">90.483870967741936</cx:pt>
          <cx:pt idx="329">90.774193548387103</cx:pt>
          <cx:pt idx="330">90.709677419354833</cx:pt>
          <cx:pt idx="331">90.258064516129039</cx:pt>
          <cx:pt idx="332">90.322580645161295</cx:pt>
          <cx:pt idx="333">90.290322580645167</cx:pt>
          <cx:pt idx="334">90.290322580645167</cx:pt>
          <cx:pt idx="335">90.354838709677423</cx:pt>
          <cx:pt idx="336">90.58064516129032</cx:pt>
          <cx:pt idx="337">91</cx:pt>
          <cx:pt idx="338">90.709677419354833</cx:pt>
          <cx:pt idx="339">90.709677419354833</cx:pt>
          <cx:pt idx="340">90.58064516129032</cx:pt>
          <cx:pt idx="341">90.741935483870961</cx:pt>
          <cx:pt idx="342">90.516129032258064</cx:pt>
          <cx:pt idx="343">90.58064516129032</cx:pt>
          <cx:pt idx="344">90.935483870967744</cx:pt>
          <cx:pt idx="345">90.838709677419359</cx:pt>
          <cx:pt idx="346">90.387096774193552</cx:pt>
          <cx:pt idx="347">90</cx:pt>
          <cx:pt idx="348">89.709677419354833</cx:pt>
          <cx:pt idx="349">89.387096774193552</cx:pt>
          <cx:pt idx="350">89.903225806451616</cx:pt>
          <cx:pt idx="351">90.032258064516128</cx:pt>
          <cx:pt idx="352">90.612903225806448</cx:pt>
          <cx:pt idx="353">90.967741935483872</cx:pt>
          <cx:pt idx="354">90.451612903225808</cx:pt>
          <cx:pt idx="355">90.322580645161295</cx:pt>
          <cx:pt idx="356">90.516129032258064</cx:pt>
          <cx:pt idx="357">90.451612903225808</cx:pt>
          <cx:pt idx="358">90.483870967741936</cx:pt>
          <cx:pt idx="359">90.645161290322577</cx:pt>
          <cx:pt idx="360">90.322580645161295</cx:pt>
          <cx:pt idx="361">89.741935483870961</cx:pt>
          <cx:pt idx="362">89.612903225806448</cx:pt>
          <cx:pt idx="363">89.483870967741936</cx:pt>
          <cx:pt idx="364">89.548387096774192</cx:pt>
          <cx:pt idx="365">89.483870967741936</cx:pt>
          <cx:pt idx="366">89.483870967741936</cx:pt>
          <cx:pt idx="367">89.451612903225808</cx:pt>
          <cx:pt idx="368">89.322580645161295</cx:pt>
          <cx:pt idx="369">89.806451612903231</cx:pt>
          <cx:pt idx="370">89.483870967741936</cx:pt>
          <cx:pt idx="371">89.290322580645167</cx:pt>
          <cx:pt idx="372">88.903225806451616</cx:pt>
          <cx:pt idx="373">88.903225806451616</cx:pt>
          <cx:pt idx="374">89.258064516129039</cx:pt>
          <cx:pt idx="375">88.838709677419359</cx:pt>
          <cx:pt idx="376">88.516129032258064</cx:pt>
          <cx:pt idx="377">88.387096774193552</cx:pt>
          <cx:pt idx="378">88.58064516129032</cx:pt>
          <cx:pt idx="379">88.806451612903231</cx:pt>
          <cx:pt idx="380">88.935483870967744</cx:pt>
          <cx:pt idx="381">88.903225806451616</cx:pt>
          <cx:pt idx="382">88.387096774193552</cx:pt>
          <cx:pt idx="383">88</cx:pt>
          <cx:pt idx="384">88.129032258064512</cx:pt>
          <cx:pt idx="385">88.193548387096769</cx:pt>
          <cx:pt idx="386">88.096774193548384</cx:pt>
          <cx:pt idx="387">87.838709677419359</cx:pt>
          <cx:pt idx="388">87.903225806451616</cx:pt>
          <cx:pt idx="389">88.451612903225808</cx:pt>
          <cx:pt idx="390">88.129032258064512</cx:pt>
          <cx:pt idx="391">87.870967741935488</cx:pt>
          <cx:pt idx="392">88.516129032258064</cx:pt>
          <cx:pt idx="393">89.161290322580641</cx:pt>
          <cx:pt idx="394">89.709677419354833</cx:pt>
          <cx:pt idx="395">90.161290322580641</cx:pt>
          <cx:pt idx="396">90.322580645161295</cx:pt>
          <cx:pt idx="397">89.903225806451616</cx:pt>
          <cx:pt idx="398">90</cx:pt>
          <cx:pt idx="399">89.645161290322577</cx:pt>
          <cx:pt idx="400">89.258064516129039</cx:pt>
          <cx:pt idx="401">89.161290322580641</cx:pt>
          <cx:pt idx="402">89.129032258064512</cx:pt>
          <cx:pt idx="403">89.387096774193552</cx:pt>
          <cx:pt idx="404">89.129032258064512</cx:pt>
          <cx:pt idx="405">88.774193548387103</cx:pt>
          <cx:pt idx="406">89.290322580645167</cx:pt>
          <cx:pt idx="407">89.806451612903231</cx:pt>
          <cx:pt idx="408">90.258064516129039</cx:pt>
          <cx:pt idx="409">90.322580645161295</cx:pt>
          <cx:pt idx="410">90.193548387096769</cx:pt>
          <cx:pt idx="411">89.903225806451616</cx:pt>
          <cx:pt idx="412">89.709677419354833</cx:pt>
          <cx:pt idx="413">90</cx:pt>
          <cx:pt idx="414">90.354838709677423</cx:pt>
          <cx:pt idx="415">89.903225806451616</cx:pt>
          <cx:pt idx="416">90.290322580645167</cx:pt>
          <cx:pt idx="417">90.41935483870968</cx:pt>
          <cx:pt idx="418">90.870967741935488</cx:pt>
          <cx:pt idx="419">90.741935483870961</cx:pt>
          <cx:pt idx="420">90.193548387096769</cx:pt>
          <cx:pt idx="421">90.645161290322577</cx:pt>
          <cx:pt idx="422">90.741935483870961</cx:pt>
          <cx:pt idx="423">90.258064516129039</cx:pt>
          <cx:pt idx="424">89.870967741935488</cx:pt>
          <cx:pt idx="425">89.225806451612897</cx:pt>
          <cx:pt idx="426">88.903225806451616</cx:pt>
          <cx:pt idx="427">88.903225806451616</cx:pt>
          <cx:pt idx="428">88.903225806451616</cx:pt>
          <cx:pt idx="429">88.967741935483872</cx:pt>
          <cx:pt idx="430">88.935483870967744</cx:pt>
          <cx:pt idx="431">88.677419354838705</cx:pt>
          <cx:pt idx="432">88.483870967741936</cx:pt>
          <cx:pt idx="433">88.870967741935488</cx:pt>
          <cx:pt idx="434">89</cx:pt>
          <cx:pt idx="435">89.290322580645167</cx:pt>
          <cx:pt idx="436">89.161290322580641</cx:pt>
          <cx:pt idx="437">88.645161290322577</cx:pt>
          <cx:pt idx="438">88.741935483870961</cx:pt>
          <cx:pt idx="439">88.322580645161295</cx:pt>
          <cx:pt idx="440">88.387096774193552</cx:pt>
          <cx:pt idx="441">88.41935483870968</cx:pt>
          <cx:pt idx="442">88.677419354838705</cx:pt>
          <cx:pt idx="443">88.709677419354833</cx:pt>
          <cx:pt idx="444">88.451612903225808</cx:pt>
          <cx:pt idx="445">87.903225806451616</cx:pt>
          <cx:pt idx="446">88.129032258064512</cx:pt>
          <cx:pt idx="447">87.645161290322577</cx:pt>
          <cx:pt idx="448">87.967741935483872</cx:pt>
          <cx:pt idx="449">87.709677419354833</cx:pt>
          <cx:pt idx="450">88.354838709677423</cx:pt>
          <cx:pt idx="451">88.322580645161295</cx:pt>
          <cx:pt idx="452">87.935483870967744</cx:pt>
          <cx:pt idx="453">87.870967741935488</cx:pt>
          <cx:pt idx="454">88.322580645161295</cx:pt>
          <cx:pt idx="455">88.709677419354833</cx:pt>
          <cx:pt idx="456">89.129032258064512</cx:pt>
          <cx:pt idx="457">89.516129032258064</cx:pt>
          <cx:pt idx="458">89.290322580645167</cx:pt>
          <cx:pt idx="459">89.387096774193552</cx:pt>
          <cx:pt idx="460">88.741935483870961</cx:pt>
          <cx:pt idx="461">88.741935483870961</cx:pt>
          <cx:pt idx="462">88.741935483870961</cx:pt>
          <cx:pt idx="463">88.903225806451616</cx:pt>
          <cx:pt idx="464">88.483870967741936</cx:pt>
          <cx:pt idx="465">88.41935483870968</cx:pt>
          <cx:pt idx="466">88.225806451612897</cx:pt>
          <cx:pt idx="467">88.645161290322577</cx:pt>
          <cx:pt idx="468">88.677419354838705</cx:pt>
          <cx:pt idx="469">88.258064516129039</cx:pt>
          <cx:pt idx="470">88.516129032258064</cx:pt>
          <cx:pt idx="471">88.290322580645167</cx:pt>
          <cx:pt idx="472">88.451612903225808</cx:pt>
          <cx:pt idx="473">88.741935483870961</cx:pt>
          <cx:pt idx="474">88.838709677419359</cx:pt>
          <cx:pt idx="475">89.096774193548384</cx:pt>
          <cx:pt idx="476">89.451612903225808</cx:pt>
          <cx:pt idx="477">89.677419354838705</cx:pt>
          <cx:pt idx="478">89.741935483870961</cx:pt>
          <cx:pt idx="479">89.709677419354833</cx:pt>
          <cx:pt idx="480">89.806451612903231</cx:pt>
          <cx:pt idx="481">89.354838709677423</cx:pt>
          <cx:pt idx="482">89.645161290322577</cx:pt>
          <cx:pt idx="483">90.193548387096769</cx:pt>
          <cx:pt idx="484">90.709677419354833</cx:pt>
          <cx:pt idx="485">90.612903225806448</cx:pt>
          <cx:pt idx="486">90.387096774193552</cx:pt>
          <cx:pt idx="487">90.516129032258064</cx:pt>
          <cx:pt idx="488">90.064516129032256</cx:pt>
          <cx:pt idx="489">90.258064516129039</cx:pt>
          <cx:pt idx="490">90.58064516129032</cx:pt>
          <cx:pt idx="491">90.935483870967744</cx:pt>
          <cx:pt idx="492">91.161290322580641</cx:pt>
          <cx:pt idx="493">91.322580645161295</cx:pt>
          <cx:pt idx="494">91.58064516129032</cx:pt>
          <cx:pt idx="495">91.645161290322577</cx:pt>
          <cx:pt idx="496">91.161290322580641</cx:pt>
          <cx:pt idx="497">91.258064516129039</cx:pt>
          <cx:pt idx="498">91.161290322580641</cx:pt>
          <cx:pt idx="499">91.258064516129039</cx:pt>
          <cx:pt idx="500">91.193548387096769</cx:pt>
          <cx:pt idx="501">91.354838709677423</cx:pt>
          <cx:pt idx="502">91.709677419354833</cx:pt>
          <cx:pt idx="503">91.58064516129032</cx:pt>
          <cx:pt idx="504">91.645161290322577</cx:pt>
          <cx:pt idx="505">91.225806451612897</cx:pt>
          <cx:pt idx="506">91.548387096774192</cx:pt>
          <cx:pt idx="507">91.806451612903231</cx:pt>
          <cx:pt idx="508">91.677419354838705</cx:pt>
          <cx:pt idx="509">92.032258064516128</cx:pt>
          <cx:pt idx="510">91.838709677419359</cx:pt>
          <cx:pt idx="511">91.548387096774192</cx:pt>
          <cx:pt idx="512">91.774193548387103</cx:pt>
          <cx:pt idx="513">92</cx:pt>
          <cx:pt idx="514">91.870967741935488</cx:pt>
          <cx:pt idx="515">91.645161290322577</cx:pt>
          <cx:pt idx="516">91.451612903225808</cx:pt>
          <cx:pt idx="517">91.161290322580641</cx:pt>
          <cx:pt idx="518">90.677419354838705</cx:pt>
          <cx:pt idx="519">90.774193548387103</cx:pt>
          <cx:pt idx="520">90.903225806451616</cx:pt>
          <cx:pt idx="521">90.354838709677423</cx:pt>
          <cx:pt idx="522">90.645161290322577</cx:pt>
          <cx:pt idx="523">90.870967741935488</cx:pt>
          <cx:pt idx="524">90.741935483870961</cx:pt>
          <cx:pt idx="525">90.451612903225808</cx:pt>
          <cx:pt idx="526">90.677419354838705</cx:pt>
          <cx:pt idx="527">91.161290322580641</cx:pt>
          <cx:pt idx="528">91.387096774193552</cx:pt>
          <cx:pt idx="529">91.258064516129039</cx:pt>
          <cx:pt idx="530">91.322580645161295</cx:pt>
          <cx:pt idx="531">91.387096774193552</cx:pt>
          <cx:pt idx="532">91.516129032258064</cx:pt>
          <cx:pt idx="533">91.290322580645167</cx:pt>
          <cx:pt idx="534">91.064516129032256</cx:pt>
          <cx:pt idx="535">90.709677419354833</cx:pt>
          <cx:pt idx="536">91.258064516129039</cx:pt>
          <cx:pt idx="537">91.225806451612897</cx:pt>
          <cx:pt idx="538">90.870967741935488</cx:pt>
          <cx:pt idx="539">90.387096774193552</cx:pt>
          <cx:pt idx="540">90</cx:pt>
          <cx:pt idx="541">90</cx:pt>
          <cx:pt idx="542">90.129032258064512</cx:pt>
          <cx:pt idx="543">90.096774193548384</cx:pt>
          <cx:pt idx="544">90.161290322580641</cx:pt>
          <cx:pt idx="545">90.096774193548384</cx:pt>
          <cx:pt idx="546">89.870967741935488</cx:pt>
          <cx:pt idx="547">89.58064516129032</cx:pt>
          <cx:pt idx="548">89.935483870967744</cx:pt>
          <cx:pt idx="549">89.967741935483872</cx:pt>
          <cx:pt idx="550">89.741935483870961</cx:pt>
          <cx:pt idx="551">89.709677419354833</cx:pt>
          <cx:pt idx="552">89.967741935483872</cx:pt>
          <cx:pt idx="553">89.322580645161295</cx:pt>
          <cx:pt idx="554">89.129032258064512</cx:pt>
          <cx:pt idx="555">89.516129032258064</cx:pt>
          <cx:pt idx="556">89.41935483870968</cx:pt>
          <cx:pt idx="557">89.258064516129039</cx:pt>
          <cx:pt idx="558">88.838709677419359</cx:pt>
          <cx:pt idx="559">88.290322580645167</cx:pt>
          <cx:pt idx="560">88.161290322580641</cx:pt>
          <cx:pt idx="561">88.451612903225808</cx:pt>
          <cx:pt idx="562">88.806451612903231</cx:pt>
          <cx:pt idx="563">88.774193548387103</cx:pt>
          <cx:pt idx="564">88.741935483870961</cx:pt>
          <cx:pt idx="565">89.064516129032256</cx:pt>
          <cx:pt idx="566">89.290322580645167</cx:pt>
          <cx:pt idx="567">88.903225806451616</cx:pt>
          <cx:pt idx="568">88.870967741935488</cx:pt>
          <cx:pt idx="569">89.225806451612897</cx:pt>
          <cx:pt idx="570">89.645161290322577</cx:pt>
          <cx:pt idx="571">89.58064516129032</cx:pt>
          <cx:pt idx="572">89.387096774193552</cx:pt>
          <cx:pt idx="573">89.870967741935488</cx:pt>
          <cx:pt idx="574">89.870967741935488</cx:pt>
          <cx:pt idx="575">89.483870967741936</cx:pt>
          <cx:pt idx="576">89.322580645161295</cx:pt>
          <cx:pt idx="577">89.645161290322577</cx:pt>
          <cx:pt idx="578">89.774193548387103</cx:pt>
          <cx:pt idx="579">89.322580645161295</cx:pt>
          <cx:pt idx="580">89.322580645161295</cx:pt>
          <cx:pt idx="581">89.483870967741936</cx:pt>
          <cx:pt idx="582">89.41935483870968</cx:pt>
          <cx:pt idx="583">89.290322580645167</cx:pt>
          <cx:pt idx="584">89.645161290322577</cx:pt>
          <cx:pt idx="585">89.354838709677423</cx:pt>
          <cx:pt idx="586">89.451612903225808</cx:pt>
          <cx:pt idx="587">89.41935483870968</cx:pt>
          <cx:pt idx="588">89.096774193548384</cx:pt>
          <cx:pt idx="589">89.290322580645167</cx:pt>
          <cx:pt idx="590">89.645161290322577</cx:pt>
          <cx:pt idx="591">89.774193548387103</cx:pt>
          <cx:pt idx="592">89.935483870967744</cx:pt>
          <cx:pt idx="593">89.612903225806448</cx:pt>
          <cx:pt idx="594">89.032258064516128</cx:pt>
          <cx:pt idx="595">88.967741935483872</cx:pt>
          <cx:pt idx="596">88.677419354838705</cx:pt>
          <cx:pt idx="597">88.290322580645167</cx:pt>
          <cx:pt idx="598">88.161290322580641</cx:pt>
          <cx:pt idx="599">88.032258064516128</cx:pt>
          <cx:pt idx="600">88</cx:pt>
          <cx:pt idx="601">88.161290322580641</cx:pt>
          <cx:pt idx="602">88.645161290322577</cx:pt>
          <cx:pt idx="603">89.354838709677423</cx:pt>
          <cx:pt idx="604">89.290322580645167</cx:pt>
          <cx:pt idx="605">89.387096774193552</cx:pt>
          <cx:pt idx="606">89.806451612903231</cx:pt>
          <cx:pt idx="607">90.225806451612897</cx:pt>
          <cx:pt idx="608">90.354838709677423</cx:pt>
          <cx:pt idx="609">90.806451612903231</cx:pt>
          <cx:pt idx="610">91.483870967741936</cx:pt>
          <cx:pt idx="611">92.193548387096769</cx:pt>
          <cx:pt idx="612">92.516129032258064</cx:pt>
          <cx:pt idx="613">92.645161290322577</cx:pt>
          <cx:pt idx="614">93.161290322580641</cx:pt>
          <cx:pt idx="615">93.290322580645167</cx:pt>
          <cx:pt idx="616">93.741935483870961</cx:pt>
          <cx:pt idx="617">93.709677419354833</cx:pt>
          <cx:pt idx="618">94.290322580645167</cx:pt>
          <cx:pt idx="619">94.967741935483872</cx:pt>
          <cx:pt idx="620">95.290322580645167</cx:pt>
          <cx:pt idx="621">95.451612903225808</cx:pt>
          <cx:pt idx="622">95.709677419354833</cx:pt>
          <cx:pt idx="623">95.709677419354833</cx:pt>
          <cx:pt idx="624">96.064516129032256</cx:pt>
          <cx:pt idx="625">96.838709677419359</cx:pt>
          <cx:pt idx="626">97.516129032258064</cx:pt>
          <cx:pt idx="627">98.064516129032256</cx:pt>
          <cx:pt idx="628">98.677419354838705</cx:pt>
          <cx:pt idx="629">99.193548387096769</cx:pt>
          <cx:pt idx="630">99.290322580645167</cx:pt>
          <cx:pt idx="631">99.387096774193552</cx:pt>
          <cx:pt idx="632">99.354838709677423</cx:pt>
          <cx:pt idx="633">99.290322580645167</cx:pt>
          <cx:pt idx="634">99.032258064516128</cx:pt>
          <cx:pt idx="635">99.193548387096769</cx:pt>
          <cx:pt idx="636">99.451612903225808</cx:pt>
          <cx:pt idx="637">99.387096774193552</cx:pt>
          <cx:pt idx="638">99.290322580645167</cx:pt>
          <cx:pt idx="639">99.41935483870968</cx:pt>
          <cx:pt idx="640">99.354838709677423</cx:pt>
          <cx:pt idx="641">99.193548387096769</cx:pt>
          <cx:pt idx="642">98.967741935483872</cx:pt>
          <cx:pt idx="643">99.290322580645167</cx:pt>
          <cx:pt idx="644">99.290322580645167</cx:pt>
          <cx:pt idx="645">99.322580645161295</cx:pt>
          <cx:pt idx="646">99.483870967741936</cx:pt>
          <cx:pt idx="647">99.516129032258064</cx:pt>
          <cx:pt idx="648">99.612903225806448</cx:pt>
          <cx:pt idx="649">99.032258064516128</cx:pt>
          <cx:pt idx="650">98.58064516129032</cx:pt>
          <cx:pt idx="651">98.322580645161295</cx:pt>
          <cx:pt idx="652">97.870967741935488</cx:pt>
          <cx:pt idx="653">97.258064516129039</cx:pt>
          <cx:pt idx="654">97.225806451612897</cx:pt>
          <cx:pt idx="655">96.709677419354833</cx:pt>
          <cx:pt idx="656">96.258064516129039</cx:pt>
          <cx:pt idx="657">95.709677419354833</cx:pt>
          <cx:pt idx="658">95.258064516129039</cx:pt>
          <cx:pt idx="659">94.58064516129032</cx:pt>
          <cx:pt idx="660">94.032258064516128</cx:pt>
          <cx:pt idx="661">93.935483870967744</cx:pt>
          <cx:pt idx="662">93.58064516129032</cx:pt>
          <cx:pt idx="663">93.354838709677423</cx:pt>
          <cx:pt idx="664">93.516129032258064</cx:pt>
          <cx:pt idx="665">93.451612903225808</cx:pt>
          <cx:pt idx="666">93.032258064516128</cx:pt>
          <cx:pt idx="667">92.774193548387103</cx:pt>
          <cx:pt idx="668">92.387096774193552</cx:pt>
          <cx:pt idx="669">92</cx:pt>
          <cx:pt idx="670">91.612903225806448</cx:pt>
          <cx:pt idx="671">91.645161290322577</cx:pt>
          <cx:pt idx="672">91.322580645161295</cx:pt>
          <cx:pt idx="673">91.032258064516128</cx:pt>
          <cx:pt idx="674">90.387096774193552</cx:pt>
          <cx:pt idx="675">90.354838709677423</cx:pt>
          <cx:pt idx="676">90.225806451612897</cx:pt>
          <cx:pt idx="677">90.032258064516128</cx:pt>
          <cx:pt idx="678">90</cx:pt>
          <cx:pt idx="679">89.838709677419359</cx:pt>
          <cx:pt idx="680">90.032258064516128</cx:pt>
          <cx:pt idx="681">90.322580645161295</cx:pt>
          <cx:pt idx="682">90.193548387096769</cx:pt>
          <cx:pt idx="683">90.548387096774192</cx:pt>
          <cx:pt idx="684">90.548387096774192</cx:pt>
          <cx:pt idx="685">90.096774193548384</cx:pt>
          <cx:pt idx="686">90.645161290322577</cx:pt>
          <cx:pt idx="687">90.612903225806448</cx:pt>
          <cx:pt idx="688">90.838709677419359</cx:pt>
          <cx:pt idx="689">90.806451612903231</cx:pt>
          <cx:pt idx="690">91.064516129032256</cx:pt>
          <cx:pt idx="691">91.258064516129039</cx:pt>
          <cx:pt idx="692">91.096774193548384</cx:pt>
          <cx:pt idx="693">90.838709677419359</cx:pt>
          <cx:pt idx="694">90.870967741935488</cx:pt>
          <cx:pt idx="695">90.741935483870961</cx:pt>
          <cx:pt idx="696">90.967741935483872</cx:pt>
          <cx:pt idx="697">90.838709677419359</cx:pt>
          <cx:pt idx="698">90.838709677419359</cx:pt>
          <cx:pt idx="699">91.258064516129039</cx:pt>
          <cx:pt idx="700">91.290322580645167</cx:pt>
          <cx:pt idx="701">90.967741935483872</cx:pt>
          <cx:pt idx="702">90.677419354838705</cx:pt>
          <cx:pt idx="703">90.645161290322577</cx:pt>
          <cx:pt idx="704">90.451612903225808</cx:pt>
          <cx:pt idx="705">90.548387096774192</cx:pt>
          <cx:pt idx="706">90.032258064516128</cx:pt>
          <cx:pt idx="707">89.838709677419359</cx:pt>
          <cx:pt idx="708">89.516129032258064</cx:pt>
          <cx:pt idx="709">89.064516129032256</cx:pt>
          <cx:pt idx="710">89.193548387096769</cx:pt>
          <cx:pt idx="711">89.225806451612897</cx:pt>
          <cx:pt idx="712">88.838709677419359</cx:pt>
          <cx:pt idx="713">88.935483870967744</cx:pt>
          <cx:pt idx="714">88.548387096774192</cx:pt>
          <cx:pt idx="715">88.645161290322577</cx:pt>
          <cx:pt idx="716">88.516129032258064</cx:pt>
          <cx:pt idx="717">88.322580645161295</cx:pt>
          <cx:pt idx="718">88.161290322580641</cx:pt>
          <cx:pt idx="719">87.741935483870961</cx:pt>
          <cx:pt idx="720">87.870967741935488</cx:pt>
          <cx:pt idx="721">88.096774193548384</cx:pt>
          <cx:pt idx="722">88.096774193548384</cx:pt>
          <cx:pt idx="723">88.129032258064512</cx:pt>
          <cx:pt idx="724">88.322580645161295</cx:pt>
          <cx:pt idx="725">88.58064516129032</cx:pt>
          <cx:pt idx="726">88.290322580645167</cx:pt>
          <cx:pt idx="727">87.903225806451616</cx:pt>
          <cx:pt idx="728">87.935483870967744</cx:pt>
          <cx:pt idx="729">88.032258064516128</cx:pt>
          <cx:pt idx="730">87.709677419354833</cx:pt>
          <cx:pt idx="731">87.645161290322577</cx:pt>
          <cx:pt idx="732">87.806451612903231</cx:pt>
          <cx:pt idx="733">87.645161290322577</cx:pt>
          <cx:pt idx="734">87.58064516129032</cx:pt>
          <cx:pt idx="735">87.645161290322577</cx:pt>
          <cx:pt idx="736">87.41935483870968</cx:pt>
          <cx:pt idx="737">87.838709677419359</cx:pt>
          <cx:pt idx="738">88</cx:pt>
          <cx:pt idx="739">88</cx:pt>
          <cx:pt idx="740">88</cx:pt>
          <cx:pt idx="741">87.58064516129032</cx:pt>
          <cx:pt idx="742">87.612903225806448</cx:pt>
          <cx:pt idx="743">88.064516129032256</cx:pt>
          <cx:pt idx="744">88</cx:pt>
          <cx:pt idx="745">88.387096774193552</cx:pt>
          <cx:pt idx="746">88.935483870967744</cx:pt>
          <cx:pt idx="747">89.129032258064512</cx:pt>
          <cx:pt idx="748">89</cx:pt>
          <cx:pt idx="749">89.451612903225808</cx:pt>
          <cx:pt idx="750">89.41935483870968</cx:pt>
          <cx:pt idx="751">89.677419354838705</cx:pt>
          <cx:pt idx="752">89.354838709677423</cx:pt>
          <cx:pt idx="753">89.354838709677423</cx:pt>
          <cx:pt idx="754">89.129032258064512</cx:pt>
          <cx:pt idx="755">89.387096774193552</cx:pt>
          <cx:pt idx="756">89.290322580645167</cx:pt>
          <cx:pt idx="757">89.387096774193552</cx:pt>
          <cx:pt idx="758">89.161290322580641</cx:pt>
          <cx:pt idx="759">89</cx:pt>
          <cx:pt idx="760">88.516129032258064</cx:pt>
          <cx:pt idx="761">88.548387096774192</cx:pt>
          <cx:pt idx="762">88.741935483870961</cx:pt>
          <cx:pt idx="763">89</cx:pt>
          <cx:pt idx="764">89.322580645161295</cx:pt>
          <cx:pt idx="765">89.645161290322577</cx:pt>
          <cx:pt idx="766">89.903225806451616</cx:pt>
          <cx:pt idx="767">90.064516129032256</cx:pt>
          <cx:pt idx="768">89.741935483870961</cx:pt>
          <cx:pt idx="769">89.322580645161295</cx:pt>
          <cx:pt idx="770">89.193548387096769</cx:pt>
          <cx:pt idx="771">89.645161290322577</cx:pt>
          <cx:pt idx="772">90.064516129032256</cx:pt>
          <cx:pt idx="773">90.193548387096769</cx:pt>
          <cx:pt idx="774">89.838709677419359</cx:pt>
          <cx:pt idx="775">89.903225806451616</cx:pt>
          <cx:pt idx="776">90.064516129032256</cx:pt>
          <cx:pt idx="777">89.870967741935488</cx:pt>
          <cx:pt idx="778">90.161290322580641</cx:pt>
          <cx:pt idx="779">90.032258064516128</cx:pt>
          <cx:pt idx="780">89.677419354838705</cx:pt>
          <cx:pt idx="781">90.258064516129039</cx:pt>
          <cx:pt idx="782">90</cx:pt>
          <cx:pt idx="783">89.806451612903231</cx:pt>
          <cx:pt idx="784">89.806451612903231</cx:pt>
          <cx:pt idx="785">89.741935483870961</cx:pt>
          <cx:pt idx="786">89.483870967741936</cx:pt>
          <cx:pt idx="787">89.612903225806448</cx:pt>
          <cx:pt idx="788">89.677419354838705</cx:pt>
          <cx:pt idx="789">90</cx:pt>
          <cx:pt idx="790">90.193548387096769</cx:pt>
          <cx:pt idx="791">90.290322580645167</cx:pt>
          <cx:pt idx="792">90</cx:pt>
          <cx:pt idx="793">90.225806451612897</cx:pt>
          <cx:pt idx="794">90.193548387096769</cx:pt>
          <cx:pt idx="795">90.032258064516128</cx:pt>
          <cx:pt idx="796">90.129032258064512</cx:pt>
          <cx:pt idx="797">89.903225806451616</cx:pt>
          <cx:pt idx="798">90.129032258064512</cx:pt>
          <cx:pt idx="799">90.258064516129039</cx:pt>
          <cx:pt idx="800">90.548387096774192</cx:pt>
          <cx:pt idx="801">90.709677419354833</cx:pt>
          <cx:pt idx="802">90.645161290322577</cx:pt>
          <cx:pt idx="803">90.612903225806448</cx:pt>
          <cx:pt idx="804">90.258064516129039</cx:pt>
          <cx:pt idx="805">90.483870967741936</cx:pt>
          <cx:pt idx="806">90.129032258064512</cx:pt>
          <cx:pt idx="807">89.935483870967744</cx:pt>
          <cx:pt idx="808">89.612903225806448</cx:pt>
          <cx:pt idx="809">89.516129032258064</cx:pt>
          <cx:pt idx="810">89.741935483870961</cx:pt>
          <cx:pt idx="811">89.741935483870961</cx:pt>
          <cx:pt idx="812">89.774193548387103</cx:pt>
          <cx:pt idx="813">89.58064516129032</cx:pt>
          <cx:pt idx="814">90</cx:pt>
          <cx:pt idx="815">90.258064516129039</cx:pt>
          <cx:pt idx="816">90.41935483870968</cx:pt>
          <cx:pt idx="817">90.354838709677423</cx:pt>
          <cx:pt idx="818">89.903225806451616</cx:pt>
          <cx:pt idx="819">89.774193548387103</cx:pt>
          <cx:pt idx="820">89.451612903225808</cx:pt>
          <cx:pt idx="821">89.645161290322577</cx:pt>
          <cx:pt idx="822">89.58064516129032</cx:pt>
          <cx:pt idx="823">90.129032258064512</cx:pt>
          <cx:pt idx="824">89.548387096774192</cx:pt>
          <cx:pt idx="825">89.58064516129032</cx:pt>
          <cx:pt idx="826">89.903225806451616</cx:pt>
          <cx:pt idx="827">89.516129032258064</cx:pt>
          <cx:pt idx="828">89.516129032258064</cx:pt>
          <cx:pt idx="829">89.41935483870968</cx:pt>
          <cx:pt idx="830">89.741935483870961</cx:pt>
          <cx:pt idx="831">89.774193548387103</cx:pt>
          <cx:pt idx="832">89.645161290322577</cx:pt>
          <cx:pt idx="833">89.41935483870968</cx:pt>
          <cx:pt idx="834">89</cx:pt>
          <cx:pt idx="835">89.161290322580641</cx:pt>
          <cx:pt idx="836">89.161290322580641</cx:pt>
          <cx:pt idx="837">89.451612903225808</cx:pt>
          <cx:pt idx="838">89.483870967741936</cx:pt>
          <cx:pt idx="839">89.838709677419359</cx:pt>
          <cx:pt idx="840">89.741935483870961</cx:pt>
          <cx:pt idx="841">89.838709677419359</cx:pt>
          <cx:pt idx="842">89.903225806451616</cx:pt>
          <cx:pt idx="843">89.709677419354833</cx:pt>
          <cx:pt idx="844">89.967741935483872</cx:pt>
          <cx:pt idx="845">90</cx:pt>
          <cx:pt idx="846">89.935483870967744</cx:pt>
          <cx:pt idx="847">89.838709677419359</cx:pt>
          <cx:pt idx="848">90.129032258064512</cx:pt>
          <cx:pt idx="849">90.58064516129032</cx:pt>
          <cx:pt idx="850">90.41935483870968</cx:pt>
          <cx:pt idx="851">90.774193548387103</cx:pt>
          <cx:pt idx="852">90.677419354838705</cx:pt>
          <cx:pt idx="853">90.935483870967744</cx:pt>
          <cx:pt idx="854">90.870967741935488</cx:pt>
          <cx:pt idx="855">91.032258064516128</cx:pt>
          <cx:pt idx="856">90.870967741935488</cx:pt>
          <cx:pt idx="857">90.774193548387103</cx:pt>
          <cx:pt idx="858">90.774193548387103</cx:pt>
          <cx:pt idx="859">91.225806451612897</cx:pt>
          <cx:pt idx="860">91.451612903225808</cx:pt>
          <cx:pt idx="861">91.129032258064512</cx:pt>
          <cx:pt idx="862">91.032258064516128</cx:pt>
          <cx:pt idx="863">91.483870967741936</cx:pt>
          <cx:pt idx="864">91.58064516129032</cx:pt>
          <cx:pt idx="865">92.096774193548384</cx:pt>
          <cx:pt idx="866">92.258064516129039</cx:pt>
          <cx:pt idx="867">91.903225806451616</cx:pt>
          <cx:pt idx="868">92</cx:pt>
          <cx:pt idx="869">92</cx:pt>
          <cx:pt idx="870">91.677419354838705</cx:pt>
          <cx:pt idx="871">91.354838709677423</cx:pt>
          <cx:pt idx="872">91.322580645161295</cx:pt>
          <cx:pt idx="873">91.483870967741936</cx:pt>
          <cx:pt idx="874">91.41935483870968</cx:pt>
          <cx:pt idx="875">91.096774193548384</cx:pt>
          <cx:pt idx="876">90.709677419354833</cx:pt>
          <cx:pt idx="877">90.290322580645167</cx:pt>
          <cx:pt idx="878">90.645161290322577</cx:pt>
          <cx:pt idx="879">90.41935483870968</cx:pt>
          <cx:pt idx="880">89.903225806451616</cx:pt>
          <cx:pt idx="881">90.161290322580641</cx:pt>
          <cx:pt idx="882">90</cx:pt>
          <cx:pt idx="883">89.806451612903231</cx:pt>
          <cx:pt idx="884">89.41935483870968</cx:pt>
          <cx:pt idx="885">88.935483870967744</cx:pt>
          <cx:pt idx="886">89.41935483870968</cx:pt>
          <cx:pt idx="887">89.548387096774192</cx:pt>
          <cx:pt idx="888">89.258064516129039</cx:pt>
          <cx:pt idx="889">89.709677419354833</cx:pt>
          <cx:pt idx="890">89.709677419354833</cx:pt>
          <cx:pt idx="891">89.612903225806448</cx:pt>
          <cx:pt idx="892">89.41935483870968</cx:pt>
          <cx:pt idx="893">89.387096774193552</cx:pt>
          <cx:pt idx="894">88.903225806451616</cx:pt>
          <cx:pt idx="895">89.064516129032256</cx:pt>
          <cx:pt idx="896">88.967741935483872</cx:pt>
          <cx:pt idx="897">88.741935483870961</cx:pt>
          <cx:pt idx="898">88.903225806451616</cx:pt>
          <cx:pt idx="899">88.58064516129032</cx:pt>
          <cx:pt idx="900">88.548387096774192</cx:pt>
          <cx:pt idx="901">88.387096774193552</cx:pt>
          <cx:pt idx="902">89</cx:pt>
          <cx:pt idx="903">89.032258064516128</cx:pt>
          <cx:pt idx="904">89.161290322580641</cx:pt>
          <cx:pt idx="905">89.129032258064512</cx:pt>
          <cx:pt idx="906">89.58064516129032</cx:pt>
          <cx:pt idx="907">89.935483870967744</cx:pt>
          <cx:pt idx="908">90.354838709677423</cx:pt>
          <cx:pt idx="909">90.096774193548384</cx:pt>
          <cx:pt idx="910">89.967741935483872</cx:pt>
          <cx:pt idx="911">89.935483870967744</cx:pt>
          <cx:pt idx="912">89.967741935483872</cx:pt>
          <cx:pt idx="913">90.064516129032256</cx:pt>
          <cx:pt idx="914">90.41935483870968</cx:pt>
          <cx:pt idx="915">90.451612903225808</cx:pt>
          <cx:pt idx="916">90.806451612903231</cx:pt>
          <cx:pt idx="917">90.161290322580641</cx:pt>
          <cx:pt idx="918">89.967741935483872</cx:pt>
          <cx:pt idx="919">90.129032258064512</cx:pt>
          <cx:pt idx="920">89.806451612903231</cx:pt>
          <cx:pt idx="921">89.354838709677423</cx:pt>
          <cx:pt idx="922">89.258064516129039</cx:pt>
          <cx:pt idx="923">89.193548387096769</cx:pt>
          <cx:pt idx="924">89.225806451612897</cx:pt>
          <cx:pt idx="925">89.258064516129039</cx:pt>
          <cx:pt idx="926">88.838709677419359</cx:pt>
          <cx:pt idx="927">88.774193548387103</cx:pt>
          <cx:pt idx="928">88.806451612903231</cx:pt>
          <cx:pt idx="929">88.548387096774192</cx:pt>
          <cx:pt idx="930">88.870967741935488</cx:pt>
          <cx:pt idx="931">89.032258064516128</cx:pt>
          <cx:pt idx="932">89.258064516129039</cx:pt>
          <cx:pt idx="933">89.161290322580641</cx:pt>
          <cx:pt idx="934">89</cx:pt>
          <cx:pt idx="935">88.548387096774192</cx:pt>
          <cx:pt idx="936">88.645161290322577</cx:pt>
          <cx:pt idx="937">88.322580645161295</cx:pt>
          <cx:pt idx="938">88.483870967741936</cx:pt>
          <cx:pt idx="939">88.58064516129032</cx:pt>
          <cx:pt idx="940">88.645161290322577</cx:pt>
          <cx:pt idx="941">89.032258064516128</cx:pt>
          <cx:pt idx="942">89.193548387096769</cx:pt>
          <cx:pt idx="943">89.161290322580641</cx:pt>
          <cx:pt idx="944">88.967741935483872</cx:pt>
          <cx:pt idx="945">88.677419354838705</cx:pt>
          <cx:pt idx="946">89.193548387096769</cx:pt>
          <cx:pt idx="947">89</cx:pt>
          <cx:pt idx="948">89.451612903225808</cx:pt>
          <cx:pt idx="949">89.612903225806448</cx:pt>
          <cx:pt idx="950">89.483870967741936</cx:pt>
          <cx:pt idx="951">89.258064516129039</cx:pt>
          <cx:pt idx="952">89.225806451612897</cx:pt>
          <cx:pt idx="953">89.290322580645167</cx:pt>
          <cx:pt idx="954">89.870967741935488</cx:pt>
          <cx:pt idx="955">89.677419354838705</cx:pt>
          <cx:pt idx="956">90</cx:pt>
          <cx:pt idx="957">90.225806451612897</cx:pt>
          <cx:pt idx="958">89.935483870967744</cx:pt>
          <cx:pt idx="959">90.161290322580641</cx:pt>
          <cx:pt idx="960">90.774193548387103</cx:pt>
          <cx:pt idx="961">90.677419354838705</cx:pt>
          <cx:pt idx="962">90.548387096774192</cx:pt>
          <cx:pt idx="963">90.677419354838705</cx:pt>
          <cx:pt idx="964">90.645161290322577</cx:pt>
          <cx:pt idx="965">90.838709677419359</cx:pt>
          <cx:pt idx="966">91.064516129032256</cx:pt>
          <cx:pt idx="967">90.935483870967744</cx:pt>
          <cx:pt idx="968">90.903225806451616</cx:pt>
          <cx:pt idx="969">90.290322580645167</cx:pt>
          <cx:pt idx="970">89.903225806451616</cx:pt>
          <cx:pt idx="971">90.258064516129039</cx:pt>
          <cx:pt idx="972">89.741935483870961</cx:pt>
          <cx:pt idx="973">89.774193548387103</cx:pt>
          <cx:pt idx="974">89.935483870967744</cx:pt>
          <cx:pt idx="975">89.967741935483872</cx:pt>
          <cx:pt idx="976">90.032258064516128</cx:pt>
          <cx:pt idx="977">89.645161290322577</cx:pt>
          <cx:pt idx="978">89.935483870967744</cx:pt>
          <cx:pt idx="979">89.548387096774192</cx:pt>
          <cx:pt idx="980">89.258064516129039</cx:pt>
          <cx:pt idx="981">89.548387096774192</cx:pt>
          <cx:pt idx="982">90.129032258064512</cx:pt>
          <cx:pt idx="983">90.548387096774192</cx:pt>
          <cx:pt idx="984">90.258064516129039</cx:pt>
          <cx:pt idx="985">89.806451612903231</cx:pt>
          <cx:pt idx="986">89.838709677419359</cx:pt>
          <cx:pt idx="987">90.064516129032256</cx:pt>
          <cx:pt idx="988">89.870967741935488</cx:pt>
          <cx:pt idx="989">90.161290322580641</cx:pt>
          <cx:pt idx="990">90.129032258064512</cx:pt>
          <cx:pt idx="991">89.838709677419359</cx:pt>
          <cx:pt idx="992">89.645161290322577</cx:pt>
          <cx:pt idx="993">89.645161290322577</cx:pt>
          <cx:pt idx="994">89.612903225806448</cx:pt>
          <cx:pt idx="995">89.645161290322577</cx:pt>
          <cx:pt idx="996">89.709677419354833</cx:pt>
          <cx:pt idx="997">89.645161290322577</cx:pt>
          <cx:pt idx="998">89.774193548387103</cx:pt>
          <cx:pt idx="999">90.032258064516128</cx:pt>
          <cx:pt idx="1000">90.387096774193552</cx:pt>
          <cx:pt idx="1001">90.387096774193552</cx:pt>
          <cx:pt idx="1002">90.225806451612897</cx:pt>
          <cx:pt idx="1003">90.741935483870961</cx:pt>
          <cx:pt idx="1004">91</cx:pt>
          <cx:pt idx="1005">90.677419354838705</cx:pt>
          <cx:pt idx="1006">90.967741935483872</cx:pt>
          <cx:pt idx="1007">90.677419354838705</cx:pt>
          <cx:pt idx="1008">90.935483870967744</cx:pt>
          <cx:pt idx="1009">91.064516129032256</cx:pt>
          <cx:pt idx="1010">91.193548387096769</cx:pt>
          <cx:pt idx="1011">91.225806451612897</cx:pt>
          <cx:pt idx="1012">91.225806451612897</cx:pt>
          <cx:pt idx="1013">91.225806451612897</cx:pt>
          <cx:pt idx="1014">91.096774193548384</cx:pt>
          <cx:pt idx="1015">91.612903225806448</cx:pt>
          <cx:pt idx="1016">91.516129032258064</cx:pt>
          <cx:pt idx="1017">91.548387096774192</cx:pt>
          <cx:pt idx="1018">91.387096774193552</cx:pt>
          <cx:pt idx="1019">91.645161290322577</cx:pt>
          <cx:pt idx="1020">91.677419354838705</cx:pt>
          <cx:pt idx="1021">91.870967741935488</cx:pt>
          <cx:pt idx="1022">92.032258064516128</cx:pt>
          <cx:pt idx="1023">92.483870967741936</cx:pt>
          <cx:pt idx="1024">92.548387096774192</cx:pt>
          <cx:pt idx="1025">92.516129032258064</cx:pt>
          <cx:pt idx="1026">92.064516129032256</cx:pt>
          <cx:pt idx="1027">91.838709677419359</cx:pt>
          <cx:pt idx="1028">91.903225806451616</cx:pt>
          <cx:pt idx="1029">91.870967741935488</cx:pt>
          <cx:pt idx="1030">91.645161290322577</cx:pt>
          <cx:pt idx="1031">91.41935483870968</cx:pt>
          <cx:pt idx="1032">91.709677419354833</cx:pt>
          <cx:pt idx="1033">91.451612903225808</cx:pt>
          <cx:pt idx="1034">91.258064516129039</cx:pt>
          <cx:pt idx="1035">91.129032258064512</cx:pt>
          <cx:pt idx="1036">91.064516129032256</cx:pt>
          <cx:pt idx="1037">91.032258064516128</cx:pt>
          <cx:pt idx="1038">91.193548387096769</cx:pt>
          <cx:pt idx="1039">91.193548387096769</cx:pt>
          <cx:pt idx="1040">91.290322580645167</cx:pt>
          <cx:pt idx="1041">91.645161290322577</cx:pt>
          <cx:pt idx="1042">92.129032258064512</cx:pt>
          <cx:pt idx="1043">92.225806451612897</cx:pt>
          <cx:pt idx="1044">92.161290322580641</cx:pt>
          <cx:pt idx="1045">92.354838709677423</cx:pt>
          <cx:pt idx="1046">92.354838709677423</cx:pt>
          <cx:pt idx="1047">92.806451612903231</cx:pt>
          <cx:pt idx="1048">93.193548387096769</cx:pt>
          <cx:pt idx="1049">93.548387096774192</cx:pt>
          <cx:pt idx="1050">93.838709677419359</cx:pt>
          <cx:pt idx="1051">94.064516129032256</cx:pt>
          <cx:pt idx="1052">94.193548387096769</cx:pt>
          <cx:pt idx="1053">94.451612903225808</cx:pt>
          <cx:pt idx="1054">94.483870967741936</cx:pt>
          <cx:pt idx="1055">94.774193548387103</cx:pt>
          <cx:pt idx="1056">95.193548387096769</cx:pt>
          <cx:pt idx="1057">95.806451612903231</cx:pt>
          <cx:pt idx="1058">95.935483870967744</cx:pt>
          <cx:pt idx="1059">96.193548387096769</cx:pt>
          <cx:pt idx="1060">96.354838709677423</cx:pt>
          <cx:pt idx="1061">96.709677419354833</cx:pt>
          <cx:pt idx="1062">97.193548387096769</cx:pt>
          <cx:pt idx="1063">97.354838709677423</cx:pt>
          <cx:pt idx="1064">97.838709677419359</cx:pt>
          <cx:pt idx="1065">98.096774193548384</cx:pt>
          <cx:pt idx="1066">98.451612903225808</cx:pt>
          <cx:pt idx="1067">98.903225806451616</cx:pt>
          <cx:pt idx="1068">99.258064516129039</cx:pt>
          <cx:pt idx="1069">99.870967741935488</cx:pt>
          <cx:pt idx="1070">100.16129032258064</cx:pt>
          <cx:pt idx="1071">100.16129032258064</cx:pt>
          <cx:pt idx="1072">100.12903225806451</cx:pt>
          <cx:pt idx="1073">100.35483870967742</cx:pt>
          <cx:pt idx="1074">100.51612903225806</cx:pt>
          <cx:pt idx="1075">100.41935483870968</cx:pt>
          <cx:pt idx="1076">100.45161290322581</cx:pt>
          <cx:pt idx="1077">100.41935483870968</cx:pt>
          <cx:pt idx="1078">100.64516129032258</cx:pt>
          <cx:pt idx="1079">100.74193548387096</cx:pt>
          <cx:pt idx="1080">100.48387096774194</cx:pt>
          <cx:pt idx="1081">100.64516129032258</cx:pt>
          <cx:pt idx="1082">100.74193548387096</cx:pt>
          <cx:pt idx="1083">100.61290322580645</cx:pt>
          <cx:pt idx="1084">100.45161290322581</cx:pt>
          <cx:pt idx="1085">100.54838709677419</cx:pt>
          <cx:pt idx="1086">100.51612903225806</cx:pt>
          <cx:pt idx="1087">100.58064516129032</cx:pt>
          <cx:pt idx="1088">100.45161290322581</cx:pt>
          <cx:pt idx="1089">100.61290322580645</cx:pt>
          <cx:pt idx="1090">100.74193548387096</cx:pt>
          <cx:pt idx="1091">100.80645161290323</cx:pt>
          <cx:pt idx="1092">100.93548387096774</cx:pt>
          <cx:pt idx="1093">100.96774193548387</cx:pt>
          <cx:pt idx="1094">101.06451612903226</cx:pt>
          <cx:pt idx="1095">101</cx:pt>
          <cx:pt idx="1096">100.70967741935483</cx:pt>
          <cx:pt idx="1097">100.35483870967742</cx:pt>
          <cx:pt idx="1098">100.19354838709677</cx:pt>
          <cx:pt idx="1099">99.967741935483872</cx:pt>
          <cx:pt idx="1100">99.483870967741936</cx:pt>
          <cx:pt idx="1101">99.193548387096769</cx:pt>
          <cx:pt idx="1102">98.935483870967744</cx:pt>
          <cx:pt idx="1103">98.967741935483872</cx:pt>
          <cx:pt idx="1104">98.741935483870961</cx:pt>
          <cx:pt idx="1105">98</cx:pt>
          <cx:pt idx="1106">97.612903225806448</cx:pt>
          <cx:pt idx="1107">97.129032258064512</cx:pt>
          <cx:pt idx="1108">97</cx:pt>
          <cx:pt idx="1109">96.516129032258064</cx:pt>
          <cx:pt idx="1110">96.354838709677423</cx:pt>
          <cx:pt idx="1111">96.258064516129039</cx:pt>
          <cx:pt idx="1112">95.838709677419359</cx:pt>
          <cx:pt idx="1113">95.41935483870968</cx:pt>
          <cx:pt idx="1114">95.258064516129039</cx:pt>
          <cx:pt idx="1115">94.774193548387103</cx:pt>
          <cx:pt idx="1116">94.387096774193552</cx:pt>
          <cx:pt idx="1117">94.032258064516128</cx:pt>
          <cx:pt idx="1118">93.258064516129039</cx:pt>
          <cx:pt idx="1119">93.258064516129039</cx:pt>
          <cx:pt idx="1120">93.258064516129039</cx:pt>
          <cx:pt idx="1121">92.870967741935488</cx:pt>
          <cx:pt idx="1122">92.516129032258064</cx:pt>
          <cx:pt idx="1123">91.870967741935488</cx:pt>
          <cx:pt idx="1124">91.41935483870968</cx:pt>
          <cx:pt idx="1125">91.290322580645167</cx:pt>
          <cx:pt idx="1126">90.806451612903231</cx:pt>
          <cx:pt idx="1127">90.58064516129032</cx:pt>
          <cx:pt idx="1128">90.41935483870968</cx:pt>
          <cx:pt idx="1129">90</cx:pt>
          <cx:pt idx="1130">89.451612903225808</cx:pt>
          <cx:pt idx="1131">89.774193548387103</cx:pt>
          <cx:pt idx="1132">89.451612903225808</cx:pt>
          <cx:pt idx="1133">89.193548387096769</cx:pt>
          <cx:pt idx="1134">88.935483870967744</cx:pt>
          <cx:pt idx="1135">89</cx:pt>
          <cx:pt idx="1136">89.548387096774192</cx:pt>
          <cx:pt idx="1137">89.935483870967744</cx:pt>
          <cx:pt idx="1138">89.741935483870961</cx:pt>
          <cx:pt idx="1139">89.354838709677423</cx:pt>
          <cx:pt idx="1140">89.483870967741936</cx:pt>
          <cx:pt idx="1141">89.451612903225808</cx:pt>
          <cx:pt idx="1142">89.322580645161295</cx:pt>
          <cx:pt idx="1143">89.483870967741936</cx:pt>
          <cx:pt idx="1144">89.096774193548384</cx:pt>
          <cx:pt idx="1145">88.709677419354833</cx:pt>
          <cx:pt idx="1146">89.129032258064512</cx:pt>
          <cx:pt idx="1147">89.41935483870968</cx:pt>
          <cx:pt idx="1148">89.677419354838705</cx:pt>
          <cx:pt idx="1149">89.838709677419359</cx:pt>
          <cx:pt idx="1150">89.741935483870961</cx:pt>
          <cx:pt idx="1151">89.516129032258064</cx:pt>
          <cx:pt idx="1152">89.161290322580641</cx:pt>
          <cx:pt idx="1153">89.193548387096769</cx:pt>
          <cx:pt idx="1154">89.709677419354833</cx:pt>
          <cx:pt idx="1155">89.516129032258064</cx:pt>
          <cx:pt idx="1156">89.548387096774192</cx:pt>
          <cx:pt idx="1157">90.032258064516128</cx:pt>
          <cx:pt idx="1158">90.483870967741936</cx:pt>
          <cx:pt idx="1159">90.354838709677423</cx:pt>
          <cx:pt idx="1160">90.387096774193552</cx:pt>
          <cx:pt idx="1161">90.806451612903231</cx:pt>
          <cx:pt idx="1162">90.41935483870968</cx:pt>
          <cx:pt idx="1163">90.677419354838705</cx:pt>
          <cx:pt idx="1164">90.58064516129032</cx:pt>
          <cx:pt idx="1165">90.709677419354833</cx:pt>
          <cx:pt idx="1166">90.096774193548384</cx:pt>
          <cx:pt idx="1167">89.612903225806448</cx:pt>
          <cx:pt idx="1168">89.483870967741936</cx:pt>
          <cx:pt idx="1169">89.612903225806448</cx:pt>
          <cx:pt idx="1170">89.870967741935488</cx:pt>
          <cx:pt idx="1171">89.612903225806448</cx:pt>
          <cx:pt idx="1172">89.225806451612897</cx:pt>
          <cx:pt idx="1173">89.322580645161295</cx:pt>
          <cx:pt idx="1174">89.290322580645167</cx:pt>
          <cx:pt idx="1175">89.387096774193552</cx:pt>
          <cx:pt idx="1176">89.548387096774192</cx:pt>
          <cx:pt idx="1177">89.225806451612897</cx:pt>
          <cx:pt idx="1178">88.838709677419359</cx:pt>
          <cx:pt idx="1179">88.548387096774192</cx:pt>
          <cx:pt idx="1180">88.806451612903231</cx:pt>
          <cx:pt idx="1181">88.548387096774192</cx:pt>
          <cx:pt idx="1182">88.387096774193552</cx:pt>
          <cx:pt idx="1183">88.451612903225808</cx:pt>
          <cx:pt idx="1184">88.483870967741936</cx:pt>
          <cx:pt idx="1185">87.935483870967744</cx:pt>
          <cx:pt idx="1186">88.225806451612897</cx:pt>
          <cx:pt idx="1187">88.225806451612897</cx:pt>
          <cx:pt idx="1188">88.161290322580641</cx:pt>
          <cx:pt idx="1189">87.741935483870961</cx:pt>
          <cx:pt idx="1190">88</cx:pt>
          <cx:pt idx="1191">88.451612903225808</cx:pt>
          <cx:pt idx="1192">88.645161290322577</cx:pt>
          <cx:pt idx="1193">89</cx:pt>
          <cx:pt idx="1194">88.967741935483872</cx:pt>
          <cx:pt idx="1195">89.258064516129039</cx:pt>
          <cx:pt idx="1196">89.258064516129039</cx:pt>
          <cx:pt idx="1197">89.225806451612897</cx:pt>
          <cx:pt idx="1198">89.258064516129039</cx:pt>
          <cx:pt idx="1199">89</cx:pt>
          <cx:pt idx="1200">89</cx:pt>
          <cx:pt idx="1201">88.677419354838705</cx:pt>
          <cx:pt idx="1202">89.096774193548384</cx:pt>
          <cx:pt idx="1203">89.41935483870968</cx:pt>
          <cx:pt idx="1204">89.032258064516128</cx:pt>
          <cx:pt idx="1205">88.903225806451616</cx:pt>
          <cx:pt idx="1206">89.161290322580641</cx:pt>
          <cx:pt idx="1207">89.483870967741936</cx:pt>
          <cx:pt idx="1208">89.322580645161295</cx:pt>
          <cx:pt idx="1209">89.354838709677423</cx:pt>
          <cx:pt idx="1210">89.645161290322577</cx:pt>
          <cx:pt idx="1211">89.225806451612897</cx:pt>
          <cx:pt idx="1212">89.225806451612897</cx:pt>
          <cx:pt idx="1213">89.129032258064512</cx:pt>
          <cx:pt idx="1214">89.483870967741936</cx:pt>
          <cx:pt idx="1215">89.387096774193552</cx:pt>
          <cx:pt idx="1216">89.870967741935488</cx:pt>
          <cx:pt idx="1217">89.677419354838705</cx:pt>
          <cx:pt idx="1218">89.516129032258064</cx:pt>
          <cx:pt idx="1219">89.548387096774192</cx:pt>
          <cx:pt idx="1220">90.032258064516128</cx:pt>
          <cx:pt idx="1221">89.741935483870961</cx:pt>
          <cx:pt idx="1222">89.258064516129039</cx:pt>
          <cx:pt idx="1223">88.645161290322577</cx:pt>
          <cx:pt idx="1224">88.451612903225808</cx:pt>
          <cx:pt idx="1225">88.709677419354833</cx:pt>
          <cx:pt idx="1226">88.387096774193552</cx:pt>
          <cx:pt idx="1227">88.387096774193552</cx:pt>
          <cx:pt idx="1228">88.903225806451616</cx:pt>
          <cx:pt idx="1229">89.193548387096769</cx:pt>
          <cx:pt idx="1230">89.548387096774192</cx:pt>
          <cx:pt idx="1231">90.032258064516128</cx:pt>
          <cx:pt idx="1232">90.806451612903231</cx:pt>
          <cx:pt idx="1233">91.032258064516128</cx:pt>
          <cx:pt idx="1234">91.193548387096769</cx:pt>
          <cx:pt idx="1235">91.838709677419359</cx:pt>
          <cx:pt idx="1236">92.064516129032256</cx:pt>
          <cx:pt idx="1237">92.322580645161295</cx:pt>
          <cx:pt idx="1238">92.354838709677423</cx:pt>
          <cx:pt idx="1239">93.129032258064512</cx:pt>
          <cx:pt idx="1240">93.387096774193552</cx:pt>
          <cx:pt idx="1241">93.483870967741936</cx:pt>
          <cx:pt idx="1242">94.032258064516128</cx:pt>
          <cx:pt idx="1243">94.58064516129032</cx:pt>
          <cx:pt idx="1244">95.193548387096769</cx:pt>
          <cx:pt idx="1245">95.354838709677423</cx:pt>
          <cx:pt idx="1246">95.612903225806448</cx:pt>
          <cx:pt idx="1247">95.677419354838705</cx:pt>
          <cx:pt idx="1248">96.354838709677423</cx:pt>
          <cx:pt idx="1249">96.58064516129032</cx:pt>
          <cx:pt idx="1250">96.709677419354833</cx:pt>
          <cx:pt idx="1251">96.709677419354833</cx:pt>
          <cx:pt idx="1252">97.096774193548384</cx:pt>
          <cx:pt idx="1253">97.774193548387103</cx:pt>
          <cx:pt idx="1254">98.41935483870968</cx:pt>
          <cx:pt idx="1255">98.806451612903231</cx:pt>
          <cx:pt idx="1256">98.741935483870961</cx:pt>
          <cx:pt idx="1257">99.516129032258064</cx:pt>
          <cx:pt idx="1258">99.903225806451616</cx:pt>
          <cx:pt idx="1259">99.870967741935488</cx:pt>
          <cx:pt idx="1260">100.06451612903226</cx:pt>
          <cx:pt idx="1261">100.25806451612904</cx:pt>
          <cx:pt idx="1262">100.45161290322581</cx:pt>
          <cx:pt idx="1263">100.45161290322581</cx:pt>
          <cx:pt idx="1264">100.51612903225806</cx:pt>
          <cx:pt idx="1265">100.45161290322581</cx:pt>
          <cx:pt idx="1266">100.58064516129032</cx:pt>
          <cx:pt idx="1267">100.48387096774194</cx:pt>
          <cx:pt idx="1268">100.61290322580645</cx:pt>
          <cx:pt idx="1269">100.87096774193549</cx:pt>
          <cx:pt idx="1270">100.70967741935483</cx:pt>
          <cx:pt idx="1271">100.87096774193549</cx:pt>
          <cx:pt idx="1272">100.90322580645162</cx:pt>
          <cx:pt idx="1273">100.96774193548387</cx:pt>
          <cx:pt idx="1274">100.96774193548387</cx:pt>
          <cx:pt idx="1275">100.90322580645162</cx:pt>
          <cx:pt idx="1276">100.83870967741936</cx:pt>
          <cx:pt idx="1277">100.83870967741936</cx:pt>
          <cx:pt idx="1278">100.25806451612904</cx:pt>
          <cx:pt idx="1279">99.548387096774192</cx:pt>
          <cx:pt idx="1280">99.451612903225808</cx:pt>
          <cx:pt idx="1281">99.258064516129039</cx:pt>
          <cx:pt idx="1282">99.064516129032256</cx:pt>
          <cx:pt idx="1283">98.709677419354833</cx:pt>
          <cx:pt idx="1284">98.129032258064512</cx:pt>
          <cx:pt idx="1285">97.645161290322577</cx:pt>
          <cx:pt idx="1286">97.516129032258064</cx:pt>
          <cx:pt idx="1287">97.322580645161295</cx:pt>
          <cx:pt idx="1288">96.741935483870961</cx:pt>
          <cx:pt idx="1289">96.258064516129039</cx:pt>
          <cx:pt idx="1290">96.354838709677423</cx:pt>
          <cx:pt idx="1291">95.967741935483872</cx:pt>
          <cx:pt idx="1292">95.806451612903231</cx:pt>
          <cx:pt idx="1293">95.516129032258064</cx:pt>
          <cx:pt idx="1294">95.064516129032256</cx:pt>
          <cx:pt idx="1295">94.645161290322577</cx:pt>
          <cx:pt idx="1296">94.129032258064512</cx:pt>
          <cx:pt idx="1297">93.516129032258064</cx:pt>
          <cx:pt idx="1298">93.258064516129039</cx:pt>
          <cx:pt idx="1299">92.903225806451616</cx:pt>
          <cx:pt idx="1300">92.709677419354833</cx:pt>
          <cx:pt idx="1301">92.064516129032256</cx:pt>
          <cx:pt idx="1302">91.516129032258064</cx:pt>
          <cx:pt idx="1303">91.354838709677423</cx:pt>
          <cx:pt idx="1304">91.322580645161295</cx:pt>
          <cx:pt idx="1305">91.225806451612897</cx:pt>
          <cx:pt idx="1306">90.612903225806448</cx:pt>
          <cx:pt idx="1307">90.58064516129032</cx:pt>
          <cx:pt idx="1308">90.645161290322577</cx:pt>
          <cx:pt idx="1309">90.709677419354833</cx:pt>
          <cx:pt idx="1310">90.838709677419359</cx:pt>
          <cx:pt idx="1311">90.838709677419359</cx:pt>
          <cx:pt idx="1312">90.516129032258064</cx:pt>
          <cx:pt idx="1313">90.387096774193552</cx:pt>
          <cx:pt idx="1314">90.677419354838705</cx:pt>
          <cx:pt idx="1315">91.161290322580641</cx:pt>
          <cx:pt idx="1316">91.064516129032256</cx:pt>
          <cx:pt idx="1317">90.838709677419359</cx:pt>
          <cx:pt idx="1318">90.516129032258064</cx:pt>
          <cx:pt idx="1319">90.612903225806448</cx:pt>
          <cx:pt idx="1320">90.774193548387103</cx:pt>
          <cx:pt idx="1321">90.516129032258064</cx:pt>
          <cx:pt idx="1322">90.516129032258064</cx:pt>
          <cx:pt idx="1323">90.612903225806448</cx:pt>
          <cx:pt idx="1324">90.741935483870961</cx:pt>
          <cx:pt idx="1325">90.903225806451616</cx:pt>
          <cx:pt idx="1326">91.096774193548384</cx:pt>
          <cx:pt idx="1327">91.290322580645167</cx:pt>
          <cx:pt idx="1328">91.290322580645167</cx:pt>
          <cx:pt idx="1329">91.225806451612897</cx:pt>
          <cx:pt idx="1330">91.354838709677423</cx:pt>
          <cx:pt idx="1331">91.129032258064512</cx:pt>
          <cx:pt idx="1332">91.387096774193552</cx:pt>
          <cx:pt idx="1333">91.516129032258064</cx:pt>
          <cx:pt idx="1334">90.903225806451616</cx:pt>
          <cx:pt idx="1335">90.548387096774192</cx:pt>
          <cx:pt idx="1336">90.387096774193552</cx:pt>
          <cx:pt idx="1337">90.387096774193552</cx:pt>
          <cx:pt idx="1338">90.096774193548384</cx:pt>
          <cx:pt idx="1339">89.58064516129032</cx:pt>
          <cx:pt idx="1340">89.516129032258064</cx:pt>
          <cx:pt idx="1341">89.645161290322577</cx:pt>
          <cx:pt idx="1342">89.032258064516128</cx:pt>
          <cx:pt idx="1343">89.225806451612897</cx:pt>
          <cx:pt idx="1344">89.161290322580641</cx:pt>
          <cx:pt idx="1345">88.903225806451616</cx:pt>
          <cx:pt idx="1346">88.483870967741936</cx:pt>
          <cx:pt idx="1347">88.774193548387103</cx:pt>
          <cx:pt idx="1348">88.870967741935488</cx:pt>
          <cx:pt idx="1349">89.096774193548384</cx:pt>
          <cx:pt idx="1350">89.064516129032256</cx:pt>
          <cx:pt idx="1351">89.193548387096769</cx:pt>
          <cx:pt idx="1352">89.322580645161295</cx:pt>
          <cx:pt idx="1353">89.709677419354833</cx:pt>
          <cx:pt idx="1354">89.322580645161295</cx:pt>
          <cx:pt idx="1355">88.935483870967744</cx:pt>
          <cx:pt idx="1356">88.838709677419359</cx:pt>
          <cx:pt idx="1357">88.774193548387103</cx:pt>
          <cx:pt idx="1358">89.129032258064512</cx:pt>
          <cx:pt idx="1359">89.129032258064512</cx:pt>
          <cx:pt idx="1360">89.096774193548384</cx:pt>
          <cx:pt idx="1361">89.032258064516128</cx:pt>
          <cx:pt idx="1362">88.774193548387103</cx:pt>
          <cx:pt idx="1363">88.677419354838705</cx:pt>
          <cx:pt idx="1364">88.806451612903231</cx:pt>
          <cx:pt idx="1365">89</cx:pt>
          <cx:pt idx="1366">88.806451612903231</cx:pt>
          <cx:pt idx="1367">88.935483870967744</cx:pt>
          <cx:pt idx="1368">89.064516129032256</cx:pt>
          <cx:pt idx="1369">88.870967741935488</cx:pt>
          <cx:pt idx="1370">89.096774193548384</cx:pt>
          <cx:pt idx="1371">89.483870967741936</cx:pt>
          <cx:pt idx="1372">89.709677419354833</cx:pt>
          <cx:pt idx="1373">89.806451612903231</cx:pt>
          <cx:pt idx="1374">90.032258064516128</cx:pt>
          <cx:pt idx="1375">90.483870967741936</cx:pt>
          <cx:pt idx="1376">90.483870967741936</cx:pt>
          <cx:pt idx="1377">90.548387096774192</cx:pt>
          <cx:pt idx="1378">90.193548387096769</cx:pt>
          <cx:pt idx="1379">90</cx:pt>
          <cx:pt idx="1380">90.129032258064512</cx:pt>
          <cx:pt idx="1381">90</cx:pt>
          <cx:pt idx="1382">89.709677419354833</cx:pt>
          <cx:pt idx="1383">89.838709677419359</cx:pt>
          <cx:pt idx="1384">89.645161290322577</cx:pt>
          <cx:pt idx="1385">89.677419354838705</cx:pt>
          <cx:pt idx="1386">89.645161290322577</cx:pt>
          <cx:pt idx="1387">89.290322580645167</cx:pt>
          <cx:pt idx="1388">88.967741935483872</cx:pt>
          <cx:pt idx="1389">88.870967741935488</cx:pt>
          <cx:pt idx="1390">88.774193548387103</cx:pt>
          <cx:pt idx="1391">88.677419354838705</cx:pt>
          <cx:pt idx="1392">88.548387096774192</cx:pt>
          <cx:pt idx="1393">88.483870967741936</cx:pt>
          <cx:pt idx="1394">88.806451612903231</cx:pt>
          <cx:pt idx="1395">89</cx:pt>
          <cx:pt idx="1396">89.032258064516128</cx:pt>
          <cx:pt idx="1397">89.387096774193552</cx:pt>
          <cx:pt idx="1398">89.387096774193552</cx:pt>
          <cx:pt idx="1399">89.161290322580641</cx:pt>
          <cx:pt idx="1400">89.709677419354833</cx:pt>
          <cx:pt idx="1401">89.838709677419359</cx:pt>
          <cx:pt idx="1402">89.451612903225808</cx:pt>
          <cx:pt idx="1403">89.225806451612897</cx:pt>
          <cx:pt idx="1404">89.41935483870968</cx:pt>
          <cx:pt idx="1405">89.096774193548384</cx:pt>
          <cx:pt idx="1406">89</cx:pt>
          <cx:pt idx="1407">89.354838709677423</cx:pt>
          <cx:pt idx="1408">89.612903225806448</cx:pt>
          <cx:pt idx="1409">89.838709677419359</cx:pt>
          <cx:pt idx="1410">89.548387096774192</cx:pt>
          <cx:pt idx="1411">89.290322580645167</cx:pt>
          <cx:pt idx="1412">89.129032258064512</cx:pt>
          <cx:pt idx="1413">89.322580645161295</cx:pt>
          <cx:pt idx="1414">88.838709677419359</cx:pt>
          <cx:pt idx="1415">88.677419354838705</cx:pt>
          <cx:pt idx="1416">88.806451612903231</cx:pt>
          <cx:pt idx="1417">89.161290322580641</cx:pt>
          <cx:pt idx="1418">89.709677419354833</cx:pt>
          <cx:pt idx="1419">89.903225806451616</cx:pt>
          <cx:pt idx="1420">89.677419354838705</cx:pt>
          <cx:pt idx="1421">89.677419354838705</cx:pt>
          <cx:pt idx="1422">89.741935483870961</cx:pt>
          <cx:pt idx="1423">89.451612903225808</cx:pt>
          <cx:pt idx="1424">90.032258064516128</cx:pt>
          <cx:pt idx="1425">90.096774193548384</cx:pt>
          <cx:pt idx="1426">89.741935483870961</cx:pt>
          <cx:pt idx="1427">89.58064516129032</cx:pt>
          <cx:pt idx="1428">89.483870967741936</cx:pt>
          <cx:pt idx="1429">89.483870967741936</cx:pt>
          <cx:pt idx="1430">89.612903225806448</cx:pt>
          <cx:pt idx="1431">89.41935483870968</cx:pt>
          <cx:pt idx="1432">89.193548387096769</cx:pt>
          <cx:pt idx="1433">89.225806451612897</cx:pt>
          <cx:pt idx="1434">89.064516129032256</cx:pt>
          <cx:pt idx="1435">88.870967741935488</cx:pt>
          <cx:pt idx="1436">89.129032258064512</cx:pt>
          <cx:pt idx="1437">88.709677419354833</cx:pt>
          <cx:pt idx="1438">88.322580645161295</cx:pt>
          <cx:pt idx="1439">88.193548387096769</cx:pt>
          <cx:pt idx="1440">88.387096774193552</cx:pt>
          <cx:pt idx="1441">88.677419354838705</cx:pt>
          <cx:pt idx="1442">88.612903225806448</cx:pt>
          <cx:pt idx="1443">88.806451612903231</cx:pt>
          <cx:pt idx="1444">88.322580645161295</cx:pt>
          <cx:pt idx="1445">88.838709677419359</cx:pt>
          <cx:pt idx="1446">89.064516129032256</cx:pt>
          <cx:pt idx="1447">89.161290322580641</cx:pt>
          <cx:pt idx="1448">89.161290322580641</cx:pt>
          <cx:pt idx="1449">88.58064516129032</cx:pt>
          <cx:pt idx="1450">88.806451612903231</cx:pt>
          <cx:pt idx="1451">88.516129032258064</cx:pt>
          <cx:pt idx="1452">88.935483870967744</cx:pt>
          <cx:pt idx="1453">88.838709677419359</cx:pt>
          <cx:pt idx="1454">89.032258064516128</cx:pt>
          <cx:pt idx="1455">88.677419354838705</cx:pt>
          <cx:pt idx="1456">88.290322580645167</cx:pt>
          <cx:pt idx="1457">88.225806451612897</cx:pt>
          <cx:pt idx="1458">88.387096774193552</cx:pt>
          <cx:pt idx="1459">88.387096774193552</cx:pt>
          <cx:pt idx="1460">87.774193548387103</cx:pt>
          <cx:pt idx="1461">87.903225806451616</cx:pt>
          <cx:pt idx="1462">87.612903225806448</cx:pt>
          <cx:pt idx="1463">87.935483870967744</cx:pt>
          <cx:pt idx="1464">88.483870967741936</cx:pt>
          <cx:pt idx="1465">88.548387096774192</cx:pt>
          <cx:pt idx="1466">88.58064516129032</cx:pt>
          <cx:pt idx="1467">88.129032258064512</cx:pt>
          <cx:pt idx="1468">88.064516129032256</cx:pt>
          <cx:pt idx="1469">88.161290322580641</cx:pt>
          <cx:pt idx="1470">87.935483870967744</cx:pt>
          <cx:pt idx="1471">87.612903225806448</cx:pt>
          <cx:pt idx="1472">87.903225806451616</cx:pt>
          <cx:pt idx="1473">88.41935483870968</cx:pt>
          <cx:pt idx="1474">88.258064516129039</cx:pt>
          <cx:pt idx="1475">88.612903225806448</cx:pt>
          <cx:pt idx="1476">88.032258064516128</cx:pt>
          <cx:pt idx="1477">87.806451612903231</cx:pt>
          <cx:pt idx="1478">87.935483870967744</cx:pt>
          <cx:pt idx="1479">87.516129032258064</cx:pt>
          <cx:pt idx="1480">87.548387096774192</cx:pt>
          <cx:pt idx="1481">87.387096774193552</cx:pt>
          <cx:pt idx="1482">87.645161290322577</cx:pt>
          <cx:pt idx="1483">87.354838709677423</cx:pt>
          <cx:pt idx="1484">87.870967741935488</cx:pt>
          <cx:pt idx="1485">88.290322580645167</cx:pt>
          <cx:pt idx="1486">88.354838709677423</cx:pt>
          <cx:pt idx="1487">88.225806451612897</cx:pt>
          <cx:pt idx="1488">88.290322580645167</cx:pt>
          <cx:pt idx="1489">88.258064516129039</cx:pt>
          <cx:pt idx="1490">88.225806451612897</cx:pt>
          <cx:pt idx="1491">88.58064516129032</cx:pt>
          <cx:pt idx="1492">88.741935483870961</cx:pt>
          <cx:pt idx="1493">89.225806451612897</cx:pt>
          <cx:pt idx="1494">88.935483870967744</cx:pt>
          <cx:pt idx="1495">88.58064516129032</cx:pt>
          <cx:pt idx="1496">88.612903225806448</cx:pt>
          <cx:pt idx="1497">88.709677419354833</cx:pt>
          <cx:pt idx="1498">88.709677419354833</cx:pt>
          <cx:pt idx="1499">89.225806451612897</cx:pt>
          <cx:pt idx="1500">89.41935483870968</cx:pt>
          <cx:pt idx="1501">89.354838709677423</cx:pt>
          <cx:pt idx="1502">89.806451612903231</cx:pt>
          <cx:pt idx="1503">89.741935483870961</cx:pt>
          <cx:pt idx="1504">89.41935483870968</cx:pt>
          <cx:pt idx="1505">89.451612903225808</cx:pt>
          <cx:pt idx="1506">89.451612903225808</cx:pt>
          <cx:pt idx="1507">89.806451612903231</cx:pt>
          <cx:pt idx="1508">90.129032258064512</cx:pt>
          <cx:pt idx="1509">90.064516129032256</cx:pt>
          <cx:pt idx="1510">90.225806451612897</cx:pt>
          <cx:pt idx="1511">90.516129032258064</cx:pt>
          <cx:pt idx="1512">90.096774193548384</cx:pt>
          <cx:pt idx="1513">90.41935483870968</cx:pt>
          <cx:pt idx="1514">90.645161290322577</cx:pt>
          <cx:pt idx="1515">90.516129032258064</cx:pt>
          <cx:pt idx="1516">90.258064516129039</cx:pt>
          <cx:pt idx="1517">90.064516129032256</cx:pt>
          <cx:pt idx="1518">90.58064516129032</cx:pt>
          <cx:pt idx="1519">90.451612903225808</cx:pt>
          <cx:pt idx="1520">90.290322580645167</cx:pt>
          <cx:pt idx="1521">90.612903225806448</cx:pt>
          <cx:pt idx="1522">90.548387096774192</cx:pt>
          <cx:pt idx="1523">90.290322580645167</cx:pt>
          <cx:pt idx="1524">90.225806451612897</cx:pt>
          <cx:pt idx="1525">90.387096774193552</cx:pt>
          <cx:pt idx="1526">90.774193548387103</cx:pt>
          <cx:pt idx="1527">90.935483870967744</cx:pt>
          <cx:pt idx="1528">91.258064516129039</cx:pt>
          <cx:pt idx="1529">91.645161290322577</cx:pt>
          <cx:pt idx="1530">91.58064516129032</cx:pt>
          <cx:pt idx="1531">91.161290322580641</cx:pt>
          <cx:pt idx="1532">91.709677419354833</cx:pt>
          <cx:pt idx="1533">91.645161290322577</cx:pt>
          <cx:pt idx="1534">91.548387096774192</cx:pt>
          <cx:pt idx="1535">91.516129032258064</cx:pt>
          <cx:pt idx="1536">91.612903225806448</cx:pt>
          <cx:pt idx="1537">91.58064516129032</cx:pt>
          <cx:pt idx="1538">91.225806451612897</cx:pt>
          <cx:pt idx="1539">91</cx:pt>
          <cx:pt idx="1540">90.838709677419359</cx:pt>
          <cx:pt idx="1541">90.774193548387103</cx:pt>
          <cx:pt idx="1542">90.677419354838705</cx:pt>
          <cx:pt idx="1543">90.870967741935488</cx:pt>
          <cx:pt idx="1544">90.903225806451616</cx:pt>
          <cx:pt idx="1545">90.677419354838705</cx:pt>
          <cx:pt idx="1546">90.322580645161295</cx:pt>
          <cx:pt idx="1547">90.451612903225808</cx:pt>
          <cx:pt idx="1548">90.838709677419359</cx:pt>
          <cx:pt idx="1549">90.451612903225808</cx:pt>
          <cx:pt idx="1550">91</cx:pt>
          <cx:pt idx="1551">91.225806451612897</cx:pt>
          <cx:pt idx="1552">90.903225806451616</cx:pt>
          <cx:pt idx="1553">90.870967741935488</cx:pt>
          <cx:pt idx="1554">91.161290322580641</cx:pt>
          <cx:pt idx="1555">91.225806451612897</cx:pt>
          <cx:pt idx="1556">91</cx:pt>
          <cx:pt idx="1557">90.612903225806448</cx:pt>
          <cx:pt idx="1558">90.225806451612897</cx:pt>
          <cx:pt idx="1559">90.161290322580641</cx:pt>
          <cx:pt idx="1560">90.290322580645167</cx:pt>
          <cx:pt idx="1561">90.032258064516128</cx:pt>
          <cx:pt idx="1562">90.290322580645167</cx:pt>
          <cx:pt idx="1563">89.838709677419359</cx:pt>
          <cx:pt idx="1564">89.516129032258064</cx:pt>
          <cx:pt idx="1565">89.451612903225808</cx:pt>
          <cx:pt idx="1566">89.58064516129032</cx:pt>
          <cx:pt idx="1567">89.903225806451616</cx:pt>
          <cx:pt idx="1568">89.870967741935488</cx:pt>
          <cx:pt idx="1569">90.258064516129039</cx:pt>
          <cx:pt idx="1570">90.483870967741936</cx:pt>
          <cx:pt idx="1571">90.516129032258064</cx:pt>
          <cx:pt idx="1572">90.483870967741936</cx:pt>
          <cx:pt idx="1573">90.483870967741936</cx:pt>
          <cx:pt idx="1574">90.548387096774192</cx:pt>
          <cx:pt idx="1575">90.258064516129039</cx:pt>
          <cx:pt idx="1576">90.322580645161295</cx:pt>
          <cx:pt idx="1577">90.516129032258064</cx:pt>
          <cx:pt idx="1578">90.290322580645167</cx:pt>
          <cx:pt idx="1579">90.387096774193552</cx:pt>
          <cx:pt idx="1580">90.838709677419359</cx:pt>
          <cx:pt idx="1581">90.58064516129032</cx:pt>
          <cx:pt idx="1582">90.838709677419359</cx:pt>
          <cx:pt idx="1583">91</cx:pt>
          <cx:pt idx="1584">91.290322580645167</cx:pt>
          <cx:pt idx="1585">91.258064516129039</cx:pt>
          <cx:pt idx="1586">91.129032258064512</cx:pt>
          <cx:pt idx="1587">91.225806451612897</cx:pt>
          <cx:pt idx="1588">91.41935483870968</cx:pt>
          <cx:pt idx="1589">91.903225806451616</cx:pt>
          <cx:pt idx="1590">91.677419354838705</cx:pt>
          <cx:pt idx="1591">91.58064516129032</cx:pt>
          <cx:pt idx="1592">91.967741935483872</cx:pt>
          <cx:pt idx="1593">92.322580645161295</cx:pt>
          <cx:pt idx="1594">92.225806451612897</cx:pt>
          <cx:pt idx="1595">92.516129032258064</cx:pt>
          <cx:pt idx="1596">92.354838709677423</cx:pt>
          <cx:pt idx="1597">92.677419354838705</cx:pt>
          <cx:pt idx="1598">92.451612903225808</cx:pt>
          <cx:pt idx="1599">92.483870967741936</cx:pt>
          <cx:pt idx="1600">92.387096774193552</cx:pt>
          <cx:pt idx="1601">92.387096774193552</cx:pt>
          <cx:pt idx="1602">92.193548387096769</cx:pt>
          <cx:pt idx="1603">92.354838709677423</cx:pt>
          <cx:pt idx="1604">92.41935483870968</cx:pt>
          <cx:pt idx="1605">92.612903225806448</cx:pt>
          <cx:pt idx="1606">92.483870967741936</cx:pt>
          <cx:pt idx="1607">92.677419354838705</cx:pt>
          <cx:pt idx="1608">92.838709677419359</cx:pt>
          <cx:pt idx="1609">92.870967741935488</cx:pt>
          <cx:pt idx="1610">92.290322580645167</cx:pt>
          <cx:pt idx="1611">92.322580645161295</cx:pt>
          <cx:pt idx="1612">92.387096774193552</cx:pt>
          <cx:pt idx="1613">91.935483870967744</cx:pt>
          <cx:pt idx="1614">91.935483870967744</cx:pt>
          <cx:pt idx="1615">91.483870967741936</cx:pt>
          <cx:pt idx="1616">91.225806451612897</cx:pt>
          <cx:pt idx="1617">91.129032258064512</cx:pt>
          <cx:pt idx="1618">90.967741935483872</cx:pt>
          <cx:pt idx="1619">90.645161290322577</cx:pt>
          <cx:pt idx="1620">90.129032258064512</cx:pt>
          <cx:pt idx="1621">90.516129032258064</cx:pt>
          <cx:pt idx="1622">90.193548387096769</cx:pt>
          <cx:pt idx="1623">89.612903225806448</cx:pt>
          <cx:pt idx="1624">89.193548387096769</cx:pt>
          <cx:pt idx="1625">89.741935483870961</cx:pt>
          <cx:pt idx="1626">89.645161290322577</cx:pt>
          <cx:pt idx="1627">89.41935483870968</cx:pt>
          <cx:pt idx="1628">89</cx:pt>
          <cx:pt idx="1629">89.290322580645167</cx:pt>
          <cx:pt idx="1630">89.451612903225808</cx:pt>
          <cx:pt idx="1631">89.548387096774192</cx:pt>
          <cx:pt idx="1632">89.354838709677423</cx:pt>
          <cx:pt idx="1633">89.548387096774192</cx:pt>
          <cx:pt idx="1634">89.548387096774192</cx:pt>
          <cx:pt idx="1635">89.548387096774192</cx:pt>
          <cx:pt idx="1636">89.612903225806448</cx:pt>
          <cx:pt idx="1637">89.677419354838705</cx:pt>
          <cx:pt idx="1638">89.741935483870961</cx:pt>
          <cx:pt idx="1639">89.677419354838705</cx:pt>
          <cx:pt idx="1640">89.806451612903231</cx:pt>
          <cx:pt idx="1641">90.258064516129039</cx:pt>
          <cx:pt idx="1642">89.870967741935488</cx:pt>
          <cx:pt idx="1643">89.741935483870961</cx:pt>
          <cx:pt idx="1644">89.774193548387103</cx:pt>
          <cx:pt idx="1645">89.774193548387103</cx:pt>
          <cx:pt idx="1646">90.161290322580641</cx:pt>
          <cx:pt idx="1647">90.290322580645167</cx:pt>
          <cx:pt idx="1648">90.612903225806448</cx:pt>
          <cx:pt idx="1649">91.161290322580641</cx:pt>
          <cx:pt idx="1650">91.645161290322577</cx:pt>
          <cx:pt idx="1651">92.258064516129039</cx:pt>
          <cx:pt idx="1652">91.903225806451616</cx:pt>
          <cx:pt idx="1653">91.806451612903231</cx:pt>
          <cx:pt idx="1654">92.225806451612897</cx:pt>
          <cx:pt idx="1655">92.258064516129039</cx:pt>
          <cx:pt idx="1656">92.032258064516128</cx:pt>
          <cx:pt idx="1657">91.870967741935488</cx:pt>
          <cx:pt idx="1658">92.225806451612897</cx:pt>
          <cx:pt idx="1659">92.41935483870968</cx:pt>
          <cx:pt idx="1660">91.967741935483872</cx:pt>
          <cx:pt idx="1661">91.709677419354833</cx:pt>
          <cx:pt idx="1662">91.58064516129032</cx:pt>
          <cx:pt idx="1663">91.741935483870961</cx:pt>
          <cx:pt idx="1664">91.709677419354833</cx:pt>
          <cx:pt idx="1665">91.387096774193552</cx:pt>
          <cx:pt idx="1666">91.548387096774192</cx:pt>
          <cx:pt idx="1667">91.354838709677423</cx:pt>
          <cx:pt idx="1668">91.516129032258064</cx:pt>
          <cx:pt idx="1669">91.258064516129039</cx:pt>
          <cx:pt idx="1670">91.58064516129032</cx:pt>
          <cx:pt idx="1671">91.645161290322577</cx:pt>
          <cx:pt idx="1672">91.741935483870961</cx:pt>
          <cx:pt idx="1673">91.516129032258064</cx:pt>
          <cx:pt idx="1674">91.483870967741936</cx:pt>
          <cx:pt idx="1675">91.645161290322577</cx:pt>
          <cx:pt idx="1676">91.354838709677423</cx:pt>
          <cx:pt idx="1677">91.032258064516128</cx:pt>
          <cx:pt idx="1678">90.870967741935488</cx:pt>
          <cx:pt idx="1679">90.709677419354833</cx:pt>
          <cx:pt idx="1680">90.451612903225808</cx:pt>
          <cx:pt idx="1681">90.161290322580641</cx:pt>
          <cx:pt idx="1682">89.58064516129032</cx:pt>
          <cx:pt idx="1683">89.709677419354833</cx:pt>
          <cx:pt idx="1684">90.225806451612897</cx:pt>
          <cx:pt idx="1685">90.032258064516128</cx:pt>
          <cx:pt idx="1686">90.096774193548384</cx:pt>
          <cx:pt idx="1687">89.806451612903231</cx:pt>
          <cx:pt idx="1688">90</cx:pt>
          <cx:pt idx="1689">89.806451612903231</cx:pt>
          <cx:pt idx="1690">89.935483870967744</cx:pt>
          <cx:pt idx="1691">89.838709677419359</cx:pt>
          <cx:pt idx="1692">90.193548387096769</cx:pt>
          <cx:pt idx="1693">90.451612903225808</cx:pt>
          <cx:pt idx="1694">90.161290322580641</cx:pt>
          <cx:pt idx="1695">89.806451612903231</cx:pt>
          <cx:pt idx="1696">90.161290322580641</cx:pt>
          <cx:pt idx="1697">89.838709677419359</cx:pt>
          <cx:pt idx="1698">89.741935483870961</cx:pt>
          <cx:pt idx="1699">90.096774193548384</cx:pt>
          <cx:pt idx="1700">90.548387096774192</cx:pt>
          <cx:pt idx="1701">90.645161290322577</cx:pt>
          <cx:pt idx="1702">90.612903225806448</cx:pt>
          <cx:pt idx="1703">90.806451612903231</cx:pt>
          <cx:pt idx="1704">91.354838709677423</cx:pt>
          <cx:pt idx="1705">91.774193548387103</cx:pt>
          <cx:pt idx="1706">92.322580645161295</cx:pt>
          <cx:pt idx="1707">92.741935483870961</cx:pt>
          <cx:pt idx="1708">93.161290322580641</cx:pt>
          <cx:pt idx="1709">93.516129032258064</cx:pt>
          <cx:pt idx="1710">93.516129032258064</cx:pt>
          <cx:pt idx="1711">93.838709677419359</cx:pt>
          <cx:pt idx="1712">94.258064516129039</cx:pt>
          <cx:pt idx="1713">94.870967741935488</cx:pt>
          <cx:pt idx="1714">94.967741935483872</cx:pt>
          <cx:pt idx="1715">94.903225806451616</cx:pt>
          <cx:pt idx="1716">95.096774193548384</cx:pt>
          <cx:pt idx="1717">95.322580645161295</cx:pt>
          <cx:pt idx="1718">95.967741935483872</cx:pt>
          <cx:pt idx="1719">96.387096774193552</cx:pt>
          <cx:pt idx="1720">97.032258064516128</cx:pt>
          <cx:pt idx="1721">97.129032258064512</cx:pt>
          <cx:pt idx="1722">97.838709677419359</cx:pt>
          <cx:pt idx="1723">97.967741935483872</cx:pt>
          <cx:pt idx="1724">97.967741935483872</cx:pt>
          <cx:pt idx="1725">98.451612903225808</cx:pt>
          <cx:pt idx="1726">98.967741935483872</cx:pt>
          <cx:pt idx="1727">99.354838709677423</cx:pt>
          <cx:pt idx="1728">100</cx:pt>
          <cx:pt idx="1729">100.45161290322581</cx:pt>
          <cx:pt idx="1730">100.12903225806451</cx:pt>
          <cx:pt idx="1731">100.06451612903226</cx:pt>
          <cx:pt idx="1732">99.838709677419359</cx:pt>
          <cx:pt idx="1733">99.903225806451616</cx:pt>
          <cx:pt idx="1734">99.806451612903231</cx:pt>
          <cx:pt idx="1735">100</cx:pt>
          <cx:pt idx="1736">100.12903225806451</cx:pt>
          <cx:pt idx="1737">100.12903225806451</cx:pt>
          <cx:pt idx="1738">100.12903225806451</cx:pt>
          <cx:pt idx="1739">100.19354838709677</cx:pt>
          <cx:pt idx="1740">100.3225806451613</cx:pt>
          <cx:pt idx="1741">100.48387096774194</cx:pt>
          <cx:pt idx="1742">100.58064516129032</cx:pt>
          <cx:pt idx="1743">100.3225806451613</cx:pt>
          <cx:pt idx="1744">99.709677419354833</cx:pt>
          <cx:pt idx="1745">99.258064516129039</cx:pt>
          <cx:pt idx="1746">99</cx:pt>
          <cx:pt idx="1747">98.645161290322577</cx:pt>
          <cx:pt idx="1748">98.774193548387103</cx:pt>
          <cx:pt idx="1749">98.548387096774192</cx:pt>
          <cx:pt idx="1750">98.193548387096769</cx:pt>
          <cx:pt idx="1751">97.838709677419359</cx:pt>
          <cx:pt idx="1752">97.290322580645167</cx:pt>
          <cx:pt idx="1753">97.064516129032256</cx:pt>
          <cx:pt idx="1754">96.516129032258064</cx:pt>
          <cx:pt idx="1755">96.387096774193552</cx:pt>
          <cx:pt idx="1756">95.903225806451616</cx:pt>
          <cx:pt idx="1757">95.677419354838705</cx:pt>
          <cx:pt idx="1758">95.225806451612897</cx:pt>
          <cx:pt idx="1759">94.677419354838705</cx:pt>
          <cx:pt idx="1760">94.354838709677423</cx:pt>
          <cx:pt idx="1761">94.161290322580641</cx:pt>
          <cx:pt idx="1762">93.709677419354833</cx:pt>
          <cx:pt idx="1763">93.290322580645167</cx:pt>
          <cx:pt idx="1764">92.967741935483872</cx:pt>
          <cx:pt idx="1765">92.935483870967744</cx:pt>
          <cx:pt idx="1766">92.322580645161295</cx:pt>
          <cx:pt idx="1767">92</cx:pt>
          <cx:pt idx="1768">91.677419354838705</cx:pt>
          <cx:pt idx="1769">91.290322580645167</cx:pt>
          <cx:pt idx="1770">90.935483870967744</cx:pt>
          <cx:pt idx="1771">90.677419354838705</cx:pt>
          <cx:pt idx="1772">90.096774193548384</cx:pt>
          <cx:pt idx="1773">89.58064516129032</cx:pt>
          <cx:pt idx="1774">89.516129032258064</cx:pt>
          <cx:pt idx="1775">89.612903225806448</cx:pt>
          <cx:pt idx="1776">89.935483870967744</cx:pt>
          <cx:pt idx="1777">89.709677419354833</cx:pt>
          <cx:pt idx="1778">90.225806451612897</cx:pt>
          <cx:pt idx="1779">90.193548387096769</cx:pt>
          <cx:pt idx="1780">89.903225806451616</cx:pt>
          <cx:pt idx="1781">89.870967741935488</cx:pt>
          <cx:pt idx="1782">89.483870967741936</cx:pt>
          <cx:pt idx="1783">89.806451612903231</cx:pt>
          <cx:pt idx="1784">89.387096774193552</cx:pt>
          <cx:pt idx="1785">89.516129032258064</cx:pt>
          <cx:pt idx="1786">89.645161290322577</cx:pt>
          <cx:pt idx="1787">89.935483870967744</cx:pt>
          <cx:pt idx="1788">90.225806451612897</cx:pt>
          <cx:pt idx="1789">90.516129032258064</cx:pt>
          <cx:pt idx="1790">90.290322580645167</cx:pt>
          <cx:pt idx="1791">90.096774193548384</cx:pt>
          <cx:pt idx="1792">90.387096774193552</cx:pt>
          <cx:pt idx="1793">90.258064516129039</cx:pt>
          <cx:pt idx="1794">90.322580645161295</cx:pt>
          <cx:pt idx="1795">90.548387096774192</cx:pt>
          <cx:pt idx="1796">90.451612903225808</cx:pt>
          <cx:pt idx="1797">90.548387096774192</cx:pt>
          <cx:pt idx="1798">90.322580645161295</cx:pt>
          <cx:pt idx="1799">90.451612903225808</cx:pt>
          <cx:pt idx="1800">90.387096774193552</cx:pt>
          <cx:pt idx="1801">90.193548387096769</cx:pt>
          <cx:pt idx="1802">89.967741935483872</cx:pt>
          <cx:pt idx="1803">90.387096774193552</cx:pt>
          <cx:pt idx="1804">90.225806451612897</cx:pt>
          <cx:pt idx="1805">90.032258064516128</cx:pt>
          <cx:pt idx="1806">90.322580645161295</cx:pt>
          <cx:pt idx="1807">90.193548387096769</cx:pt>
          <cx:pt idx="1808">90.774193548387103</cx:pt>
          <cx:pt idx="1809">90.58064516129032</cx:pt>
          <cx:pt idx="1810">90.548387096774192</cx:pt>
          <cx:pt idx="1811">90.741935483870961</cx:pt>
          <cx:pt idx="1812">90.354838709677423</cx:pt>
          <cx:pt idx="1813">90.451612903225808</cx:pt>
          <cx:pt idx="1814">90.548387096774192</cx:pt>
          <cx:pt idx="1815">90.903225806451616</cx:pt>
          <cx:pt idx="1816">91.161290322580641</cx:pt>
          <cx:pt idx="1817">90.645161290322577</cx:pt>
          <cx:pt idx="1818">90.387096774193552</cx:pt>
          <cx:pt idx="1819">90.290322580645167</cx:pt>
          <cx:pt idx="1820">89.677419354838705</cx:pt>
          <cx:pt idx="1821">90.225806451612897</cx:pt>
          <cx:pt idx="1822">90.322580645161295</cx:pt>
          <cx:pt idx="1823">90.096774193548384</cx:pt>
          <cx:pt idx="1824">90.096774193548384</cx:pt>
          <cx:pt idx="1825">90.225806451612897</cx:pt>
          <cx:pt idx="1826">89.774193548387103</cx:pt>
          <cx:pt idx="1827">89.41935483870968</cx:pt>
          <cx:pt idx="1828">89.516129032258064</cx:pt>
          <cx:pt idx="1829">89.645161290322577</cx:pt>
          <cx:pt idx="1830">89.290322580645167</cx:pt>
          <cx:pt idx="1831">89.838709677419359</cx:pt>
          <cx:pt idx="1832">90.129032258064512</cx:pt>
          <cx:pt idx="1833">90.258064516129039</cx:pt>
          <cx:pt idx="1834">90.193548387096769</cx:pt>
          <cx:pt idx="1835">90.483870967741936</cx:pt>
          <cx:pt idx="1836">90.483870967741936</cx:pt>
          <cx:pt idx="1837">90.290322580645167</cx:pt>
          <cx:pt idx="1838">90.161290322580641</cx:pt>
          <cx:pt idx="1839">89.612903225806448</cx:pt>
          <cx:pt idx="1840">89.225806451612897</cx:pt>
          <cx:pt idx="1841">88.806451612903231</cx:pt>
          <cx:pt idx="1842">88.806451612903231</cx:pt>
          <cx:pt idx="1843">89.193548387096769</cx:pt>
          <cx:pt idx="1844">89.645161290322577</cx:pt>
          <cx:pt idx="1845">89.41935483870968</cx:pt>
          <cx:pt idx="1846">89.161290322580641</cx:pt>
          <cx:pt idx="1847">89.096774193548384</cx:pt>
          <cx:pt idx="1848">89.516129032258064</cx:pt>
          <cx:pt idx="1849">89.645161290322577</cx:pt>
          <cx:pt idx="1850">89.677419354838705</cx:pt>
          <cx:pt idx="1851">90.225806451612897</cx:pt>
          <cx:pt idx="1852">90.258064516129039</cx:pt>
          <cx:pt idx="1853">89.967741935483872</cx:pt>
          <cx:pt idx="1854">89.935483870967744</cx:pt>
          <cx:pt idx="1855">90.161290322580641</cx:pt>
          <cx:pt idx="1856">90.064516129032256</cx:pt>
          <cx:pt idx="1857">90.677419354838705</cx:pt>
          <cx:pt idx="1858">90.516129032258064</cx:pt>
          <cx:pt idx="1859">90.193548387096769</cx:pt>
          <cx:pt idx="1860">90.451612903225808</cx:pt>
          <cx:pt idx="1861">90.193548387096769</cx:pt>
          <cx:pt idx="1862">89.677419354838705</cx:pt>
          <cx:pt idx="1863">89.548387096774192</cx:pt>
          <cx:pt idx="1864">89.516129032258064</cx:pt>
          <cx:pt idx="1865">89.161290322580641</cx:pt>
          <cx:pt idx="1866">89.322580645161295</cx:pt>
          <cx:pt idx="1867">89.354838709677423</cx:pt>
          <cx:pt idx="1868">89.741935483870961</cx:pt>
          <cx:pt idx="1869">90.161290322580641</cx:pt>
          <cx:pt idx="1870">90.322580645161295</cx:pt>
          <cx:pt idx="1871">90.806451612903231</cx:pt>
          <cx:pt idx="1872">90.709677419354833</cx:pt>
          <cx:pt idx="1873">90.290322580645167</cx:pt>
          <cx:pt idx="1874">90.483870967741936</cx:pt>
          <cx:pt idx="1875">90</cx:pt>
          <cx:pt idx="1876">90.354838709677423</cx:pt>
          <cx:pt idx="1877">90.548387096774192</cx:pt>
          <cx:pt idx="1878">90.677419354838705</cx:pt>
          <cx:pt idx="1879">90.741935483870961</cx:pt>
          <cx:pt idx="1880">90.935483870967744</cx:pt>
          <cx:pt idx="1881">91.032258064516128</cx:pt>
          <cx:pt idx="1882">90.709677419354833</cx:pt>
          <cx:pt idx="1883">90.741935483870961</cx:pt>
          <cx:pt idx="1884">90.967741935483872</cx:pt>
          <cx:pt idx="1885">91.193548387096769</cx:pt>
          <cx:pt idx="1886">91.516129032258064</cx:pt>
          <cx:pt idx="1887">91.967741935483872</cx:pt>
          <cx:pt idx="1888">91.838709677419359</cx:pt>
          <cx:pt idx="1889">92.548387096774192</cx:pt>
          <cx:pt idx="1890">93.225806451612897</cx:pt>
          <cx:pt idx="1891">93.225806451612897</cx:pt>
          <cx:pt idx="1892">93.870967741935488</cx:pt>
          <cx:pt idx="1893">94.290322580645167</cx:pt>
          <cx:pt idx="1894">94.741935483870961</cx:pt>
          <cx:pt idx="1895">95.064516129032256</cx:pt>
          <cx:pt idx="1896">95.645161290322577</cx:pt>
          <cx:pt idx="1897">95.58064516129032</cx:pt>
          <cx:pt idx="1898">96.096774193548384</cx:pt>
          <cx:pt idx="1899">96.193548387096769</cx:pt>
          <cx:pt idx="1900">96.258064516129039</cx:pt>
          <cx:pt idx="1901">96.774193548387103</cx:pt>
          <cx:pt idx="1902">96.741935483870961</cx:pt>
          <cx:pt idx="1903">97.483870967741936</cx:pt>
          <cx:pt idx="1904">98</cx:pt>
          <cx:pt idx="1905">98.064516129032256</cx:pt>
          <cx:pt idx="1906">98.451612903225808</cx:pt>
          <cx:pt idx="1907">98.612903225806448</cx:pt>
          <cx:pt idx="1908">99.032258064516128</cx:pt>
          <cx:pt idx="1909">99.129032258064512</cx:pt>
          <cx:pt idx="1910">99.161290322580641</cx:pt>
          <cx:pt idx="1911">99.064516129032256</cx:pt>
          <cx:pt idx="1912">98.967741935483872</cx:pt>
          <cx:pt idx="1913">99.387096774193552</cx:pt>
          <cx:pt idx="1914">99.516129032258064</cx:pt>
          <cx:pt idx="1915">99.838709677419359</cx:pt>
          <cx:pt idx="1916">99.903225806451616</cx:pt>
          <cx:pt idx="1917">99.870967741935488</cx:pt>
          <cx:pt idx="1918">100.03225806451613</cx:pt>
          <cx:pt idx="1919">100.29032258064517</cx:pt>
          <cx:pt idx="1920">100.25806451612904</cx:pt>
          <cx:pt idx="1921">100.03225806451613</cx:pt>
          <cx:pt idx="1922">99.903225806451616</cx:pt>
          <cx:pt idx="1923">99.774193548387103</cx:pt>
          <cx:pt idx="1924">99.870967741935488</cx:pt>
          <cx:pt idx="1925">99.838709677419359</cx:pt>
          <cx:pt idx="1926">99.967741935483872</cx:pt>
          <cx:pt idx="1927">100.09677419354838</cx:pt>
          <cx:pt idx="1928">100.16129032258064</cx:pt>
          <cx:pt idx="1929">100.03225806451613</cx:pt>
          <cx:pt idx="1930">99.806451612903231</cx:pt>
          <cx:pt idx="1931">99.741935483870961</cx:pt>
          <cx:pt idx="1932">99.483870967741936</cx:pt>
          <cx:pt idx="1933">99.225806451612897</cx:pt>
          <cx:pt idx="1934">98.774193548387103</cx:pt>
          <cx:pt idx="1935">98.58064516129032</cx:pt>
          <cx:pt idx="1936">98.451612903225808</cx:pt>
          <cx:pt idx="1937">98.387096774193552</cx:pt>
          <cx:pt idx="1938">97.774193548387103</cx:pt>
          <cx:pt idx="1939">97.387096774193552</cx:pt>
          <cx:pt idx="1940">97.290322580645167</cx:pt>
          <cx:pt idx="1941">96.967741935483872</cx:pt>
          <cx:pt idx="1942">96.516129032258064</cx:pt>
          <cx:pt idx="1943">96.483870967741936</cx:pt>
          <cx:pt idx="1944">95.903225806451616</cx:pt>
          <cx:pt idx="1945">95.709677419354833</cx:pt>
          <cx:pt idx="1946">95.645161290322577</cx:pt>
          <cx:pt idx="1947">95.193548387096769</cx:pt>
          <cx:pt idx="1948">94.774193548387103</cx:pt>
          <cx:pt idx="1949">93.967741935483872</cx:pt>
          <cx:pt idx="1950">93.41935483870968</cx:pt>
          <cx:pt idx="1951">92.935483870967744</cx:pt>
          <cx:pt idx="1952">92.806451612903231</cx:pt>
          <cx:pt idx="1953">92.903225806451616</cx:pt>
          <cx:pt idx="1954">92.806451612903231</cx:pt>
          <cx:pt idx="1955">92.58064516129032</cx:pt>
          <cx:pt idx="1956">92.354838709677423</cx:pt>
          <cx:pt idx="1957">91.967741935483872</cx:pt>
          <cx:pt idx="1958">91.290322580645167</cx:pt>
          <cx:pt idx="1959">91.129032258064512</cx:pt>
          <cx:pt idx="1960">90.516129032258064</cx:pt>
          <cx:pt idx="1961">90.032258064516128</cx:pt>
          <cx:pt idx="1962">89.548387096774192</cx:pt>
          <cx:pt idx="1963">89.161290322580641</cx:pt>
          <cx:pt idx="1964">89.516129032258064</cx:pt>
          <cx:pt idx="1965">89.483870967741936</cx:pt>
          <cx:pt idx="1966">89.677419354838705</cx:pt>
          <cx:pt idx="1967">89.322580645161295</cx:pt>
          <cx:pt idx="1968">89.290322580645167</cx:pt>
          <cx:pt idx="1969">89.258064516129039</cx:pt>
          <cx:pt idx="1970">89.41935483870968</cx:pt>
          <cx:pt idx="1971">88.838709677419359</cx:pt>
          <cx:pt idx="1972">88.806451612903231</cx:pt>
          <cx:pt idx="1973">88.935483870967744</cx:pt>
          <cx:pt idx="1974">88.516129032258064</cx:pt>
          <cx:pt idx="1975">88.903225806451616</cx:pt>
          <cx:pt idx="1976">88.516129032258064</cx:pt>
          <cx:pt idx="1977">88.064516129032256</cx:pt>
          <cx:pt idx="1978">87.903225806451616</cx:pt>
          <cx:pt idx="1979">87.774193548387103</cx:pt>
          <cx:pt idx="1980">87.967741935483872</cx:pt>
          <cx:pt idx="1981">88.258064516129039</cx:pt>
          <cx:pt idx="1982">88.41935483870968</cx:pt>
          <cx:pt idx="1983">88.451612903225808</cx:pt>
          <cx:pt idx="1984">88.064516129032256</cx:pt>
          <cx:pt idx="1985">88.290322580645167</cx:pt>
          <cx:pt idx="1986">88.193548387096769</cx:pt>
          <cx:pt idx="1987">88.161290322580641</cx:pt>
          <cx:pt idx="1988">88.161290322580641</cx:pt>
          <cx:pt idx="1989">88.161290322580641</cx:pt>
          <cx:pt idx="1990">88</cx:pt>
          <cx:pt idx="1991">88.064516129032256</cx:pt>
          <cx:pt idx="1992">88.709677419354833</cx:pt>
          <cx:pt idx="1993">89.225806451612897</cx:pt>
          <cx:pt idx="1994">89.354838709677423</cx:pt>
          <cx:pt idx="1995">89.096774193548384</cx:pt>
          <cx:pt idx="1996">89.41935483870968</cx:pt>
          <cx:pt idx="1997">88.967741935483872</cx:pt>
          <cx:pt idx="1998">88.838709677419359</cx:pt>
          <cx:pt idx="1999">88.677419354838705</cx:pt>
          <cx:pt idx="2000">88.806451612903231</cx:pt>
          <cx:pt idx="2001">88.774193548387103</cx:pt>
          <cx:pt idx="2002">89.161290322580641</cx:pt>
          <cx:pt idx="2003">89.354838709677423</cx:pt>
          <cx:pt idx="2004">89.161290322580641</cx:pt>
          <cx:pt idx="2005">89.516129032258064</cx:pt>
          <cx:pt idx="2006">89.064516129032256</cx:pt>
          <cx:pt idx="2007">88.935483870967744</cx:pt>
          <cx:pt idx="2008">88.935483870967744</cx:pt>
          <cx:pt idx="2009">89.032258064516128</cx:pt>
          <cx:pt idx="2010">89.096774193548384</cx:pt>
          <cx:pt idx="2011">88.903225806451616</cx:pt>
          <cx:pt idx="2012">88.645161290322577</cx:pt>
          <cx:pt idx="2013">88.354838709677423</cx:pt>
          <cx:pt idx="2014">88.129032258064512</cx:pt>
          <cx:pt idx="2015">88.193548387096769</cx:pt>
          <cx:pt idx="2016">88.193548387096769</cx:pt>
          <cx:pt idx="2017">88</cx:pt>
          <cx:pt idx="2018">87.903225806451616</cx:pt>
          <cx:pt idx="2019">88</cx:pt>
          <cx:pt idx="2020">88.032258064516128</cx:pt>
          <cx:pt idx="2021">88.258064516129039</cx:pt>
          <cx:pt idx="2022">88.161290322580641</cx:pt>
          <cx:pt idx="2023">87.870967741935488</cx:pt>
          <cx:pt idx="2024">87.774193548387103</cx:pt>
          <cx:pt idx="2025">88.032258064516128</cx:pt>
          <cx:pt idx="2026">87.903225806451616</cx:pt>
          <cx:pt idx="2027">87.903225806451616</cx:pt>
          <cx:pt idx="2028">87.903225806451616</cx:pt>
          <cx:pt idx="2029">87.967741935483872</cx:pt>
          <cx:pt idx="2030">88.193548387096769</cx:pt>
          <cx:pt idx="2031">87.935483870967744</cx:pt>
          <cx:pt idx="2032">87.58064516129032</cx:pt>
          <cx:pt idx="2033">87.193548387096769</cx:pt>
          <cx:pt idx="2034">87.096774193548384</cx:pt>
          <cx:pt idx="2035">87.548387096774192</cx:pt>
          <cx:pt idx="2036">87.677419354838705</cx:pt>
          <cx:pt idx="2037">88.161290322580641</cx:pt>
          <cx:pt idx="2038">88.225806451612897</cx:pt>
          <cx:pt idx="2039">88.741935483870961</cx:pt>
          <cx:pt idx="2040">89.129032258064512</cx:pt>
          <cx:pt idx="2041">89.41935483870968</cx:pt>
          <cx:pt idx="2042">89.516129032258064</cx:pt>
          <cx:pt idx="2043">89.322580645161295</cx:pt>
          <cx:pt idx="2044">89.387096774193552</cx:pt>
          <cx:pt idx="2045">89.225806451612897</cx:pt>
          <cx:pt idx="2046">88.935483870967744</cx:pt>
          <cx:pt idx="2047">88.387096774193552</cx:pt>
          <cx:pt idx="2048">88.677419354838705</cx:pt>
          <cx:pt idx="2049">88.677419354838705</cx:pt>
          <cx:pt idx="2050">88.387096774193552</cx:pt>
          <cx:pt idx="2051">88.741935483870961</cx:pt>
          <cx:pt idx="2052">88.41935483870968</cx:pt>
          <cx:pt idx="2053">88.58064516129032</cx:pt>
          <cx:pt idx="2054">88.225806451612897</cx:pt>
          <cx:pt idx="2055">87.870967741935488</cx:pt>
          <cx:pt idx="2056">87.58064516129032</cx:pt>
          <cx:pt idx="2057">87.483870967741936</cx:pt>
          <cx:pt idx="2058">87.225806451612897</cx:pt>
          <cx:pt idx="2059">87.58064516129032</cx:pt>
          <cx:pt idx="2060">87.870967741935488</cx:pt>
          <cx:pt idx="2061">87.870967741935488</cx:pt>
          <cx:pt idx="2062">88.129032258064512</cx:pt>
          <cx:pt idx="2063">88.483870967741936</cx:pt>
          <cx:pt idx="2064">88.838709677419359</cx:pt>
          <cx:pt idx="2065">88.967741935483872</cx:pt>
          <cx:pt idx="2066">88.709677419354833</cx:pt>
          <cx:pt idx="2067">88.774193548387103</cx:pt>
          <cx:pt idx="2068">88.645161290322577</cx:pt>
          <cx:pt idx="2069">88.903225806451616</cx:pt>
          <cx:pt idx="2070">88.774193548387103</cx:pt>
          <cx:pt idx="2071">88.741935483870961</cx:pt>
          <cx:pt idx="2072">88.516129032258064</cx:pt>
          <cx:pt idx="2073">88.967741935483872</cx:pt>
          <cx:pt idx="2074">89</cx:pt>
          <cx:pt idx="2075">89.064516129032256</cx:pt>
          <cx:pt idx="2076">89.516129032258064</cx:pt>
          <cx:pt idx="2077">89.774193548387103</cx:pt>
          <cx:pt idx="2078">89.677419354838705</cx:pt>
          <cx:pt idx="2079">89.41935483870968</cx:pt>
          <cx:pt idx="2080">89.741935483870961</cx:pt>
          <cx:pt idx="2081">90.129032258064512</cx:pt>
          <cx:pt idx="2082">90.290322580645167</cx:pt>
          <cx:pt idx="2083">90.451612903225808</cx:pt>
          <cx:pt idx="2084">90.838709677419359</cx:pt>
          <cx:pt idx="2085">91.290322580645167</cx:pt>
          <cx:pt idx="2086">91.677419354838705</cx:pt>
          <cx:pt idx="2087">92.032258064516128</cx:pt>
          <cx:pt idx="2088">91.935483870967744</cx:pt>
          <cx:pt idx="2089">92</cx:pt>
          <cx:pt idx="2090">91.677419354838705</cx:pt>
          <cx:pt idx="2091">91.548387096774192</cx:pt>
          <cx:pt idx="2092">91.41935483870968</cx:pt>
          <cx:pt idx="2093">91.709677419354833</cx:pt>
          <cx:pt idx="2094">91.354838709677423</cx:pt>
          <cx:pt idx="2095">91.322580645161295</cx:pt>
          <cx:pt idx="2096">91.129032258064512</cx:pt>
          <cx:pt idx="2097">91.161290322580641</cx:pt>
          <cx:pt idx="2098">90.806451612903231</cx:pt>
          <cx:pt idx="2099">90.451612903225808</cx:pt>
          <cx:pt idx="2100">90.193548387096769</cx:pt>
          <cx:pt idx="2101">90</cx:pt>
          <cx:pt idx="2102">89.58064516129032</cx:pt>
          <cx:pt idx="2103">90.064516129032256</cx:pt>
          <cx:pt idx="2104">89.903225806451616</cx:pt>
          <cx:pt idx="2105">90.322580645161295</cx:pt>
          <cx:pt idx="2106">90.354838709677423</cx:pt>
          <cx:pt idx="2107">89.935483870967744</cx:pt>
          <cx:pt idx="2108">89.903225806451616</cx:pt>
          <cx:pt idx="2109">89.967741935483872</cx:pt>
          <cx:pt idx="2110">90.129032258064512</cx:pt>
          <cx:pt idx="2111">89.870967741935488</cx:pt>
          <cx:pt idx="2112">89.41935483870968</cx:pt>
          <cx:pt idx="2113">89</cx:pt>
          <cx:pt idx="2114">88.677419354838705</cx:pt>
          <cx:pt idx="2115">88.548387096774192</cx:pt>
          <cx:pt idx="2116">88.290322580645167</cx:pt>
          <cx:pt idx="2117">88.193548387096769</cx:pt>
          <cx:pt idx="2118">88.258064516129039</cx:pt>
          <cx:pt idx="2119">88.806451612903231</cx:pt>
          <cx:pt idx="2120">88.870967741935488</cx:pt>
          <cx:pt idx="2121">89.193548387096769</cx:pt>
          <cx:pt idx="2122">89.354838709677423</cx:pt>
          <cx:pt idx="2123">89.387096774193552</cx:pt>
          <cx:pt idx="2124">88.967741935483872</cx:pt>
          <cx:pt idx="2125">89.129032258064512</cx:pt>
          <cx:pt idx="2126">89.064516129032256</cx:pt>
          <cx:pt idx="2127">89.322580645161295</cx:pt>
          <cx:pt idx="2128">89.58064516129032</cx:pt>
          <cx:pt idx="2129">89.870967741935488</cx:pt>
          <cx:pt idx="2130">90.193548387096769</cx:pt>
          <cx:pt idx="2131">90.58064516129032</cx:pt>
          <cx:pt idx="2132">90.774193548387103</cx:pt>
          <cx:pt idx="2133">91.129032258064512</cx:pt>
          <cx:pt idx="2134">90.483870967741936</cx:pt>
          <cx:pt idx="2135">90.193548387096769</cx:pt>
          <cx:pt idx="2136">90.225806451612897</cx:pt>
          <cx:pt idx="2137">90.032258064516128</cx:pt>
          <cx:pt idx="2138">90.258064516129039</cx:pt>
          <cx:pt idx="2139">90.612903225806448</cx:pt>
          <cx:pt idx="2140">90.838709677419359</cx:pt>
          <cx:pt idx="2141">91.096774193548384</cx:pt>
          <cx:pt idx="2142">91.129032258064512</cx:pt>
          <cx:pt idx="2143">91.387096774193552</cx:pt>
          <cx:pt idx="2144">91.677419354838705</cx:pt>
          <cx:pt idx="2145">91.870967741935488</cx:pt>
          <cx:pt idx="2146">91.903225806451616</cx:pt>
          <cx:pt idx="2147">92.225806451612897</cx:pt>
          <cx:pt idx="2148">92.451612903225808</cx:pt>
          <cx:pt idx="2149">92.129032258064512</cx:pt>
          <cx:pt idx="2150">91.645161290322577</cx:pt>
          <cx:pt idx="2151">91.741935483870961</cx:pt>
          <cx:pt idx="2152">91.612903225806448</cx:pt>
          <cx:pt idx="2153">91.161290322580641</cx:pt>
          <cx:pt idx="2154">91.322580645161295</cx:pt>
          <cx:pt idx="2155">91.677419354838705</cx:pt>
          <cx:pt idx="2156">91.58064516129032</cx:pt>
          <cx:pt idx="2157">91.806451612903231</cx:pt>
          <cx:pt idx="2158">91.451612903225808</cx:pt>
          <cx:pt idx="2159">90.967741935483872</cx:pt>
          <cx:pt idx="2160">90.935483870967744</cx:pt>
          <cx:pt idx="2161">90.935483870967744</cx:pt>
          <cx:pt idx="2162">90.967741935483872</cx:pt>
          <cx:pt idx="2163">91.161290322580641</cx:pt>
          <cx:pt idx="2164">91.064516129032256</cx:pt>
          <cx:pt idx="2165">91.387096774193552</cx:pt>
          <cx:pt idx="2166">91.935483870967744</cx:pt>
          <cx:pt idx="2167">91.516129032258064</cx:pt>
          <cx:pt idx="2168">91.58064516129032</cx:pt>
          <cx:pt idx="2169">91.322580645161295</cx:pt>
          <cx:pt idx="2170">90.774193548387103</cx:pt>
          <cx:pt idx="2171">90.903225806451616</cx:pt>
          <cx:pt idx="2172">90.41935483870968</cx:pt>
          <cx:pt idx="2173">90.290322580645167</cx:pt>
          <cx:pt idx="2174">90.032258064516128</cx:pt>
          <cx:pt idx="2175">89.677419354838705</cx:pt>
          <cx:pt idx="2176">90.096774193548384</cx:pt>
          <cx:pt idx="2177">90.161290322580641</cx:pt>
          <cx:pt idx="2178">89.870967741935488</cx:pt>
          <cx:pt idx="2179">89.612903225806448</cx:pt>
          <cx:pt idx="2180">89.354838709677423</cx:pt>
          <cx:pt idx="2181">89.322580645161295</cx:pt>
          <cx:pt idx="2182">89.225806451612897</cx:pt>
          <cx:pt idx="2183">89.129032258064512</cx:pt>
          <cx:pt idx="2184">89.709677419354833</cx:pt>
          <cx:pt idx="2185">89.548387096774192</cx:pt>
          <cx:pt idx="2186">89.58064516129032</cx:pt>
          <cx:pt idx="2187">89.645161290322577</cx:pt>
          <cx:pt idx="2188">89.709677419354833</cx:pt>
          <cx:pt idx="2189">89.967741935483872</cx:pt>
          <cx:pt idx="2190">89.967741935483872</cx:pt>
          <cx:pt idx="2191">89.935483870967744</cx:pt>
          <cx:pt idx="2192">90.032258064516128</cx:pt>
          <cx:pt idx="2193">89.612903225806448</cx:pt>
          <cx:pt idx="2194">89.322580645161295</cx:pt>
          <cx:pt idx="2195">89.129032258064512</cx:pt>
          <cx:pt idx="2196">89.354838709677423</cx:pt>
          <cx:pt idx="2197">89.354838709677423</cx:pt>
          <cx:pt idx="2198">89.58064516129032</cx:pt>
          <cx:pt idx="2199">89.516129032258064</cx:pt>
          <cx:pt idx="2200">89.806451612903231</cx:pt>
          <cx:pt idx="2201">90.387096774193552</cx:pt>
          <cx:pt idx="2202">90.41935483870968</cx:pt>
          <cx:pt idx="2203">90.741935483870961</cx:pt>
          <cx:pt idx="2204">90.58064516129032</cx:pt>
          <cx:pt idx="2205">90.645161290322577</cx:pt>
          <cx:pt idx="2206">91.064516129032256</cx:pt>
          <cx:pt idx="2207">90.58064516129032</cx:pt>
          <cx:pt idx="2208">90.516129032258064</cx:pt>
          <cx:pt idx="2209">90.612903225806448</cx:pt>
          <cx:pt idx="2210">90.451612903225808</cx:pt>
          <cx:pt idx="2211">90.741935483870961</cx:pt>
          <cx:pt idx="2212">90.741935483870961</cx:pt>
          <cx:pt idx="2213">90.516129032258064</cx:pt>
          <cx:pt idx="2214">90.41935483870968</cx:pt>
          <cx:pt idx="2215">89.838709677419359</cx:pt>
          <cx:pt idx="2216">89.903225806451616</cx:pt>
          <cx:pt idx="2217">89.967741935483872</cx:pt>
          <cx:pt idx="2218">90.193548387096769</cx:pt>
          <cx:pt idx="2219">90.096774193548384</cx:pt>
          <cx:pt idx="2220">90.129032258064512</cx:pt>
          <cx:pt idx="2221">90.612903225806448</cx:pt>
          <cx:pt idx="2222">90.451612903225808</cx:pt>
          <cx:pt idx="2223">90.903225806451616</cx:pt>
          <cx:pt idx="2224">91.838709677419359</cx:pt>
          <cx:pt idx="2225">92.548387096774192</cx:pt>
          <cx:pt idx="2226">93.096774193548384</cx:pt>
          <cx:pt idx="2227">93.451612903225808</cx:pt>
          <cx:pt idx="2228">93.806451612903231</cx:pt>
          <cx:pt idx="2229">94.41935483870968</cx:pt>
          <cx:pt idx="2230">95.032258064516128</cx:pt>
          <cx:pt idx="2231">95.612903225806448</cx:pt>
          <cx:pt idx="2232">95.903225806451616</cx:pt>
          <cx:pt idx="2233">96.193548387096769</cx:pt>
          <cx:pt idx="2234">96.516129032258064</cx:pt>
          <cx:pt idx="2235">97.161290322580641</cx:pt>
          <cx:pt idx="2236">98</cx:pt>
          <cx:pt idx="2237">98.516129032258064</cx:pt>
          <cx:pt idx="2238">99.258064516129039</cx:pt>
          <cx:pt idx="2239">99.645161290322577</cx:pt>
          <cx:pt idx="2240">100</cx:pt>
          <cx:pt idx="2241">100.74193548387096</cx:pt>
          <cx:pt idx="2242">101</cx:pt>
          <cx:pt idx="2243">101.58064516129032</cx:pt>
          <cx:pt idx="2244">102.03225806451613</cx:pt>
          <cx:pt idx="2245">103.06451612903226</cx:pt>
          <cx:pt idx="2246">103.70967741935483</cx:pt>
          <cx:pt idx="2247">104.35483870967742</cx:pt>
          <cx:pt idx="2248">104.41935483870968</cx:pt>
          <cx:pt idx="2249">104.6774193548387</cx:pt>
          <cx:pt idx="2250">104.87096774193549</cx:pt>
          <cx:pt idx="2251">105.16129032258064</cx:pt>
          <cx:pt idx="2252">105.25806451612904</cx:pt>
          <cx:pt idx="2253">43.677419354838712</cx:pt>
          <cx:pt idx="2254">46.903225806451616</cx:pt>
          <cx:pt idx="2255">49.903225806451616</cx:pt>
          <cx:pt idx="2256">52.774193548387096</cx:pt>
          <cx:pt idx="2257">55.645161290322584</cx:pt>
          <cx:pt idx="2258">58.645161290322584</cx:pt>
          <cx:pt idx="2259">61.741935483870968</cx:pt>
          <cx:pt idx="2260">64.645161290322577</cx:pt>
          <cx:pt idx="2261">67.451612903225808</cx:pt>
          <cx:pt idx="2262">70.612903225806448</cx:pt>
          <cx:pt idx="2263">73.741935483870961</cx:pt>
          <cx:pt idx="2264">76.903225806451616</cx:pt>
          <cx:pt idx="2265">80.129032258064512</cx:pt>
          <cx:pt idx="2266">82.774193548387103</cx:pt>
          <cx:pt idx="2267">85.870967741935488</cx:pt>
          <cx:pt idx="2268">88.483870967741936</cx:pt>
          <cx:pt idx="2269">91.58064516129032</cx:pt>
          <cx:pt idx="2270">91.322580645161295</cx:pt>
          <cx:pt idx="2271">91.258064516129039</cx:pt>
          <cx:pt idx="2272">90.612903225806448</cx:pt>
          <cx:pt idx="2273">90.677419354838705</cx:pt>
          <cx:pt idx="2274">90.838709677419359</cx:pt>
          <cx:pt idx="2275">90.967741935483872</cx:pt>
          <cx:pt idx="2276">90.548387096774192</cx:pt>
          <cx:pt idx="2277">91.129032258064512</cx:pt>
          <cx:pt idx="2278">91.032258064516128</cx:pt>
          <cx:pt idx="2279">91.193548387096769</cx:pt>
          <cx:pt idx="2280">91.225806451612897</cx:pt>
          <cx:pt idx="2281">91.129032258064512</cx:pt>
          <cx:pt idx="2282">91.258064516129039</cx:pt>
          <cx:pt idx="2283">91.032258064516128</cx:pt>
          <cx:pt idx="2284">90.645161290322577</cx:pt>
          <cx:pt idx="2285">90.032258064516128</cx:pt>
          <cx:pt idx="2286">89.709677419354833</cx:pt>
          <cx:pt idx="2287">89.741935483870961</cx:pt>
          <cx:pt idx="2288">89.58064516129032</cx:pt>
          <cx:pt idx="2289">89.193548387096769</cx:pt>
          <cx:pt idx="2290">88.741935483870961</cx:pt>
          <cx:pt idx="2291">88.677419354838705</cx:pt>
          <cx:pt idx="2292">88.483870967741936</cx:pt>
          <cx:pt idx="2293">88.193548387096769</cx:pt>
          <cx:pt idx="2294">87.741935483870961</cx:pt>
          <cx:pt idx="2295">87.483870967741936</cx:pt>
          <cx:pt idx="2296">87.354838709677423</cx:pt>
          <cx:pt idx="2297">87.58064516129032</cx:pt>
          <cx:pt idx="2298">87.612903225806448</cx:pt>
          <cx:pt idx="2299">88.032258064516128</cx:pt>
          <cx:pt idx="2300">87.903225806451616</cx:pt>
          <cx:pt idx="2301">87.806451612903231</cx:pt>
          <cx:pt idx="2302">87.870967741935488</cx:pt>
          <cx:pt idx="2303">88.387096774193552</cx:pt>
          <cx:pt idx="2304">88.193548387096769</cx:pt>
          <cx:pt idx="2305">88.193548387096769</cx:pt>
          <cx:pt idx="2306">87.935483870967744</cx:pt>
          <cx:pt idx="2307">88.290322580645167</cx:pt>
          <cx:pt idx="2308">87.677419354838705</cx:pt>
          <cx:pt idx="2309">88</cx:pt>
          <cx:pt idx="2310">87.58064516129032</cx:pt>
          <cx:pt idx="2311">87.483870967741936</cx:pt>
          <cx:pt idx="2312">87.354838709677423</cx:pt>
          <cx:pt idx="2313">87.41935483870968</cx:pt>
          <cx:pt idx="2314">87.967741935483872</cx:pt>
          <cx:pt idx="2315">88.096774193548384</cx:pt>
          <cx:pt idx="2316">88.612903225806448</cx:pt>
          <cx:pt idx="2317">88.677419354838705</cx:pt>
          <cx:pt idx="2318">88.677419354838705</cx:pt>
          <cx:pt idx="2319">89</cx:pt>
          <cx:pt idx="2320">89.032258064516128</cx:pt>
          <cx:pt idx="2321">89.58064516129032</cx:pt>
          <cx:pt idx="2322">89.741935483870961</cx:pt>
          <cx:pt idx="2323">90.322580645161295</cx:pt>
          <cx:pt idx="2324">90.032258064516128</cx:pt>
          <cx:pt idx="2325">89.967741935483872</cx:pt>
          <cx:pt idx="2326">89.677419354838705</cx:pt>
          <cx:pt idx="2327">89.322580645161295</cx:pt>
          <cx:pt idx="2328">89.161290322580641</cx:pt>
          <cx:pt idx="2329">89.032258064516128</cx:pt>
          <cx:pt idx="2330">88.935483870967744</cx:pt>
          <cx:pt idx="2331">88.645161290322577</cx:pt>
          <cx:pt idx="2332">88.774193548387103</cx:pt>
          <cx:pt idx="2333">89.032258064516128</cx:pt>
          <cx:pt idx="2334">89.064516129032256</cx:pt>
          <cx:pt idx="2335">89.225806451612897</cx:pt>
          <cx:pt idx="2336">89.322580645161295</cx:pt>
          <cx:pt idx="2337">89.129032258064512</cx:pt>
          <cx:pt idx="2338">88.935483870967744</cx:pt>
          <cx:pt idx="2339">89.129032258064512</cx:pt>
          <cx:pt idx="2340">88.870967741935488</cx:pt>
          <cx:pt idx="2341">88.935483870967744</cx:pt>
          <cx:pt idx="2342">89.451612903225808</cx:pt>
          <cx:pt idx="2343">89.387096774193552</cx:pt>
          <cx:pt idx="2344">89.612903225806448</cx:pt>
          <cx:pt idx="2345">89.58064516129032</cx:pt>
          <cx:pt idx="2346">89.58064516129032</cx:pt>
          <cx:pt idx="2347">89.41935483870968</cx:pt>
          <cx:pt idx="2348">89.258064516129039</cx:pt>
          <cx:pt idx="2349">89.58064516129032</cx:pt>
          <cx:pt idx="2350">89.58064516129032</cx:pt>
          <cx:pt idx="2351">89.838709677419359</cx:pt>
          <cx:pt idx="2352">89.612903225806448</cx:pt>
          <cx:pt idx="2353">89.225806451612897</cx:pt>
          <cx:pt idx="2354">88.967741935483872</cx:pt>
          <cx:pt idx="2355">89.451612903225808</cx:pt>
          <cx:pt idx="2356">90.064516129032256</cx:pt>
          <cx:pt idx="2357">90.483870967741936</cx:pt>
          <cx:pt idx="2358">90.806451612903231</cx:pt>
          <cx:pt idx="2359">90.741935483870961</cx:pt>
          <cx:pt idx="2360">90.58064516129032</cx:pt>
          <cx:pt idx="2361">90.387096774193552</cx:pt>
          <cx:pt idx="2362">90.483870967741936</cx:pt>
          <cx:pt idx="2363">90.741935483870961</cx:pt>
          <cx:pt idx="2364">90.645161290322577</cx:pt>
          <cx:pt idx="2365">90.516129032258064</cx:pt>
          <cx:pt idx="2366">90.129032258064512</cx:pt>
          <cx:pt idx="2367">90.225806451612897</cx:pt>
          <cx:pt idx="2368">90.516129032258064</cx:pt>
          <cx:pt idx="2369">90.516129032258064</cx:pt>
          <cx:pt idx="2370">90.612903225806448</cx:pt>
          <cx:pt idx="2371">90.700000000000003</cx:pt>
          <cx:pt idx="2372">90.965517241379317</cx:pt>
          <cx:pt idx="2373">90.785714285714292</cx:pt>
          <cx:pt idx="2374">91.148148148148152</cx:pt>
          <cx:pt idx="2375">91.07692307692308</cx:pt>
          <cx:pt idx="2376">90.799999999999997</cx:pt>
          <cx:pt idx="2377">91.083333333333329</cx:pt>
          <cx:pt idx="2378">91.043478260869563</cx:pt>
          <cx:pt idx="2379">91.545454545454547</cx:pt>
          <cx:pt idx="2380">91.142857142857139</cx:pt>
          <cx:pt idx="2381">91</cx:pt>
          <cx:pt idx="2382">91.05263157894737</cx:pt>
          <cx:pt idx="2383">91</cx:pt>
          <cx:pt idx="2384">91.588235294117652</cx:pt>
          <cx:pt idx="2385">91.625</cx:pt>
          <cx:pt idx="2386">91.400000000000006</cx:pt>
          <cx:pt idx="2387">90.785714285714292</cx:pt>
          <cx:pt idx="2388">90.538461538461533</cx:pt>
          <cx:pt idx="2389">90.166666666666671</cx:pt>
          <cx:pt idx="2390">90.909090909090907</cx:pt>
          <cx:pt idx="2391">91.200000000000003</cx:pt>
          <cx:pt idx="2392">91.888888888888886</cx:pt>
          <cx:pt idx="2393">92.625</cx:pt>
          <cx:pt idx="2394">91.714285714285708</cx:pt>
          <cx:pt idx="2395">91.333333333333329</cx:pt>
          <cx:pt idx="2396">91</cx:pt>
          <cx:pt idx="2397">92</cx:pt>
          <cx:pt idx="2398">89.333333333333329</cx:pt>
          <cx:pt idx="2399">89.5</cx:pt>
          <cx:pt idx="2400">90</cx:pt>
        </cx:lvl>
      </cx:numDim>
    </cx:data>
    <cx:data id="3">
      <cx:numDim type="val">
        <cx:f>Sheet2!$D$2461:$D$4861</cx:f>
        <cx:lvl ptCount="2401" formatCode="#,##0.00">
          <cx:pt idx="0">202.74193548387098</cx:pt>
          <cx:pt idx="1">203.09677419354838</cx:pt>
          <cx:pt idx="2">202.41935483870967</cx:pt>
          <cx:pt idx="3">201.70967741935485</cx:pt>
          <cx:pt idx="4">201.74193548387098</cx:pt>
          <cx:pt idx="5">201.70967741935485</cx:pt>
          <cx:pt idx="6">201.45161290322579</cx:pt>
          <cx:pt idx="7">200.7741935483871</cx:pt>
          <cx:pt idx="8">200.35483870967741</cx:pt>
          <cx:pt idx="9">200.45161290322579</cx:pt>
          <cx:pt idx="10">201.41935483870967</cx:pt>
          <cx:pt idx="11">201.2258064516129</cx:pt>
          <cx:pt idx="12">201.09677419354838</cx:pt>
          <cx:pt idx="13">200.87096774193549</cx:pt>
          <cx:pt idx="14">201.2258064516129</cx:pt>
          <cx:pt idx="15">201.83870967741936</cx:pt>
          <cx:pt idx="16">201.96774193548387</cx:pt>
          <cx:pt idx="17">202</cx:pt>
          <cx:pt idx="18">202.16129032258064</cx:pt>
          <cx:pt idx="19">202.45161290322579</cx:pt>
          <cx:pt idx="20">202.16129032258064</cx:pt>
          <cx:pt idx="21">201.74193548387098</cx:pt>
          <cx:pt idx="22">201.35483870967741</cx:pt>
          <cx:pt idx="23">201.19354838709677</cx:pt>
          <cx:pt idx="24">200.67741935483872</cx:pt>
          <cx:pt idx="25">200.38709677419354</cx:pt>
          <cx:pt idx="26">200.06451612903226</cx:pt>
          <cx:pt idx="27">199.64516129032259</cx:pt>
          <cx:pt idx="28">198.96774193548387</cx:pt>
          <cx:pt idx="29">198.83870967741936</cx:pt>
          <cx:pt idx="30">198.54838709677421</cx:pt>
          <cx:pt idx="31">198.25806451612902</cx:pt>
          <cx:pt idx="32">197.7741935483871</cx:pt>
          <cx:pt idx="33">198.48387096774192</cx:pt>
          <cx:pt idx="34">198.45161290322579</cx:pt>
          <cx:pt idx="35">199.16129032258064</cx:pt>
          <cx:pt idx="36">198.90322580645162</cx:pt>
          <cx:pt idx="37">198.2258064516129</cx:pt>
          <cx:pt idx="38">198.25806451612902</cx:pt>
          <cx:pt idx="39">198.25806451612902</cx:pt>
          <cx:pt idx="40">199</cx:pt>
          <cx:pt idx="41">198.41935483870967</cx:pt>
          <cx:pt idx="42">197.93548387096774</cx:pt>
          <cx:pt idx="43">198.38709677419354</cx:pt>
          <cx:pt idx="44">198.67741935483872</cx:pt>
          <cx:pt idx="45">198.32258064516128</cx:pt>
          <cx:pt idx="46">198.09677419354838</cx:pt>
          <cx:pt idx="47">197.96774193548387</cx:pt>
          <cx:pt idx="48">198.29032258064515</cx:pt>
          <cx:pt idx="49">198.80645161290323</cx:pt>
          <cx:pt idx="50">199.74193548387098</cx:pt>
          <cx:pt idx="51">200.2258064516129</cx:pt>
          <cx:pt idx="52">199.7741935483871</cx:pt>
          <cx:pt idx="53">199.2258064516129</cx:pt>
          <cx:pt idx="54">199.16129032258064</cx:pt>
          <cx:pt idx="55">199.29032258064515</cx:pt>
          <cx:pt idx="56">198.7741935483871</cx:pt>
          <cx:pt idx="57">199.45161290322579</cx:pt>
          <cx:pt idx="58">199.32258064516128</cx:pt>
          <cx:pt idx="59">199.06451612903226</cx:pt>
          <cx:pt idx="60">198.74193548387098</cx:pt>
          <cx:pt idx="61">199.29032258064515</cx:pt>
          <cx:pt idx="62">200.2258064516129</cx:pt>
          <cx:pt idx="63">200.70967741935485</cx:pt>
          <cx:pt idx="64">199.87096774193549</cx:pt>
          <cx:pt idx="65">200.41935483870967</cx:pt>
          <cx:pt idx="66">199.90322580645162</cx:pt>
          <cx:pt idx="67">200.67741935483872</cx:pt>
          <cx:pt idx="68">201.25806451612902</cx:pt>
          <cx:pt idx="69">201.48387096774192</cx:pt>
          <cx:pt idx="70">202.45161290322579</cx:pt>
          <cx:pt idx="71">201.90322580645162</cx:pt>
          <cx:pt idx="72">201.67741935483872</cx:pt>
          <cx:pt idx="73">202.35483870967741</cx:pt>
          <cx:pt idx="74">202.41935483870967</cx:pt>
          <cx:pt idx="75">201.2258064516129</cx:pt>
          <cx:pt idx="76">201.06451612903226</cx:pt>
          <cx:pt idx="77">200.58064516129033</cx:pt>
          <cx:pt idx="78">200.7741935483871</cx:pt>
          <cx:pt idx="79">200.80645161290323</cx:pt>
          <cx:pt idx="80">200.58064516129033</cx:pt>
          <cx:pt idx="81">199.41935483870967</cx:pt>
          <cx:pt idx="82">200.03225806451613</cx:pt>
          <cx:pt idx="83">200.74193548387098</cx:pt>
          <cx:pt idx="84">201.64516129032259</cx:pt>
          <cx:pt idx="85">201.09677419354838</cx:pt>
          <cx:pt idx="86">201.87096774193549</cx:pt>
          <cx:pt idx="87">201.61290322580646</cx:pt>
          <cx:pt idx="88">202.12903225806451</cx:pt>
          <cx:pt idx="89">202.83870967741936</cx:pt>
          <cx:pt idx="90">203.41935483870967</cx:pt>
          <cx:pt idx="91">202.80645161290323</cx:pt>
          <cx:pt idx="92">201.93548387096774</cx:pt>
          <cx:pt idx="93">202</cx:pt>
          <cx:pt idx="94">200.93548387096774</cx:pt>
          <cx:pt idx="95">201.38709677419354</cx:pt>
          <cx:pt idx="96">201.29032258064515</cx:pt>
          <cx:pt idx="97">201.45161290322579</cx:pt>
          <cx:pt idx="98">200.90322580645162</cx:pt>
          <cx:pt idx="99">200.54838709677421</cx:pt>
          <cx:pt idx="100">200.74193548387098</cx:pt>
          <cx:pt idx="101">200.19354838709677</cx:pt>
          <cx:pt idx="102">200.7741935483871</cx:pt>
          <cx:pt idx="103">200.61290322580646</cx:pt>
          <cx:pt idx="104">199.80645161290323</cx:pt>
          <cx:pt idx="105">199.67741935483872</cx:pt>
          <cx:pt idx="106">200.41935483870967</cx:pt>
          <cx:pt idx="107">201.58064516129033</cx:pt>
          <cx:pt idx="108">201.58064516129033</cx:pt>
          <cx:pt idx="109">201.74193548387098</cx:pt>
          <cx:pt idx="110">201.67741935483872</cx:pt>
          <cx:pt idx="111">200.80645161290323</cx:pt>
          <cx:pt idx="112">200.70967741935485</cx:pt>
          <cx:pt idx="113">200.70967741935485</cx:pt>
          <cx:pt idx="114">199.61290322580646</cx:pt>
          <cx:pt idx="115">199.70967741935485</cx:pt>
          <cx:pt idx="116">199.38709677419354</cx:pt>
          <cx:pt idx="117">198.67741935483872</cx:pt>
          <cx:pt idx="118">199.58064516129033</cx:pt>
          <cx:pt idx="119">198.32258064516128</cx:pt>
          <cx:pt idx="120">198.2258064516129</cx:pt>
          <cx:pt idx="121">198.09677419354838</cx:pt>
          <cx:pt idx="122">198.67741935483872</cx:pt>
          <cx:pt idx="123">198.45161290322579</cx:pt>
          <cx:pt idx="124">198</cx:pt>
          <cx:pt idx="125">198.90322580645162</cx:pt>
          <cx:pt idx="126">199.12903225806451</cx:pt>
          <cx:pt idx="127">199.67741935483872</cx:pt>
          <cx:pt idx="128">199.70967741935485</cx:pt>
          <cx:pt idx="129">199.7741935483871</cx:pt>
          <cx:pt idx="130">200.2258064516129</cx:pt>
          <cx:pt idx="131">200.70967741935485</cx:pt>
          <cx:pt idx="132">201.35483870967741</cx:pt>
          <cx:pt idx="133">200.83870967741936</cx:pt>
          <cx:pt idx="134">201.58064516129033</cx:pt>
          <cx:pt idx="135">202.29032258064515</cx:pt>
          <cx:pt idx="136">201.70967741935485</cx:pt>
          <cx:pt idx="137">201.29032258064515</cx:pt>
          <cx:pt idx="138">201.12903225806451</cx:pt>
          <cx:pt idx="139">201.61290322580646</cx:pt>
          <cx:pt idx="140">201.35483870967741</cx:pt>
          <cx:pt idx="141">201.51612903225808</cx:pt>
          <cx:pt idx="142">201.96774193548387</cx:pt>
          <cx:pt idx="143">202.09677419354838</cx:pt>
          <cx:pt idx="144">201.67741935483872</cx:pt>
          <cx:pt idx="145">202.32258064516128</cx:pt>
          <cx:pt idx="146">202.38709677419354</cx:pt>
          <cx:pt idx="147">202.7741935483871</cx:pt>
          <cx:pt idx="148">203.06451612903226</cx:pt>
          <cx:pt idx="149">202.03225806451613</cx:pt>
          <cx:pt idx="150">202.93548387096774</cx:pt>
          <cx:pt idx="151">202.74193548387098</cx:pt>
          <cx:pt idx="152">203.2258064516129</cx:pt>
          <cx:pt idx="153">203.25806451612902</cx:pt>
          <cx:pt idx="154">203.7741935483871</cx:pt>
          <cx:pt idx="155">203.90322580645162</cx:pt>
          <cx:pt idx="156">203.48387096774192</cx:pt>
          <cx:pt idx="157">202.74193548387098</cx:pt>
          <cx:pt idx="158">202.03225806451613</cx:pt>
          <cx:pt idx="159">202.32258064516128</cx:pt>
          <cx:pt idx="160">202.67741935483872</cx:pt>
          <cx:pt idx="161">202.83870967741936</cx:pt>
          <cx:pt idx="162">202.16129032258064</cx:pt>
          <cx:pt idx="163">201.45161290322579</cx:pt>
          <cx:pt idx="164">201.35483870967741</cx:pt>
          <cx:pt idx="165">200.32258064516128</cx:pt>
          <cx:pt idx="166">200.48387096774192</cx:pt>
          <cx:pt idx="167">201.2258064516129</cx:pt>
          <cx:pt idx="168">201.06451612903226</cx:pt>
          <cx:pt idx="169">200</cx:pt>
          <cx:pt idx="170">199.83870967741936</cx:pt>
          <cx:pt idx="171">200.83870967741936</cx:pt>
          <cx:pt idx="172">200</cx:pt>
          <cx:pt idx="173">199.90322580645162</cx:pt>
          <cx:pt idx="174">200.64516129032259</cx:pt>
          <cx:pt idx="175">200.58064516129033</cx:pt>
          <cx:pt idx="176">199.93548387096774</cx:pt>
          <cx:pt idx="177">199.67741935483872</cx:pt>
          <cx:pt idx="178">200.19354838709677</cx:pt>
          <cx:pt idx="179">199.87096774193549</cx:pt>
          <cx:pt idx="180">201.09677419354838</cx:pt>
          <cx:pt idx="181">201.29032258064515</cx:pt>
          <cx:pt idx="182">200.90322580645162</cx:pt>
          <cx:pt idx="183">200.12903225806451</cx:pt>
          <cx:pt idx="184">199.51612903225808</cx:pt>
          <cx:pt idx="185">200.03225806451613</cx:pt>
          <cx:pt idx="186">200.12903225806451</cx:pt>
          <cx:pt idx="187">200.38709677419354</cx:pt>
          <cx:pt idx="188">201.09677419354838</cx:pt>
          <cx:pt idx="189">200.67741935483872</cx:pt>
          <cx:pt idx="190">200.90322580645162</cx:pt>
          <cx:pt idx="191">201.09677419354838</cx:pt>
          <cx:pt idx="192">200.03225806451613</cx:pt>
          <cx:pt idx="193">199.48387096774192</cx:pt>
          <cx:pt idx="194">200.09677419354838</cx:pt>
          <cx:pt idx="195">199.64516129032259</cx:pt>
          <cx:pt idx="196">199.96774193548387</cx:pt>
          <cx:pt idx="197">199.09677419354838</cx:pt>
          <cx:pt idx="198">198.93548387096774</cx:pt>
          <cx:pt idx="199">198.7741935483871</cx:pt>
          <cx:pt idx="200">199.48387096774192</cx:pt>
          <cx:pt idx="201">199.70967741935485</cx:pt>
          <cx:pt idx="202">199.74193548387098</cx:pt>
          <cx:pt idx="203">199.96774193548387</cx:pt>
          <cx:pt idx="204">199.80645161290323</cx:pt>
          <cx:pt idx="205">199.51612903225808</cx:pt>
          <cx:pt idx="206">200</cx:pt>
          <cx:pt idx="207">200.38709677419354</cx:pt>
          <cx:pt idx="208">199.80645161290323</cx:pt>
          <cx:pt idx="209">199.45161290322579</cx:pt>
          <cx:pt idx="210">199.06451612903226</cx:pt>
          <cx:pt idx="211">198.38709677419354</cx:pt>
          <cx:pt idx="212">198.58064516129033</cx:pt>
          <cx:pt idx="213">199.70967741935485</cx:pt>
          <cx:pt idx="214">201.06451612903226</cx:pt>
          <cx:pt idx="215">202.41935483870967</cx:pt>
          <cx:pt idx="216">203.03225806451613</cx:pt>
          <cx:pt idx="217">203.93548387096774</cx:pt>
          <cx:pt idx="218">204.96774193548387</cx:pt>
          <cx:pt idx="219">206.03225806451613</cx:pt>
          <cx:pt idx="220">207.70967741935485</cx:pt>
          <cx:pt idx="221">208.16129032258064</cx:pt>
          <cx:pt idx="222">208.64516129032259</cx:pt>
          <cx:pt idx="223">210.38709677419354</cx:pt>
          <cx:pt idx="224">211.70967741935485</cx:pt>
          <cx:pt idx="225">212.35483870967741</cx:pt>
          <cx:pt idx="226">214.16129032258064</cx:pt>
          <cx:pt idx="227">215.2258064516129</cx:pt>
          <cx:pt idx="228">216.93548387096774</cx:pt>
          <cx:pt idx="229">217.41935483870967</cx:pt>
          <cx:pt idx="230">219.19354838709677</cx:pt>
          <cx:pt idx="231">220.2258064516129</cx:pt>
          <cx:pt idx="232">220.61290322580646</cx:pt>
          <cx:pt idx="233">220.64516129032259</cx:pt>
          <cx:pt idx="234">221.90322580645162</cx:pt>
          <cx:pt idx="235">223.03225806451613</cx:pt>
          <cx:pt idx="236">223.74193548387098</cx:pt>
          <cx:pt idx="237">224.38709677419354</cx:pt>
          <cx:pt idx="238">225.58064516129033</cx:pt>
          <cx:pt idx="239">226.67741935483872</cx:pt>
          <cx:pt idx="240">227.29032258064515</cx:pt>
          <cx:pt idx="241">229.09677419354838</cx:pt>
          <cx:pt idx="242">230.41935483870967</cx:pt>
          <cx:pt idx="243">230.74193548387098</cx:pt>
          <cx:pt idx="244">230.80645161290323</cx:pt>
          <cx:pt idx="245">230.45161290322579</cx:pt>
          <cx:pt idx="246">230.45161290322579</cx:pt>
          <cx:pt idx="247">230.29032258064515</cx:pt>
          <cx:pt idx="248">230.29032258064515</cx:pt>
          <cx:pt idx="249">229.96774193548387</cx:pt>
          <cx:pt idx="250">229.41935483870967</cx:pt>
          <cx:pt idx="251">229.06451612903226</cx:pt>
          <cx:pt idx="252">228.70967741935485</cx:pt>
          <cx:pt idx="253">228.90322580645162</cx:pt>
          <cx:pt idx="254">228.38709677419354</cx:pt>
          <cx:pt idx="255">228.80645161290323</cx:pt>
          <cx:pt idx="256">228.80645161290323</cx:pt>
          <cx:pt idx="257">227.61290322580646</cx:pt>
          <cx:pt idx="258">226.83870967741936</cx:pt>
          <cx:pt idx="259">226</cx:pt>
          <cx:pt idx="260">225.7741935483871</cx:pt>
          <cx:pt idx="261">224.32258064516128</cx:pt>
          <cx:pt idx="262">222.74193548387098</cx:pt>
          <cx:pt idx="263">222.45161290322579</cx:pt>
          <cx:pt idx="264">221.80645161290323</cx:pt>
          <cx:pt idx="265">221.06451612903226</cx:pt>
          <cx:pt idx="266">221.03225806451613</cx:pt>
          <cx:pt idx="267">220.70967741935485</cx:pt>
          <cx:pt idx="268">219.58064516129033</cx:pt>
          <cx:pt idx="269">218.70967741935485</cx:pt>
          <cx:pt idx="270">217.83870967741936</cx:pt>
          <cx:pt idx="271">217.48387096774192</cx:pt>
          <cx:pt idx="272">215.58064516129033</cx:pt>
          <cx:pt idx="273">215</cx:pt>
          <cx:pt idx="274">214.38709677419354</cx:pt>
          <cx:pt idx="275">213.67741935483872</cx:pt>
          <cx:pt idx="276">213.35483870967741</cx:pt>
          <cx:pt idx="277">213.19354838709677</cx:pt>
          <cx:pt idx="278">211.61290322580646</cx:pt>
          <cx:pt idx="279">210.51612903225808</cx:pt>
          <cx:pt idx="280">210.12903225806451</cx:pt>
          <cx:pt idx="281">208.74193548387098</cx:pt>
          <cx:pt idx="282">207.48387096774192</cx:pt>
          <cx:pt idx="283">207.2258064516129</cx:pt>
          <cx:pt idx="284">206.58064516129033</cx:pt>
          <cx:pt idx="285">206.38709677419354</cx:pt>
          <cx:pt idx="286">205</cx:pt>
          <cx:pt idx="287">204.48387096774192</cx:pt>
          <cx:pt idx="288">204.25806451612902</cx:pt>
          <cx:pt idx="289">204.90322580645162</cx:pt>
          <cx:pt idx="290">205</cx:pt>
          <cx:pt idx="291">203.93548387096774</cx:pt>
          <cx:pt idx="292">204</cx:pt>
          <cx:pt idx="293">204.38709677419354</cx:pt>
          <cx:pt idx="294">204.29032258064515</cx:pt>
          <cx:pt idx="295">203.70967741935485</cx:pt>
          <cx:pt idx="296">202.87096774193549</cx:pt>
          <cx:pt idx="297">201.90322580645162</cx:pt>
          <cx:pt idx="298">201.32258064516128</cx:pt>
          <cx:pt idx="299">201.51612903225808</cx:pt>
          <cx:pt idx="300">201.7741935483871</cx:pt>
          <cx:pt idx="301">201.19354838709677</cx:pt>
          <cx:pt idx="302">200.74193548387098</cx:pt>
          <cx:pt idx="303">200.83870967741936</cx:pt>
          <cx:pt idx="304">199.7741935483871</cx:pt>
          <cx:pt idx="305">198.7741935483871</cx:pt>
          <cx:pt idx="306">198.32258064516128</cx:pt>
          <cx:pt idx="307">197.48387096774192</cx:pt>
          <cx:pt idx="308">197.12903225806451</cx:pt>
          <cx:pt idx="309">197.16129032258064</cx:pt>
          <cx:pt idx="310">196.7741935483871</cx:pt>
          <cx:pt idx="311">195.58064516129033</cx:pt>
          <cx:pt idx="312">195.96774193548387</cx:pt>
          <cx:pt idx="313">196.06451612903226</cx:pt>
          <cx:pt idx="314">195.06451612903226</cx:pt>
          <cx:pt idx="315">195.2258064516129</cx:pt>
          <cx:pt idx="316">194.35483870967741</cx:pt>
          <cx:pt idx="317">194.64516129032259</cx:pt>
          <cx:pt idx="318">193.64516129032259</cx:pt>
          <cx:pt idx="319">194.51612903225808</cx:pt>
          <cx:pt idx="320">193.83870967741936</cx:pt>
          <cx:pt idx="321">193.19354838709677</cx:pt>
          <cx:pt idx="322">194.03225806451613</cx:pt>
          <cx:pt idx="323">194.45161290322579</cx:pt>
          <cx:pt idx="324">195.09677419354838</cx:pt>
          <cx:pt idx="325">194.48387096774192</cx:pt>
          <cx:pt idx="326">195.67741935483872</cx:pt>
          <cx:pt idx="327">196.67741935483872</cx:pt>
          <cx:pt idx="328">197.58064516129033</cx:pt>
          <cx:pt idx="329">198.16129032258064</cx:pt>
          <cx:pt idx="330">197.70967741935485</cx:pt>
          <cx:pt idx="331">197.51612903225808</cx:pt>
          <cx:pt idx="332">197.93548387096774</cx:pt>
          <cx:pt idx="333">197.80645161290323</cx:pt>
          <cx:pt idx="334">197.96774193548387</cx:pt>
          <cx:pt idx="335">197.90322580645162</cx:pt>
          <cx:pt idx="336">198.90322580645162</cx:pt>
          <cx:pt idx="337">198.74193548387098</cx:pt>
          <cx:pt idx="338">199.29032258064515</cx:pt>
          <cx:pt idx="339">199.35483870967741</cx:pt>
          <cx:pt idx="340">200.16129032258064</cx:pt>
          <cx:pt idx="341">200.32258064516128</cx:pt>
          <cx:pt idx="342">201.48387096774192</cx:pt>
          <cx:pt idx="343">201.19354838709677</cx:pt>
          <cx:pt idx="344">201.70967741935485</cx:pt>
          <cx:pt idx="345">201.70967741935485</cx:pt>
          <cx:pt idx="346">201.29032258064515</cx:pt>
          <cx:pt idx="347">201</cx:pt>
          <cx:pt idx="348">200.32258064516128</cx:pt>
          <cx:pt idx="349">200.41935483870967</cx:pt>
          <cx:pt idx="350">200.25806451612902</cx:pt>
          <cx:pt idx="351">200.38709677419354</cx:pt>
          <cx:pt idx="352">200.19354838709677</cx:pt>
          <cx:pt idx="353">199.74193548387098</cx:pt>
          <cx:pt idx="354">199.06451612903226</cx:pt>
          <cx:pt idx="355">198.93548387096774</cx:pt>
          <cx:pt idx="356">199.70967741935485</cx:pt>
          <cx:pt idx="357">198.83870967741936</cx:pt>
          <cx:pt idx="358">197.90322580645162</cx:pt>
          <cx:pt idx="359">197.90322580645162</cx:pt>
          <cx:pt idx="360">197.38709677419354</cx:pt>
          <cx:pt idx="361">198.12903225806451</cx:pt>
          <cx:pt idx="362">197.45161290322579</cx:pt>
          <cx:pt idx="363">197.70967741935485</cx:pt>
          <cx:pt idx="364">197.41935483870967</cx:pt>
          <cx:pt idx="365">197.70967741935485</cx:pt>
          <cx:pt idx="366">197.61290322580646</cx:pt>
          <cx:pt idx="367">197.74193548387098</cx:pt>
          <cx:pt idx="368">198.48387096774192</cx:pt>
          <cx:pt idx="369">199.06451612903226</cx:pt>
          <cx:pt idx="370">198.7741935483871</cx:pt>
          <cx:pt idx="371">198.35483870967741</cx:pt>
          <cx:pt idx="372">199.03225806451613</cx:pt>
          <cx:pt idx="373">197.83870967741936</cx:pt>
          <cx:pt idx="374">198.96774193548387</cx:pt>
          <cx:pt idx="375">199.38709677419354</cx:pt>
          <cx:pt idx="376">199.80645161290323</cx:pt>
          <cx:pt idx="377">200.06451612903226</cx:pt>
          <cx:pt idx="378">200.61290322580646</cx:pt>
          <cx:pt idx="379">201.03225806451613</cx:pt>
          <cx:pt idx="380">201.67741935483872</cx:pt>
          <cx:pt idx="381">201.29032258064515</cx:pt>
          <cx:pt idx="382">201.87096774193549</cx:pt>
          <cx:pt idx="383">202</cx:pt>
          <cx:pt idx="384">202.67741935483872</cx:pt>
          <cx:pt idx="385">203.70967741935485</cx:pt>
          <cx:pt idx="386">203.67741935483872</cx:pt>
          <cx:pt idx="387">203.41935483870967</cx:pt>
          <cx:pt idx="388">204.03225806451613</cx:pt>
          <cx:pt idx="389">204.48387096774192</cx:pt>
          <cx:pt idx="390">203.67741935483872</cx:pt>
          <cx:pt idx="391">204.38709677419354</cx:pt>
          <cx:pt idx="392">203.38709677419354</cx:pt>
          <cx:pt idx="393">203.45161290322579</cx:pt>
          <cx:pt idx="394">203.2258064516129</cx:pt>
          <cx:pt idx="395">203.7741935483871</cx:pt>
          <cx:pt idx="396">204.38709677419354</cx:pt>
          <cx:pt idx="397">205.48387096774192</cx:pt>
          <cx:pt idx="398">205.12903225806451</cx:pt>
          <cx:pt idx="399">204.29032258064515</cx:pt>
          <cx:pt idx="400">203.74193548387098</cx:pt>
          <cx:pt idx="401">203.51612903225808</cx:pt>
          <cx:pt idx="402">203.70967741935485</cx:pt>
          <cx:pt idx="403">202.70967741935485</cx:pt>
          <cx:pt idx="404">203.32258064516128</cx:pt>
          <cx:pt idx="405">203.38709677419354</cx:pt>
          <cx:pt idx="406">203.29032258064515</cx:pt>
          <cx:pt idx="407">203.35483870967741</cx:pt>
          <cx:pt idx="408">203.41935483870967</cx:pt>
          <cx:pt idx="409">203.51612903225808</cx:pt>
          <cx:pt idx="410">203.61290322580646</cx:pt>
          <cx:pt idx="411">203.48387096774192</cx:pt>
          <cx:pt idx="412">203.96774193548387</cx:pt>
          <cx:pt idx="413">202.96774193548387</cx:pt>
          <cx:pt idx="414">204</cx:pt>
          <cx:pt idx="415">203.38709677419354</cx:pt>
          <cx:pt idx="416">202.74193548387098</cx:pt>
          <cx:pt idx="417">201.74193548387098</cx:pt>
          <cx:pt idx="418">201.51612903225808</cx:pt>
          <cx:pt idx="419">201.58064516129033</cx:pt>
          <cx:pt idx="420">201.41935483870967</cx:pt>
          <cx:pt idx="421">202.06451612903226</cx:pt>
          <cx:pt idx="422">201.09677419354838</cx:pt>
          <cx:pt idx="423">201</cx:pt>
          <cx:pt idx="424">201.06451612903226</cx:pt>
          <cx:pt idx="425">200.93548387096774</cx:pt>
          <cx:pt idx="426">201.03225806451613</cx:pt>
          <cx:pt idx="427">200.58064516129033</cx:pt>
          <cx:pt idx="428">199.90322580645162</cx:pt>
          <cx:pt idx="429">199.74193548387098</cx:pt>
          <cx:pt idx="430">200.80645161290323</cx:pt>
          <cx:pt idx="431">200.16129032258064</cx:pt>
          <cx:pt idx="432">200.87096774193549</cx:pt>
          <cx:pt idx="433">200.93548387096774</cx:pt>
          <cx:pt idx="434">201.58064516129033</cx:pt>
          <cx:pt idx="435">201.41935483870967</cx:pt>
          <cx:pt idx="436">200.16129032258064</cx:pt>
          <cx:pt idx="437">200.06451612903226</cx:pt>
          <cx:pt idx="438">199.61290322580646</cx:pt>
          <cx:pt idx="439">199.61290322580646</cx:pt>
          <cx:pt idx="440">199.83870967741936</cx:pt>
          <cx:pt idx="441">199.83870967741936</cx:pt>
          <cx:pt idx="442">199.32258064516128</cx:pt>
          <cx:pt idx="443">198.54838709677421</cx:pt>
          <cx:pt idx="444">198.87096774193549</cx:pt>
          <cx:pt idx="445">197.90322580645162</cx:pt>
          <cx:pt idx="446">198.41935483870967</cx:pt>
          <cx:pt idx="447">198.90322580645162</cx:pt>
          <cx:pt idx="448">199.90322580645162</cx:pt>
          <cx:pt idx="449">200</cx:pt>
          <cx:pt idx="450">200.12903225806451</cx:pt>
          <cx:pt idx="451">200.54838709677421</cx:pt>
          <cx:pt idx="452">200.35483870967741</cx:pt>
          <cx:pt idx="453">200.2258064516129</cx:pt>
          <cx:pt idx="454">201.38709677419354</cx:pt>
          <cx:pt idx="455">201.2258064516129</cx:pt>
          <cx:pt idx="456">202.09677419354838</cx:pt>
          <cx:pt idx="457">201.90322580645162</cx:pt>
          <cx:pt idx="458">201.25806451612902</cx:pt>
          <cx:pt idx="459">201.41935483870967</cx:pt>
          <cx:pt idx="460">202.03225806451613</cx:pt>
          <cx:pt idx="461">201.54838709677421</cx:pt>
          <cx:pt idx="462">201.51612903225808</cx:pt>
          <cx:pt idx="463">201.58064516129033</cx:pt>
          <cx:pt idx="464">201.61290322580646</cx:pt>
          <cx:pt idx="465">201.16129032258064</cx:pt>
          <cx:pt idx="466">201.16129032258064</cx:pt>
          <cx:pt idx="467">201.58064516129033</cx:pt>
          <cx:pt idx="468">200.87096774193549</cx:pt>
          <cx:pt idx="469">200.80645161290323</cx:pt>
          <cx:pt idx="470">200.74193548387098</cx:pt>
          <cx:pt idx="471">200.32258064516128</cx:pt>
          <cx:pt idx="472">201.09677419354838</cx:pt>
          <cx:pt idx="473">201.90322580645162</cx:pt>
          <cx:pt idx="474">201.93548387096774</cx:pt>
          <cx:pt idx="475">201.54838709677421</cx:pt>
          <cx:pt idx="476">201.32258064516128</cx:pt>
          <cx:pt idx="477">200.74193548387098</cx:pt>
          <cx:pt idx="478">200.41935483870967</cx:pt>
          <cx:pt idx="479">200.51612903225808</cx:pt>
          <cx:pt idx="480">200.03225806451613</cx:pt>
          <cx:pt idx="481">199.48387096774192</cx:pt>
          <cx:pt idx="482">199.80645161290323</cx:pt>
          <cx:pt idx="483">199.45161290322579</cx:pt>
          <cx:pt idx="484">199.35483870967741</cx:pt>
          <cx:pt idx="485">199.06451612903226</cx:pt>
          <cx:pt idx="486">200.03225806451613</cx:pt>
          <cx:pt idx="487">198.90322580645162</cx:pt>
          <cx:pt idx="488">199.48387096774192</cx:pt>
          <cx:pt idx="489">200.54838709677421</cx:pt>
          <cx:pt idx="490">200.51612903225808</cx:pt>
          <cx:pt idx="491">199.70967741935485</cx:pt>
          <cx:pt idx="492">200.32258064516128</cx:pt>
          <cx:pt idx="493">200.93548387096774</cx:pt>
          <cx:pt idx="494">201.03225806451613</cx:pt>
          <cx:pt idx="495">200.45161290322579</cx:pt>
          <cx:pt idx="496">200.90322580645162</cx:pt>
          <cx:pt idx="497">201.19354838709677</cx:pt>
          <cx:pt idx="498">201.58064516129033</cx:pt>
          <cx:pt idx="499">201.7741935483871</cx:pt>
          <cx:pt idx="500">202.06451612903226</cx:pt>
          <cx:pt idx="501">202.29032258064515</cx:pt>
          <cx:pt idx="502">202.09677419354838</cx:pt>
          <cx:pt idx="503">201.16129032258064</cx:pt>
          <cx:pt idx="504">201.03225806451613</cx:pt>
          <cx:pt idx="505">201.12903225806451</cx:pt>
          <cx:pt idx="506">201.38709677419354</cx:pt>
          <cx:pt idx="507">201.90322580645162</cx:pt>
          <cx:pt idx="508">201.54838709677421</cx:pt>
          <cx:pt idx="509">202.12903225806451</cx:pt>
          <cx:pt idx="510">202.2258064516129</cx:pt>
          <cx:pt idx="511">202.64516129032259</cx:pt>
          <cx:pt idx="512">202.51612903225808</cx:pt>
          <cx:pt idx="513">202.35483870967741</cx:pt>
          <cx:pt idx="514">202.87096774193549</cx:pt>
          <cx:pt idx="515">203.70967741935485</cx:pt>
          <cx:pt idx="516">202.74193548387098</cx:pt>
          <cx:pt idx="517">201.74193548387098</cx:pt>
          <cx:pt idx="518">202.19354838709677</cx:pt>
          <cx:pt idx="519">201.25806451612902</cx:pt>
          <cx:pt idx="520">200.41935483870967</cx:pt>
          <cx:pt idx="521">199.93548387096774</cx:pt>
          <cx:pt idx="522">200.25806451612902</cx:pt>
          <cx:pt idx="523">200.2258064516129</cx:pt>
          <cx:pt idx="524">200.61290322580646</cx:pt>
          <cx:pt idx="525">200.41935483870967</cx:pt>
          <cx:pt idx="526">200.83870967741936</cx:pt>
          <cx:pt idx="527">200.38709677419354</cx:pt>
          <cx:pt idx="528">200.45161290322579</cx:pt>
          <cx:pt idx="529">199.90322580645162</cx:pt>
          <cx:pt idx="530">200.29032258064515</cx:pt>
          <cx:pt idx="531">201.16129032258064</cx:pt>
          <cx:pt idx="532">200.48387096774192</cx:pt>
          <cx:pt idx="533">200.35483870967741</cx:pt>
          <cx:pt idx="534">200.93548387096774</cx:pt>
          <cx:pt idx="535">200.74193548387098</cx:pt>
          <cx:pt idx="536">200.96774193548387</cx:pt>
          <cx:pt idx="537">201.06451612903226</cx:pt>
          <cx:pt idx="538">201.35483870967741</cx:pt>
          <cx:pt idx="539">201.35483870967741</cx:pt>
          <cx:pt idx="540">200.41935483870967</cx:pt>
          <cx:pt idx="541">199.93548387096774</cx:pt>
          <cx:pt idx="542">200.38709677419354</cx:pt>
          <cx:pt idx="543">200.74193548387098</cx:pt>
          <cx:pt idx="544">199.64516129032259</cx:pt>
          <cx:pt idx="545">199.32258064516128</cx:pt>
          <cx:pt idx="546">199.09677419354838</cx:pt>
          <cx:pt idx="547">199.29032258064515</cx:pt>
          <cx:pt idx="548">200.06451612903226</cx:pt>
          <cx:pt idx="549">200.58064516129033</cx:pt>
          <cx:pt idx="550">201.06451612903226</cx:pt>
          <cx:pt idx="551">201.64516129032259</cx:pt>
          <cx:pt idx="552">202.45161290322579</cx:pt>
          <cx:pt idx="553">202.35483870967741</cx:pt>
          <cx:pt idx="554">202.06451612903226</cx:pt>
          <cx:pt idx="555">201.61290322580646</cx:pt>
          <cx:pt idx="556">200.83870967741936</cx:pt>
          <cx:pt idx="557">200.38709677419354</cx:pt>
          <cx:pt idx="558">200.06451612903226</cx:pt>
          <cx:pt idx="559">199.7741935483871</cx:pt>
          <cx:pt idx="560">200.58064516129033</cx:pt>
          <cx:pt idx="561">200.45161290322579</cx:pt>
          <cx:pt idx="562">199.38709677419354</cx:pt>
          <cx:pt idx="563">199</cx:pt>
          <cx:pt idx="564">199.35483870967741</cx:pt>
          <cx:pt idx="565">199.03225806451613</cx:pt>
          <cx:pt idx="566">198.67741935483872</cx:pt>
          <cx:pt idx="567">198.25806451612902</cx:pt>
          <cx:pt idx="568">197.83870967741936</cx:pt>
          <cx:pt idx="569">197.25806451612902</cx:pt>
          <cx:pt idx="570">197.74193548387098</cx:pt>
          <cx:pt idx="571">197.90322580645162</cx:pt>
          <cx:pt idx="572">197.93548387096774</cx:pt>
          <cx:pt idx="573">197.12903225806451</cx:pt>
          <cx:pt idx="574">197.41935483870967</cx:pt>
          <cx:pt idx="575">197.38709677419354</cx:pt>
          <cx:pt idx="576">197.51612903225808</cx:pt>
          <cx:pt idx="577">197.25806451612902</cx:pt>
          <cx:pt idx="578">198.2258064516129</cx:pt>
          <cx:pt idx="579">198.29032258064515</cx:pt>
          <cx:pt idx="580">198.38709677419354</cx:pt>
          <cx:pt idx="581">197.96774193548387</cx:pt>
          <cx:pt idx="582">197.19354838709677</cx:pt>
          <cx:pt idx="583">196.54838709677421</cx:pt>
          <cx:pt idx="584">196.83870967741936</cx:pt>
          <cx:pt idx="585">196.58064516129033</cx:pt>
          <cx:pt idx="586">195.96774193548387</cx:pt>
          <cx:pt idx="587">196.87096774193549</cx:pt>
          <cx:pt idx="588">197.32258064516128</cx:pt>
          <cx:pt idx="589">198.12903225806451</cx:pt>
          <cx:pt idx="590">198.90322580645162</cx:pt>
          <cx:pt idx="591">197.80645161290323</cx:pt>
          <cx:pt idx="592">197.90322580645162</cx:pt>
          <cx:pt idx="593">198.7741935483871</cx:pt>
          <cx:pt idx="594">198.7741935483871</cx:pt>
          <cx:pt idx="595">199.2258064516129</cx:pt>
          <cx:pt idx="596">199.54838709677421</cx:pt>
          <cx:pt idx="597">199.74193548387098</cx:pt>
          <cx:pt idx="598">199.38709677419354</cx:pt>
          <cx:pt idx="599">200.51612903225808</cx:pt>
          <cx:pt idx="600">200.38709677419354</cx:pt>
          <cx:pt idx="601">200.83870967741936</cx:pt>
          <cx:pt idx="602">202.03225806451613</cx:pt>
          <cx:pt idx="603">202.64516129032259</cx:pt>
          <cx:pt idx="604">203.87096774193549</cx:pt>
          <cx:pt idx="605">204.09677419354838</cx:pt>
          <cx:pt idx="606">205.90322580645162</cx:pt>
          <cx:pt idx="607">206.35483870967741</cx:pt>
          <cx:pt idx="608">207.80645161290323</cx:pt>
          <cx:pt idx="609">208.35483870967741</cx:pt>
          <cx:pt idx="610">208.90322580645162</cx:pt>
          <cx:pt idx="611">209.45161290322579</cx:pt>
          <cx:pt idx="612">210.96774193548387</cx:pt>
          <cx:pt idx="613">212.54838709677421</cx:pt>
          <cx:pt idx="614">213.90322580645162</cx:pt>
          <cx:pt idx="615">214.41935483870967</cx:pt>
          <cx:pt idx="616">215.38709677419354</cx:pt>
          <cx:pt idx="617">216.83870967741936</cx:pt>
          <cx:pt idx="618">217.35483870967741</cx:pt>
          <cx:pt idx="619">218.64516129032259</cx:pt>
          <cx:pt idx="620">219.06451612903226</cx:pt>
          <cx:pt idx="621">219.38709677419354</cx:pt>
          <cx:pt idx="622">220.93548387096774</cx:pt>
          <cx:pt idx="623">221.83870967741936</cx:pt>
          <cx:pt idx="624">222.54838709677421</cx:pt>
          <cx:pt idx="625">224.12903225806451</cx:pt>
          <cx:pt idx="626">224.80645161290323</cx:pt>
          <cx:pt idx="627">225.74193548387098</cx:pt>
          <cx:pt idx="628">226.45161290322579</cx:pt>
          <cx:pt idx="629">228.16129032258064</cx:pt>
          <cx:pt idx="630">228.61290322580646</cx:pt>
          <cx:pt idx="631">230</cx:pt>
          <cx:pt idx="632">230.25806451612902</cx:pt>
          <cx:pt idx="633">230.19354838709677</cx:pt>
          <cx:pt idx="634">230.48387096774192</cx:pt>
          <cx:pt idx="635">230.19354838709677</cx:pt>
          <cx:pt idx="636">230.35483870967741</cx:pt>
          <cx:pt idx="637">229.87096774193549</cx:pt>
          <cx:pt idx="638">229.87096774193549</cx:pt>
          <cx:pt idx="639">229.35483870967741</cx:pt>
          <cx:pt idx="640">229.03225806451613</cx:pt>
          <cx:pt idx="641">229.32258064516128</cx:pt>
          <cx:pt idx="642">229.51612903225808</cx:pt>
          <cx:pt idx="643">229.32258064516128</cx:pt>
          <cx:pt idx="644">229.16129032258064</cx:pt>
          <cx:pt idx="645">228.87096774193549</cx:pt>
          <cx:pt idx="646">228.16129032258064</cx:pt>
          <cx:pt idx="647">226.93548387096774</cx:pt>
          <cx:pt idx="648">226.03225806451613</cx:pt>
          <cx:pt idx="649">224.70967741935485</cx:pt>
          <cx:pt idx="650">223.06451612903226</cx:pt>
          <cx:pt idx="651">221.83870967741936</cx:pt>
          <cx:pt idx="652">220.90322580645162</cx:pt>
          <cx:pt idx="653">219.35483870967741</cx:pt>
          <cx:pt idx="654">218.03225806451613</cx:pt>
          <cx:pt idx="655">217.38709677419354</cx:pt>
          <cx:pt idx="656">215.90322580645162</cx:pt>
          <cx:pt idx="657">214.38709677419354</cx:pt>
          <cx:pt idx="658">213.48387096774192</cx:pt>
          <cx:pt idx="659">212.7741935483871</cx:pt>
          <cx:pt idx="660">212.29032258064515</cx:pt>
          <cx:pt idx="661">211.54838709677421</cx:pt>
          <cx:pt idx="662">210.58064516129033</cx:pt>
          <cx:pt idx="663">209.61290322580646</cx:pt>
          <cx:pt idx="664">208.67741935483872</cx:pt>
          <cx:pt idx="665">207.93548387096774</cx:pt>
          <cx:pt idx="666">207.48387096774192</cx:pt>
          <cx:pt idx="667">207.12903225806451</cx:pt>
          <cx:pt idx="668">206.09677419354838</cx:pt>
          <cx:pt idx="669">205.51612903225808</cx:pt>
          <cx:pt idx="670">205</cx:pt>
          <cx:pt idx="671">204.35483870967741</cx:pt>
          <cx:pt idx="672">202.90322580645162</cx:pt>
          <cx:pt idx="673">202.09677419354838</cx:pt>
          <cx:pt idx="674">200.80645161290323</cx:pt>
          <cx:pt idx="675">200.16129032258064</cx:pt>
          <cx:pt idx="676">199.70967741935485</cx:pt>
          <cx:pt idx="677">199.7741935483871</cx:pt>
          <cx:pt idx="678">200.19354838709677</cx:pt>
          <cx:pt idx="679">200.06451612903226</cx:pt>
          <cx:pt idx="680">200.74193548387098</cx:pt>
          <cx:pt idx="681">201.45161290322579</cx:pt>
          <cx:pt idx="682">201.58064516129033</cx:pt>
          <cx:pt idx="683">202.03225806451613</cx:pt>
          <cx:pt idx="684">202.48387096774192</cx:pt>
          <cx:pt idx="685">202.25806451612902</cx:pt>
          <cx:pt idx="686">201.80645161290323</cx:pt>
          <cx:pt idx="687">202.25806451612902</cx:pt>
          <cx:pt idx="688">202.80645161290323</cx:pt>
          <cx:pt idx="689">202.54838709677421</cx:pt>
          <cx:pt idx="690">202.12903225806451</cx:pt>
          <cx:pt idx="691">201.96774193548387</cx:pt>
          <cx:pt idx="692">201.83870967741936</cx:pt>
          <cx:pt idx="693">201.2258064516129</cx:pt>
          <cx:pt idx="694">201.51612903225808</cx:pt>
          <cx:pt idx="695">201.29032258064515</cx:pt>
          <cx:pt idx="696">201.19354838709677</cx:pt>
          <cx:pt idx="697">200.61290322580646</cx:pt>
          <cx:pt idx="698">200.16129032258064</cx:pt>
          <cx:pt idx="699">200.96774193548387</cx:pt>
          <cx:pt idx="700">200.32258064516128</cx:pt>
          <cx:pt idx="701">199.74193548387098</cx:pt>
          <cx:pt idx="702">199.93548387096774</cx:pt>
          <cx:pt idx="703">200.41935483870967</cx:pt>
          <cx:pt idx="704">199.64516129032259</cx:pt>
          <cx:pt idx="705">200.03225806451613</cx:pt>
          <cx:pt idx="706">200.19354838709677</cx:pt>
          <cx:pt idx="707">199.51612903225808</cx:pt>
          <cx:pt idx="708">199.90322580645162</cx:pt>
          <cx:pt idx="709">199.64516129032259</cx:pt>
          <cx:pt idx="710">199.96774193548387</cx:pt>
          <cx:pt idx="711">199.64516129032259</cx:pt>
          <cx:pt idx="712">199.19354838709677</cx:pt>
          <cx:pt idx="713">199.70967741935485</cx:pt>
          <cx:pt idx="714">199.87096774193549</cx:pt>
          <cx:pt idx="715">199.67741935483872</cx:pt>
          <cx:pt idx="716">200</cx:pt>
          <cx:pt idx="717">199.90322580645162</cx:pt>
          <cx:pt idx="718">199.2258064516129</cx:pt>
          <cx:pt idx="719">198.83870967741936</cx:pt>
          <cx:pt idx="720">198.16129032258064</cx:pt>
          <cx:pt idx="721">198.61290322580646</cx:pt>
          <cx:pt idx="722">198.38709677419354</cx:pt>
          <cx:pt idx="723">198.29032258064515</cx:pt>
          <cx:pt idx="724">199.51612903225808</cx:pt>
          <cx:pt idx="725">198.90322580645162</cx:pt>
          <cx:pt idx="726">198.48387096774192</cx:pt>
          <cx:pt idx="727">197.70967741935485</cx:pt>
          <cx:pt idx="728">198.61290322580646</cx:pt>
          <cx:pt idx="729">198.16129032258064</cx:pt>
          <cx:pt idx="730">198.19354838709677</cx:pt>
          <cx:pt idx="731">199.32258064516128</cx:pt>
          <cx:pt idx="732">200</cx:pt>
          <cx:pt idx="733">199.93548387096774</cx:pt>
          <cx:pt idx="734">200.16129032258064</cx:pt>
          <cx:pt idx="735">200.45161290322579</cx:pt>
          <cx:pt idx="736">200.61290322580646</cx:pt>
          <cx:pt idx="737">199.64516129032259</cx:pt>
          <cx:pt idx="738">200.54838709677421</cx:pt>
          <cx:pt idx="739">199.93548387096774</cx:pt>
          <cx:pt idx="740">199.70967741935485</cx:pt>
          <cx:pt idx="741">199.2258064516129</cx:pt>
          <cx:pt idx="742">198.74193548387098</cx:pt>
          <cx:pt idx="743">198.38709677419354</cx:pt>
          <cx:pt idx="744">197.74193548387098</cx:pt>
          <cx:pt idx="745">197.09677419354838</cx:pt>
          <cx:pt idx="746">197.87096774193549</cx:pt>
          <cx:pt idx="747">198.38709677419354</cx:pt>
          <cx:pt idx="748">198.19354838709677</cx:pt>
          <cx:pt idx="749">198.70967741935485</cx:pt>
          <cx:pt idx="750">199.51612903225808</cx:pt>
          <cx:pt idx="751">200.35483870967741</cx:pt>
          <cx:pt idx="752">200.90322580645162</cx:pt>
          <cx:pt idx="753">201.29032258064515</cx:pt>
          <cx:pt idx="754">201.32258064516128</cx:pt>
          <cx:pt idx="755">200.67741935483872</cx:pt>
          <cx:pt idx="756">201.41935483870967</cx:pt>
          <cx:pt idx="757">202</cx:pt>
          <cx:pt idx="758">203.09677419354838</cx:pt>
          <cx:pt idx="759">202.93548387096774</cx:pt>
          <cx:pt idx="760">203.74193548387098</cx:pt>
          <cx:pt idx="761">203.70967741935485</cx:pt>
          <cx:pt idx="762">203.80645161290323</cx:pt>
          <cx:pt idx="763">203.03225806451613</cx:pt>
          <cx:pt idx="764">202.64516129032259</cx:pt>
          <cx:pt idx="765">202.38709677419354</cx:pt>
          <cx:pt idx="766">201.74193548387098</cx:pt>
          <cx:pt idx="767">201.87096774193549</cx:pt>
          <cx:pt idx="768">202.06451612903226</cx:pt>
          <cx:pt idx="769">201.67741935483872</cx:pt>
          <cx:pt idx="770">201.58064516129033</cx:pt>
          <cx:pt idx="771">201.61290322580646</cx:pt>
          <cx:pt idx="772">202.48387096774192</cx:pt>
          <cx:pt idx="773">202.61290322580646</cx:pt>
          <cx:pt idx="774">203.29032258064515</cx:pt>
          <cx:pt idx="775">203.35483870967741</cx:pt>
          <cx:pt idx="776">202.87096774193549</cx:pt>
          <cx:pt idx="777">203.12903225806451</cx:pt>
          <cx:pt idx="778">202.93548387096774</cx:pt>
          <cx:pt idx="779">203.7741935483871</cx:pt>
          <cx:pt idx="780">203.83870967741936</cx:pt>
          <cx:pt idx="781">204</cx:pt>
          <cx:pt idx="782">203.2258064516129</cx:pt>
          <cx:pt idx="783">202.74193548387098</cx:pt>
          <cx:pt idx="784">202.74193548387098</cx:pt>
          <cx:pt idx="785">203.03225806451613</cx:pt>
          <cx:pt idx="786">203.12903225806451</cx:pt>
          <cx:pt idx="787">203.41935483870967</cx:pt>
          <cx:pt idx="788">203.09677419354838</cx:pt>
          <cx:pt idx="789">203.12903225806451</cx:pt>
          <cx:pt idx="790">202.7741935483871</cx:pt>
          <cx:pt idx="791">202.48387096774192</cx:pt>
          <cx:pt idx="792">202.2258064516129</cx:pt>
          <cx:pt idx="793">201.35483870967741</cx:pt>
          <cx:pt idx="794">201.87096774193549</cx:pt>
          <cx:pt idx="795">202.2258064516129</cx:pt>
          <cx:pt idx="796">202.06451612903226</cx:pt>
          <cx:pt idx="797">202.48387096774192</cx:pt>
          <cx:pt idx="798">202.38709677419354</cx:pt>
          <cx:pt idx="799">202.64516129032259</cx:pt>
          <cx:pt idx="800">202.74193548387098</cx:pt>
          <cx:pt idx="801">202.93548387096774</cx:pt>
          <cx:pt idx="802">203.54838709677421</cx:pt>
          <cx:pt idx="803">203.19354838709677</cx:pt>
          <cx:pt idx="804">202.80645161290323</cx:pt>
          <cx:pt idx="805">202.80645161290323</cx:pt>
          <cx:pt idx="806">203.09677419354838</cx:pt>
          <cx:pt idx="807">204.2258064516129</cx:pt>
          <cx:pt idx="808">204.19354838709677</cx:pt>
          <cx:pt idx="809">204.29032258064515</cx:pt>
          <cx:pt idx="810">203.93548387096774</cx:pt>
          <cx:pt idx="811">204.35483870967741</cx:pt>
          <cx:pt idx="812">203.58064516129033</cx:pt>
          <cx:pt idx="813">204.67741935483872</cx:pt>
          <cx:pt idx="814">204.09677419354838</cx:pt>
          <cx:pt idx="815">203.29032258064515</cx:pt>
          <cx:pt idx="816">202.83870967741936</cx:pt>
          <cx:pt idx="817">203.09677419354838</cx:pt>
          <cx:pt idx="818">203</cx:pt>
          <cx:pt idx="819">203.51612903225808</cx:pt>
          <cx:pt idx="820">202.38709677419354</cx:pt>
          <cx:pt idx="821">203</cx:pt>
          <cx:pt idx="822">202.29032258064515</cx:pt>
          <cx:pt idx="823">202.67741935483872</cx:pt>
          <cx:pt idx="824">203.03225806451613</cx:pt>
          <cx:pt idx="825">202.51612903225808</cx:pt>
          <cx:pt idx="826">202.38709677419354</cx:pt>
          <cx:pt idx="827">202.93548387096774</cx:pt>
          <cx:pt idx="828">203.03225806451613</cx:pt>
          <cx:pt idx="829">203.25806451612902</cx:pt>
          <cx:pt idx="830">203.90322580645162</cx:pt>
          <cx:pt idx="831">203.58064516129033</cx:pt>
          <cx:pt idx="832">203.06451612903226</cx:pt>
          <cx:pt idx="833">203.2258064516129</cx:pt>
          <cx:pt idx="834">203.48387096774192</cx:pt>
          <cx:pt idx="835">203.64516129032259</cx:pt>
          <cx:pt idx="836">203.38709677419354</cx:pt>
          <cx:pt idx="837">203.58064516129033</cx:pt>
          <cx:pt idx="838">203.12903225806451</cx:pt>
          <cx:pt idx="839">202.32258064516128</cx:pt>
          <cx:pt idx="840">202.35483870967741</cx:pt>
          <cx:pt idx="841">202.64516129032259</cx:pt>
          <cx:pt idx="842">201.7741935483871</cx:pt>
          <cx:pt idx="843">201.54838709677421</cx:pt>
          <cx:pt idx="844">201.19354838709677</cx:pt>
          <cx:pt idx="845">202.12903225806451</cx:pt>
          <cx:pt idx="846">203</cx:pt>
          <cx:pt idx="847">203.48387096774192</cx:pt>
          <cx:pt idx="848">203.48387096774192</cx:pt>
          <cx:pt idx="849">202.51612903225808</cx:pt>
          <cx:pt idx="850">202.64516129032259</cx:pt>
          <cx:pt idx="851">202.90322580645162</cx:pt>
          <cx:pt idx="852">202.12903225806451</cx:pt>
          <cx:pt idx="853">203.2258064516129</cx:pt>
          <cx:pt idx="854">202.83870967741936</cx:pt>
          <cx:pt idx="855">202.09677419354838</cx:pt>
          <cx:pt idx="856">202.41935483870967</cx:pt>
          <cx:pt idx="857">201.83870967741936</cx:pt>
          <cx:pt idx="858">200.90322580645162</cx:pt>
          <cx:pt idx="859">200.90322580645162</cx:pt>
          <cx:pt idx="860">200</cx:pt>
          <cx:pt idx="861">199.29032258064515</cx:pt>
          <cx:pt idx="862">199</cx:pt>
          <cx:pt idx="863">200.12903225806451</cx:pt>
          <cx:pt idx="864">200.12903225806451</cx:pt>
          <cx:pt idx="865">199.7741935483871</cx:pt>
          <cx:pt idx="866">200.87096774193549</cx:pt>
          <cx:pt idx="867">200.61290322580646</cx:pt>
          <cx:pt idx="868">200.74193548387098</cx:pt>
          <cx:pt idx="869">200.48387096774192</cx:pt>
          <cx:pt idx="870">201.2258064516129</cx:pt>
          <cx:pt idx="871">200.38709677419354</cx:pt>
          <cx:pt idx="872">200.48387096774192</cx:pt>
          <cx:pt idx="873">201.29032258064515</cx:pt>
          <cx:pt idx="874">201.58064516129033</cx:pt>
          <cx:pt idx="875">201.25806451612902</cx:pt>
          <cx:pt idx="876">201.12903225806451</cx:pt>
          <cx:pt idx="877">200.64516129032259</cx:pt>
          <cx:pt idx="878">200.06451612903226</cx:pt>
          <cx:pt idx="879">200.38709677419354</cx:pt>
          <cx:pt idx="880">200.7741935483871</cx:pt>
          <cx:pt idx="881">200.32258064516128</cx:pt>
          <cx:pt idx="882">201.03225806451613</cx:pt>
          <cx:pt idx="883">201.32258064516128</cx:pt>
          <cx:pt idx="884">200.7741935483871</cx:pt>
          <cx:pt idx="885">200.12903225806451</cx:pt>
          <cx:pt idx="886">200.70967741935485</cx:pt>
          <cx:pt idx="887">200.93548387096774</cx:pt>
          <cx:pt idx="888">200.96774193548387</cx:pt>
          <cx:pt idx="889">201.64516129032259</cx:pt>
          <cx:pt idx="890">202.38709677419354</cx:pt>
          <cx:pt idx="891">203.06451612903226</cx:pt>
          <cx:pt idx="892">203.67741935483872</cx:pt>
          <cx:pt idx="893">204.58064516129033</cx:pt>
          <cx:pt idx="894">204.29032258064515</cx:pt>
          <cx:pt idx="895">204.25806451612902</cx:pt>
          <cx:pt idx="896">204.51612903225808</cx:pt>
          <cx:pt idx="897">204.35483870967741</cx:pt>
          <cx:pt idx="898">204.74193548387098</cx:pt>
          <cx:pt idx="899">204.51612903225808</cx:pt>
          <cx:pt idx="900">204.29032258064515</cx:pt>
          <cx:pt idx="901">204.32258064516128</cx:pt>
          <cx:pt idx="902">204.51612903225808</cx:pt>
          <cx:pt idx="903">203.48387096774192</cx:pt>
          <cx:pt idx="904">203.70967741935485</cx:pt>
          <cx:pt idx="905">204.45161290322579</cx:pt>
          <cx:pt idx="906">204.96774193548387</cx:pt>
          <cx:pt idx="907">204.29032258064515</cx:pt>
          <cx:pt idx="908">204.35483870967741</cx:pt>
          <cx:pt idx="909">204</cx:pt>
          <cx:pt idx="910">203.51612903225808</cx:pt>
          <cx:pt idx="911">203.35483870967741</cx:pt>
          <cx:pt idx="912">203.7741935483871</cx:pt>
          <cx:pt idx="913">203.64516129032259</cx:pt>
          <cx:pt idx="914">203.58064516129033</cx:pt>
          <cx:pt idx="915">203.54838709677421</cx:pt>
          <cx:pt idx="916">203.83870967741936</cx:pt>
          <cx:pt idx="917">203.2258064516129</cx:pt>
          <cx:pt idx="918">203.29032258064515</cx:pt>
          <cx:pt idx="919">203.41935483870967</cx:pt>
          <cx:pt idx="920">203.54838709677421</cx:pt>
          <cx:pt idx="921">202.7741935483871</cx:pt>
          <cx:pt idx="922">202.64516129032259</cx:pt>
          <cx:pt idx="923">202.35483870967741</cx:pt>
          <cx:pt idx="924">201.35483870967741</cx:pt>
          <cx:pt idx="925">201.38709677419354</cx:pt>
          <cx:pt idx="926">200.87096774193549</cx:pt>
          <cx:pt idx="927">200.48387096774192</cx:pt>
          <cx:pt idx="928">200.45161290322579</cx:pt>
          <cx:pt idx="929">200.87096774193549</cx:pt>
          <cx:pt idx="930">201.12903225806451</cx:pt>
          <cx:pt idx="931">202</cx:pt>
          <cx:pt idx="932">201.83870967741936</cx:pt>
          <cx:pt idx="933">202.67741935483872</cx:pt>
          <cx:pt idx="934">203.67741935483872</cx:pt>
          <cx:pt idx="935">203.29032258064515</cx:pt>
          <cx:pt idx="936">203.12903225806451</cx:pt>
          <cx:pt idx="937">203</cx:pt>
          <cx:pt idx="938">203.45161290322579</cx:pt>
          <cx:pt idx="939">203.35483870967741</cx:pt>
          <cx:pt idx="940">203.70967741935485</cx:pt>
          <cx:pt idx="941">203.41935483870967</cx:pt>
          <cx:pt idx="942">203.19354838709677</cx:pt>
          <cx:pt idx="943">202.38709677419354</cx:pt>
          <cx:pt idx="944">202.58064516129033</cx:pt>
          <cx:pt idx="945">202.38709677419354</cx:pt>
          <cx:pt idx="946">202.83870967741936</cx:pt>
          <cx:pt idx="947">202.35483870967741</cx:pt>
          <cx:pt idx="948">203.2258064516129</cx:pt>
          <cx:pt idx="949">203.51612903225808</cx:pt>
          <cx:pt idx="950">204.32258064516128</cx:pt>
          <cx:pt idx="951">203.80645161290323</cx:pt>
          <cx:pt idx="952">203.7741935483871</cx:pt>
          <cx:pt idx="953">204.29032258064515</cx:pt>
          <cx:pt idx="954">203.54838709677421</cx:pt>
          <cx:pt idx="955">204.2258064516129</cx:pt>
          <cx:pt idx="956">203.29032258064515</cx:pt>
          <cx:pt idx="957">203.12903225806451</cx:pt>
          <cx:pt idx="958">203.2258064516129</cx:pt>
          <cx:pt idx="959">202.48387096774192</cx:pt>
          <cx:pt idx="960">201.64516129032259</cx:pt>
          <cx:pt idx="961">201.03225806451613</cx:pt>
          <cx:pt idx="962">200.61290322580646</cx:pt>
          <cx:pt idx="963">199.90322580645162</cx:pt>
          <cx:pt idx="964">198.90322580645162</cx:pt>
          <cx:pt idx="965">198.19354838709677</cx:pt>
          <cx:pt idx="966">198.2258064516129</cx:pt>
          <cx:pt idx="967">198.38709677419354</cx:pt>
          <cx:pt idx="968">198.16129032258064</cx:pt>
          <cx:pt idx="969">197.48387096774192</cx:pt>
          <cx:pt idx="970">197.90322580645162</cx:pt>
          <cx:pt idx="971">197.61290322580646</cx:pt>
          <cx:pt idx="972">197.83870967741936</cx:pt>
          <cx:pt idx="973">198.54838709677421</cx:pt>
          <cx:pt idx="974">198.67741935483872</cx:pt>
          <cx:pt idx="975">197.61290322580646</cx:pt>
          <cx:pt idx="976">197.87096774193549</cx:pt>
          <cx:pt idx="977">197.41935483870967</cx:pt>
          <cx:pt idx="978">197.58064516129033</cx:pt>
          <cx:pt idx="979">196.90322580645162</cx:pt>
          <cx:pt idx="980">196.64516129032259</cx:pt>
          <cx:pt idx="981">196.09677419354838</cx:pt>
          <cx:pt idx="982">196.32258064516128</cx:pt>
          <cx:pt idx="983">196.61290322580646</cx:pt>
          <cx:pt idx="984">195.58064516129033</cx:pt>
          <cx:pt idx="985">195.61290322580646</cx:pt>
          <cx:pt idx="986">194.87096774193549</cx:pt>
          <cx:pt idx="987">196</cx:pt>
          <cx:pt idx="988">196.19354838709677</cx:pt>
          <cx:pt idx="989">196.2258064516129</cx:pt>
          <cx:pt idx="990">196.70967741935485</cx:pt>
          <cx:pt idx="991">196.90322580645162</cx:pt>
          <cx:pt idx="992">196.83870967741936</cx:pt>
          <cx:pt idx="993">196.90322580645162</cx:pt>
          <cx:pt idx="994">197.67741935483872</cx:pt>
          <cx:pt idx="995">198.29032258064515</cx:pt>
          <cx:pt idx="996">198.25806451612902</cx:pt>
          <cx:pt idx="997">198.03225806451613</cx:pt>
          <cx:pt idx="998">197.41935483870967</cx:pt>
          <cx:pt idx="999">196.96774193548387</cx:pt>
          <cx:pt idx="1000">197.67741935483872</cx:pt>
          <cx:pt idx="1001">197.61290322580646</cx:pt>
          <cx:pt idx="1002">197.58064516129033</cx:pt>
          <cx:pt idx="1003">196.93548387096774</cx:pt>
          <cx:pt idx="1004">197.25806451612902</cx:pt>
          <cx:pt idx="1005">197.83870967741936</cx:pt>
          <cx:pt idx="1006">198.45161290322579</cx:pt>
          <cx:pt idx="1007">197.96774193548387</cx:pt>
          <cx:pt idx="1008">198.09677419354838</cx:pt>
          <cx:pt idx="1009">198.32258064516128</cx:pt>
          <cx:pt idx="1010">198.74193548387098</cx:pt>
          <cx:pt idx="1011">198.09677419354838</cx:pt>
          <cx:pt idx="1012">197.80645161290323</cx:pt>
          <cx:pt idx="1013">197.58064516129033</cx:pt>
          <cx:pt idx="1014">197.7741935483871</cx:pt>
          <cx:pt idx="1015">198.16129032258064</cx:pt>
          <cx:pt idx="1016">198.19354838709677</cx:pt>
          <cx:pt idx="1017">199.38709677419354</cx:pt>
          <cx:pt idx="1018">198.90322580645162</cx:pt>
          <cx:pt idx="1019">199.32258064516128</cx:pt>
          <cx:pt idx="1020">199.80645161290323</cx:pt>
          <cx:pt idx="1021">200.19354838709677</cx:pt>
          <cx:pt idx="1022">199.87096774193549</cx:pt>
          <cx:pt idx="1023">200.35483870967741</cx:pt>
          <cx:pt idx="1024">199.93548387096774</cx:pt>
          <cx:pt idx="1025">199</cx:pt>
          <cx:pt idx="1026">199.48387096774192</cx:pt>
          <cx:pt idx="1027">199.41935483870967</cx:pt>
          <cx:pt idx="1028">199.67741935483872</cx:pt>
          <cx:pt idx="1029">200.03225806451613</cx:pt>
          <cx:pt idx="1030">200</cx:pt>
          <cx:pt idx="1031">199.45161290322579</cx:pt>
          <cx:pt idx="1032">198.45161290322579</cx:pt>
          <cx:pt idx="1033">198.83870967741936</cx:pt>
          <cx:pt idx="1034">199.32258064516128</cx:pt>
          <cx:pt idx="1035">198.2258064516129</cx:pt>
          <cx:pt idx="1036">198.35483870967741</cx:pt>
          <cx:pt idx="1037">198.16129032258064</cx:pt>
          <cx:pt idx="1038">198.09677419354838</cx:pt>
          <cx:pt idx="1039">198.64516129032259</cx:pt>
          <cx:pt idx="1040">199.61290322580646</cx:pt>
          <cx:pt idx="1041">200.83870967741936</cx:pt>
          <cx:pt idx="1042">202.38709677419354</cx:pt>
          <cx:pt idx="1043">204</cx:pt>
          <cx:pt idx="1044">205.03225806451613</cx:pt>
          <cx:pt idx="1045">205.93548387096774</cx:pt>
          <cx:pt idx="1046">207.09677419354838</cx:pt>
          <cx:pt idx="1047">208.90322580645162</cx:pt>
          <cx:pt idx="1048">209.29032258064515</cx:pt>
          <cx:pt idx="1049">209.96774193548387</cx:pt>
          <cx:pt idx="1050">210.41935483870967</cx:pt>
          <cx:pt idx="1051">211.06451612903226</cx:pt>
          <cx:pt idx="1052">211.32258064516128</cx:pt>
          <cx:pt idx="1053">212.58064516129033</cx:pt>
          <cx:pt idx="1054">213.58064516129033</cx:pt>
          <cx:pt idx="1055">214.7741935483871</cx:pt>
          <cx:pt idx="1056">216.12903225806451</cx:pt>
          <cx:pt idx="1057">216.48387096774192</cx:pt>
          <cx:pt idx="1058">217.96774193548387</cx:pt>
          <cx:pt idx="1059">218.58064516129033</cx:pt>
          <cx:pt idx="1060">219.2258064516129</cx:pt>
          <cx:pt idx="1061">220.7741935483871</cx:pt>
          <cx:pt idx="1062">222.06451612903226</cx:pt>
          <cx:pt idx="1063">223.51612903225808</cx:pt>
          <cx:pt idx="1064">224.51612903225808</cx:pt>
          <cx:pt idx="1065">225.48387096774192</cx:pt>
          <cx:pt idx="1066">227.25806451612902</cx:pt>
          <cx:pt idx="1067">228.19354838709677</cx:pt>
          <cx:pt idx="1068">229.32258064516128</cx:pt>
          <cx:pt idx="1069">230.54838709677421</cx:pt>
          <cx:pt idx="1070">231.16129032258064</cx:pt>
          <cx:pt idx="1071">231.29032258064515</cx:pt>
          <cx:pt idx="1072">230.74193548387098</cx:pt>
          <cx:pt idx="1073">230.67741935483872</cx:pt>
          <cx:pt idx="1074">230.67741935483872</cx:pt>
          <cx:pt idx="1075">230.70967741935485</cx:pt>
          <cx:pt idx="1076">230.67741935483872</cx:pt>
          <cx:pt idx="1077">230.74193548387098</cx:pt>
          <cx:pt idx="1078">230.51612903225808</cx:pt>
          <cx:pt idx="1079">230.58064516129033</cx:pt>
          <cx:pt idx="1080">230.96774193548387</cx:pt>
          <cx:pt idx="1081">231.2258064516129</cx:pt>
          <cx:pt idx="1082">231.35483870967741</cx:pt>
          <cx:pt idx="1083">231.67741935483872</cx:pt>
          <cx:pt idx="1084">230.41935483870967</cx:pt>
          <cx:pt idx="1085">228.93548387096774</cx:pt>
          <cx:pt idx="1086">227.29032258064515</cx:pt>
          <cx:pt idx="1087">225.74193548387098</cx:pt>
          <cx:pt idx="1088">224.67741935483872</cx:pt>
          <cx:pt idx="1089">223.67741935483872</cx:pt>
          <cx:pt idx="1090">222.12903225806451</cx:pt>
          <cx:pt idx="1091">220.64516129032259</cx:pt>
          <cx:pt idx="1092">219.87096774193549</cx:pt>
          <cx:pt idx="1093">218.64516129032259</cx:pt>
          <cx:pt idx="1094">217.06451612903226</cx:pt>
          <cx:pt idx="1095">215.48387096774192</cx:pt>
          <cx:pt idx="1096">214.2258064516129</cx:pt>
          <cx:pt idx="1097">212.7741935483871</cx:pt>
          <cx:pt idx="1098">211.2258064516129</cx:pt>
          <cx:pt idx="1099">209.80645161290323</cx:pt>
          <cx:pt idx="1100">208.90322580645162</cx:pt>
          <cx:pt idx="1101">207.03225806451613</cx:pt>
          <cx:pt idx="1102">206.74193548387098</cx:pt>
          <cx:pt idx="1103">206.16129032258064</cx:pt>
          <cx:pt idx="1104">204.93548387096774</cx:pt>
          <cx:pt idx="1105">203.90322580645162</cx:pt>
          <cx:pt idx="1106">202.93548387096774</cx:pt>
          <cx:pt idx="1107">201.48387096774192</cx:pt>
          <cx:pt idx="1108">200.09677419354838</cx:pt>
          <cx:pt idx="1109">199.41935483870967</cx:pt>
          <cx:pt idx="1110">198.2258064516129</cx:pt>
          <cx:pt idx="1111">197.19354838709677</cx:pt>
          <cx:pt idx="1112">196.19354838709677</cx:pt>
          <cx:pt idx="1113">195.48387096774192</cx:pt>
          <cx:pt idx="1114">194.41935483870967</cx:pt>
          <cx:pt idx="1115">194.64516129032259</cx:pt>
          <cx:pt idx="1116">194.80645161290323</cx:pt>
          <cx:pt idx="1117">195.87096774193549</cx:pt>
          <cx:pt idx="1118">195.93548387096774</cx:pt>
          <cx:pt idx="1119">196.32258064516128</cx:pt>
          <cx:pt idx="1120">196.54838709677421</cx:pt>
          <cx:pt idx="1121">196.70967741935485</cx:pt>
          <cx:pt idx="1122">197.83870967741936</cx:pt>
          <cx:pt idx="1123">197.2258064516129</cx:pt>
          <cx:pt idx="1124">197.41935483870967</cx:pt>
          <cx:pt idx="1125">198.19354838709677</cx:pt>
          <cx:pt idx="1126">198.29032258064515</cx:pt>
          <cx:pt idx="1127">198.93548387096774</cx:pt>
          <cx:pt idx="1128">199.7741935483871</cx:pt>
          <cx:pt idx="1129">199.7741935483871</cx:pt>
          <cx:pt idx="1130">200.16129032258064</cx:pt>
          <cx:pt idx="1131">199.74193548387098</cx:pt>
          <cx:pt idx="1132">199.80645161290323</cx:pt>
          <cx:pt idx="1133">199.2258064516129</cx:pt>
          <cx:pt idx="1134">199</cx:pt>
          <cx:pt idx="1135">198.74193548387098</cx:pt>
          <cx:pt idx="1136">198.35483870967741</cx:pt>
          <cx:pt idx="1137">197.96774193548387</cx:pt>
          <cx:pt idx="1138">198.12903225806451</cx:pt>
          <cx:pt idx="1139">197.70967741935485</cx:pt>
          <cx:pt idx="1140">197.74193548387098</cx:pt>
          <cx:pt idx="1141">197.58064516129033</cx:pt>
          <cx:pt idx="1142">197.09677419354838</cx:pt>
          <cx:pt idx="1143">196.96774193548387</cx:pt>
          <cx:pt idx="1144">195.83870967741936</cx:pt>
          <cx:pt idx="1145">196.29032258064515</cx:pt>
          <cx:pt idx="1146">196.61290322580646</cx:pt>
          <cx:pt idx="1147">196.87096774193549</cx:pt>
          <cx:pt idx="1148">196.32258064516128</cx:pt>
          <cx:pt idx="1149">196.29032258064515</cx:pt>
          <cx:pt idx="1150">196.70967741935485</cx:pt>
          <cx:pt idx="1151">195.7741935483871</cx:pt>
          <cx:pt idx="1152">195.93548387096774</cx:pt>
          <cx:pt idx="1153">194.93548387096774</cx:pt>
          <cx:pt idx="1154">195.25806451612902</cx:pt>
          <cx:pt idx="1155">195.16129032258064</cx:pt>
          <cx:pt idx="1156">195.32258064516128</cx:pt>
          <cx:pt idx="1157">196.35483870967741</cx:pt>
          <cx:pt idx="1158">196</cx:pt>
          <cx:pt idx="1159">194.83870967741936</cx:pt>
          <cx:pt idx="1160">194.58064516129033</cx:pt>
          <cx:pt idx="1161">194.70967741935485</cx:pt>
          <cx:pt idx="1162">195.58064516129033</cx:pt>
          <cx:pt idx="1163">196.74193548387098</cx:pt>
          <cx:pt idx="1164">196.38709677419354</cx:pt>
          <cx:pt idx="1165">195.93548387096774</cx:pt>
          <cx:pt idx="1166">196.70967741935485</cx:pt>
          <cx:pt idx="1167">196.54838709677421</cx:pt>
          <cx:pt idx="1168">197.19354838709677</cx:pt>
          <cx:pt idx="1169">197.80645161290323</cx:pt>
          <cx:pt idx="1170">198.96774193548387</cx:pt>
          <cx:pt idx="1171">198.29032258064515</cx:pt>
          <cx:pt idx="1172">198.25806451612902</cx:pt>
          <cx:pt idx="1173">198.2258064516129</cx:pt>
          <cx:pt idx="1174">198.45161290322579</cx:pt>
          <cx:pt idx="1175">198.45161290322579</cx:pt>
          <cx:pt idx="1176">197.93548387096774</cx:pt>
          <cx:pt idx="1177">197.90322580645162</cx:pt>
          <cx:pt idx="1178">198.38709677419354</cx:pt>
          <cx:pt idx="1179">197.96774193548387</cx:pt>
          <cx:pt idx="1180">198.06451612903226</cx:pt>
          <cx:pt idx="1181">196.80645161290323</cx:pt>
          <cx:pt idx="1182">197.48387096774192</cx:pt>
          <cx:pt idx="1183">197.74193548387098</cx:pt>
          <cx:pt idx="1184">198.29032258064515</cx:pt>
          <cx:pt idx="1185">197.87096774193549</cx:pt>
          <cx:pt idx="1186">197.80645161290323</cx:pt>
          <cx:pt idx="1187">197.29032258064515</cx:pt>
          <cx:pt idx="1188">197.03225806451613</cx:pt>
          <cx:pt idx="1189">197.12903225806451</cx:pt>
          <cx:pt idx="1190">198.25806451612902</cx:pt>
          <cx:pt idx="1191">198.74193548387098</cx:pt>
          <cx:pt idx="1192">199.25806451612902</cx:pt>
          <cx:pt idx="1193">199.51612903225808</cx:pt>
          <cx:pt idx="1194">199.29032258064515</cx:pt>
          <cx:pt idx="1195">200.32258064516128</cx:pt>
          <cx:pt idx="1196">201.29032258064515</cx:pt>
          <cx:pt idx="1197">201.12903225806451</cx:pt>
          <cx:pt idx="1198">201.35483870967741</cx:pt>
          <cx:pt idx="1199">200.51612903225808</cx:pt>
          <cx:pt idx="1200">199.87096774193549</cx:pt>
          <cx:pt idx="1201">199.25806451612902</cx:pt>
          <cx:pt idx="1202">199.32258064516128</cx:pt>
          <cx:pt idx="1203">199.2258064516129</cx:pt>
          <cx:pt idx="1204">199.74193548387098</cx:pt>
          <cx:pt idx="1205">199.41935483870967</cx:pt>
          <cx:pt idx="1206">199.32258064516128</cx:pt>
          <cx:pt idx="1207">199.83870967741936</cx:pt>
          <cx:pt idx="1208">200.38709677419354</cx:pt>
          <cx:pt idx="1209">200</cx:pt>
          <cx:pt idx="1210">201.16129032258064</cx:pt>
          <cx:pt idx="1211">201.03225806451613</cx:pt>
          <cx:pt idx="1212">201.03225806451613</cx:pt>
          <cx:pt idx="1213">201.06451612903226</cx:pt>
          <cx:pt idx="1214">200.61290322580646</cx:pt>
          <cx:pt idx="1215">201.06451612903226</cx:pt>
          <cx:pt idx="1216">201.87096774193549</cx:pt>
          <cx:pt idx="1217">202.80645161290323</cx:pt>
          <cx:pt idx="1218">202.61290322580646</cx:pt>
          <cx:pt idx="1219">202.45161290322579</cx:pt>
          <cx:pt idx="1220">202.70967741935485</cx:pt>
          <cx:pt idx="1221">202.58064516129033</cx:pt>
          <cx:pt idx="1222">202.7741935483871</cx:pt>
          <cx:pt idx="1223">201.87096774193549</cx:pt>
          <cx:pt idx="1224">201.2258064516129</cx:pt>
          <cx:pt idx="1225">201.35483870967741</cx:pt>
          <cx:pt idx="1226">201.19354838709677</cx:pt>
          <cx:pt idx="1227">200.2258064516129</cx:pt>
          <cx:pt idx="1228">200.09677419354838</cx:pt>
          <cx:pt idx="1229">200.67741935483872</cx:pt>
          <cx:pt idx="1230">200.70967741935485</cx:pt>
          <cx:pt idx="1231">200.54838709677421</cx:pt>
          <cx:pt idx="1232">201.38709677419354</cx:pt>
          <cx:pt idx="1233">202.29032258064515</cx:pt>
          <cx:pt idx="1234">203.58064516129033</cx:pt>
          <cx:pt idx="1235">204.64516129032259</cx:pt>
          <cx:pt idx="1236">206</cx:pt>
          <cx:pt idx="1237">207.7741935483871</cx:pt>
          <cx:pt idx="1238">208.12903225806451</cx:pt>
          <cx:pt idx="1239">208.19354838709677</cx:pt>
          <cx:pt idx="1240">209.06451612903226</cx:pt>
          <cx:pt idx="1241">209.48387096774192</cx:pt>
          <cx:pt idx="1242">210.96774193548387</cx:pt>
          <cx:pt idx="1243">212.41935483870967</cx:pt>
          <cx:pt idx="1244">213.41935483870967</cx:pt>
          <cx:pt idx="1245">214.93548387096774</cx:pt>
          <cx:pt idx="1246">215.29032258064515</cx:pt>
          <cx:pt idx="1247">215.96774193548387</cx:pt>
          <cx:pt idx="1248">216.19354838709677</cx:pt>
          <cx:pt idx="1249">217.74193548387098</cx:pt>
          <cx:pt idx="1250">218.74193548387098</cx:pt>
          <cx:pt idx="1251">219.12903225806451</cx:pt>
          <cx:pt idx="1252">219.48387096774192</cx:pt>
          <cx:pt idx="1253">220.54838709677421</cx:pt>
          <cx:pt idx="1254">221.51612903225808</cx:pt>
          <cx:pt idx="1255">222.58064516129033</cx:pt>
          <cx:pt idx="1256">222.70967741935485</cx:pt>
          <cx:pt idx="1257">223.32258064516128</cx:pt>
          <cx:pt idx="1258">225.09677419354838</cx:pt>
          <cx:pt idx="1259">226.35483870967741</cx:pt>
          <cx:pt idx="1260">227</cx:pt>
          <cx:pt idx="1261">228.54838709677421</cx:pt>
          <cx:pt idx="1262">229.51612903225808</cx:pt>
          <cx:pt idx="1263">229.61290322580646</cx:pt>
          <cx:pt idx="1264">230.16129032258064</cx:pt>
          <cx:pt idx="1265">230.41935483870967</cx:pt>
          <cx:pt idx="1266">230.19354838709677</cx:pt>
          <cx:pt idx="1267">229.90322580645162</cx:pt>
          <cx:pt idx="1268">229.87096774193549</cx:pt>
          <cx:pt idx="1269">230.09677419354838</cx:pt>
          <cx:pt idx="1270">230.12903225806451</cx:pt>
          <cx:pt idx="1271">230.41935483870967</cx:pt>
          <cx:pt idx="1272">230.67741935483872</cx:pt>
          <cx:pt idx="1273">230.83870967741936</cx:pt>
          <cx:pt idx="1274">231.12903225806451</cx:pt>
          <cx:pt idx="1275">230.61290322580646</cx:pt>
          <cx:pt idx="1276">230.2258064516129</cx:pt>
          <cx:pt idx="1277">228.93548387096774</cx:pt>
          <cx:pt idx="1278">228.25806451612902</cx:pt>
          <cx:pt idx="1279">227.90322580645162</cx:pt>
          <cx:pt idx="1280">227.35483870967741</cx:pt>
          <cx:pt idx="1281">225.70967741935485</cx:pt>
          <cx:pt idx="1282">224.67741935483872</cx:pt>
          <cx:pt idx="1283">224.38709677419354</cx:pt>
          <cx:pt idx="1284">223.74193548387098</cx:pt>
          <cx:pt idx="1285">222.70967741935485</cx:pt>
          <cx:pt idx="1286">221.74193548387098</cx:pt>
          <cx:pt idx="1287">220.64516129032259</cx:pt>
          <cx:pt idx="1288">219.80645161290323</cx:pt>
          <cx:pt idx="1289">218.80645161290323</cx:pt>
          <cx:pt idx="1290">218.06451612903226</cx:pt>
          <cx:pt idx="1291">217</cx:pt>
          <cx:pt idx="1292">216.48387096774192</cx:pt>
          <cx:pt idx="1293">215.80645161290323</cx:pt>
          <cx:pt idx="1294">215.54838709677421</cx:pt>
          <cx:pt idx="1295">214.64516129032259</cx:pt>
          <cx:pt idx="1296">213.54838709677421</cx:pt>
          <cx:pt idx="1297">213.16129032258064</cx:pt>
          <cx:pt idx="1298">212.12903225806451</cx:pt>
          <cx:pt idx="1299">211.19354838709677</cx:pt>
          <cx:pt idx="1300">210.09677419354838</cx:pt>
          <cx:pt idx="1301">209.51612903225808</cx:pt>
          <cx:pt idx="1302">208.2258064516129</cx:pt>
          <cx:pt idx="1303">206.48387096774192</cx:pt>
          <cx:pt idx="1304">205.25806451612902</cx:pt>
          <cx:pt idx="1305">204.32258064516128</cx:pt>
          <cx:pt idx="1306">203.70967741935485</cx:pt>
          <cx:pt idx="1307">202.48387096774192</cx:pt>
          <cx:pt idx="1308">202.29032258064515</cx:pt>
          <cx:pt idx="1309">201.87096774193549</cx:pt>
          <cx:pt idx="1310">200.87096774193549</cx:pt>
          <cx:pt idx="1311">200.83870967741936</cx:pt>
          <cx:pt idx="1312">200.96774193548387</cx:pt>
          <cx:pt idx="1313">201.96774193548387</cx:pt>
          <cx:pt idx="1314">201.74193548387098</cx:pt>
          <cx:pt idx="1315">201.41935483870967</cx:pt>
          <cx:pt idx="1316">201.54838709677421</cx:pt>
          <cx:pt idx="1317">201.06451612903226</cx:pt>
          <cx:pt idx="1318">200.87096774193549</cx:pt>
          <cx:pt idx="1319">200.93548387096774</cx:pt>
          <cx:pt idx="1320">200.90322580645162</cx:pt>
          <cx:pt idx="1321">200.2258064516129</cx:pt>
          <cx:pt idx="1322">199.93548387096774</cx:pt>
          <cx:pt idx="1323">200</cx:pt>
          <cx:pt idx="1324">200.35483870967741</cx:pt>
          <cx:pt idx="1325">199.67741935483872</cx:pt>
          <cx:pt idx="1326">199.61290322580646</cx:pt>
          <cx:pt idx="1327">198.93548387096774</cx:pt>
          <cx:pt idx="1328">198.90322580645162</cx:pt>
          <cx:pt idx="1329">198.87096774193549</cx:pt>
          <cx:pt idx="1330">198.35483870967741</cx:pt>
          <cx:pt idx="1331">197.80645161290323</cx:pt>
          <cx:pt idx="1332">197.29032258064515</cx:pt>
          <cx:pt idx="1333">197.90322580645162</cx:pt>
          <cx:pt idx="1334">198.67741935483872</cx:pt>
          <cx:pt idx="1335">198.45161290322579</cx:pt>
          <cx:pt idx="1336">198.06451612903226</cx:pt>
          <cx:pt idx="1337">198.38709677419354</cx:pt>
          <cx:pt idx="1338">198.45161290322579</cx:pt>
          <cx:pt idx="1339">199.32258064516128</cx:pt>
          <cx:pt idx="1340">198.96774193548387</cx:pt>
          <cx:pt idx="1341">199.32258064516128</cx:pt>
          <cx:pt idx="1342">198.32258064516128</cx:pt>
          <cx:pt idx="1343">198.58064516129033</cx:pt>
          <cx:pt idx="1344">198.51612903225808</cx:pt>
          <cx:pt idx="1345">198.06451612903226</cx:pt>
          <cx:pt idx="1346">198.03225806451613</cx:pt>
          <cx:pt idx="1347">197.67741935483872</cx:pt>
          <cx:pt idx="1348">197.96774193548387</cx:pt>
          <cx:pt idx="1349">198.25806451612902</cx:pt>
          <cx:pt idx="1350">198</cx:pt>
          <cx:pt idx="1351">198.38709677419354</cx:pt>
          <cx:pt idx="1352">199.19354838709677</cx:pt>
          <cx:pt idx="1353">199.80645161290323</cx:pt>
          <cx:pt idx="1354">198.96774193548387</cx:pt>
          <cx:pt idx="1355">198</cx:pt>
          <cx:pt idx="1356">198.51612903225808</cx:pt>
          <cx:pt idx="1357">198</cx:pt>
          <cx:pt idx="1358">198.29032258064515</cx:pt>
          <cx:pt idx="1359">198.25806451612902</cx:pt>
          <cx:pt idx="1360">198.16129032258064</cx:pt>
          <cx:pt idx="1361">198.48387096774192</cx:pt>
          <cx:pt idx="1362">198.45161290322579</cx:pt>
          <cx:pt idx="1363">198.51612903225808</cx:pt>
          <cx:pt idx="1364">198.06451612903226</cx:pt>
          <cx:pt idx="1365">197.54838709677421</cx:pt>
          <cx:pt idx="1366">198.61290322580646</cx:pt>
          <cx:pt idx="1367">199.16129032258064</cx:pt>
          <cx:pt idx="1368">199.29032258064515</cx:pt>
          <cx:pt idx="1369">199.32258064516128</cx:pt>
          <cx:pt idx="1370">198.41935483870967</cx:pt>
          <cx:pt idx="1371">199.32258064516128</cx:pt>
          <cx:pt idx="1372">199.35483870967741</cx:pt>
          <cx:pt idx="1373">199.38709677419354</cx:pt>
          <cx:pt idx="1374">199.83870967741936</cx:pt>
          <cx:pt idx="1375">199.90322580645162</cx:pt>
          <cx:pt idx="1376">200.25806451612902</cx:pt>
          <cx:pt idx="1377">199.48387096774192</cx:pt>
          <cx:pt idx="1378">199.7741935483871</cx:pt>
          <cx:pt idx="1379">199.38709677419354</cx:pt>
          <cx:pt idx="1380">199.83870967741936</cx:pt>
          <cx:pt idx="1381">199.25806451612902</cx:pt>
          <cx:pt idx="1382">198.2258064516129</cx:pt>
          <cx:pt idx="1383">197.2258064516129</cx:pt>
          <cx:pt idx="1384">196.83870967741936</cx:pt>
          <cx:pt idx="1385">196.80645161290323</cx:pt>
          <cx:pt idx="1386">197.70967741935485</cx:pt>
          <cx:pt idx="1387">196.70967741935485</cx:pt>
          <cx:pt idx="1388">196.83870967741936</cx:pt>
          <cx:pt idx="1389">197.51612903225808</cx:pt>
          <cx:pt idx="1390">197.32258064516128</cx:pt>
          <cx:pt idx="1391">198</cx:pt>
          <cx:pt idx="1392">197.93548387096774</cx:pt>
          <cx:pt idx="1393">198.64516129032259</cx:pt>
          <cx:pt idx="1394">198.58064516129033</cx:pt>
          <cx:pt idx="1395">198.09677419354838</cx:pt>
          <cx:pt idx="1396">198.67741935483872</cx:pt>
          <cx:pt idx="1397">198.54838709677421</cx:pt>
          <cx:pt idx="1398">197.96774193548387</cx:pt>
          <cx:pt idx="1399">197.83870967741936</cx:pt>
          <cx:pt idx="1400">198.06451612903226</cx:pt>
          <cx:pt idx="1401">198.80645161290323</cx:pt>
          <cx:pt idx="1402">198.16129032258064</cx:pt>
          <cx:pt idx="1403">197.80645161290323</cx:pt>
          <cx:pt idx="1404">197.80645161290323</cx:pt>
          <cx:pt idx="1405">197.64516129032259</cx:pt>
          <cx:pt idx="1406">196.67741935483872</cx:pt>
          <cx:pt idx="1407">196.48387096774192</cx:pt>
          <cx:pt idx="1408">196.48387096774192</cx:pt>
          <cx:pt idx="1409">196.32258064516128</cx:pt>
          <cx:pt idx="1410">197.38709677419354</cx:pt>
          <cx:pt idx="1411">197.38709677419354</cx:pt>
          <cx:pt idx="1412">198.29032258064515</cx:pt>
          <cx:pt idx="1413">198.90322580645162</cx:pt>
          <cx:pt idx="1414">198.93548387096774</cx:pt>
          <cx:pt idx="1415">199.45161290322579</cx:pt>
          <cx:pt idx="1416">200.2258064516129</cx:pt>
          <cx:pt idx="1417">200.35483870967741</cx:pt>
          <cx:pt idx="1418">201.29032258064515</cx:pt>
          <cx:pt idx="1419">201.38709677419354</cx:pt>
          <cx:pt idx="1420">201.35483870967741</cx:pt>
          <cx:pt idx="1421">200.64516129032259</cx:pt>
          <cx:pt idx="1422">200.25806451612902</cx:pt>
          <cx:pt idx="1423">199.83870967741936</cx:pt>
          <cx:pt idx="1424">200.12903225806451</cx:pt>
          <cx:pt idx="1425">199.93548387096774</cx:pt>
          <cx:pt idx="1426">200.58064516129033</cx:pt>
          <cx:pt idx="1427">199.93548387096774</cx:pt>
          <cx:pt idx="1428">199.19354838709677</cx:pt>
          <cx:pt idx="1429">200</cx:pt>
          <cx:pt idx="1430">199.41935483870967</cx:pt>
          <cx:pt idx="1431">199.83870967741936</cx:pt>
          <cx:pt idx="1432">199.09677419354838</cx:pt>
          <cx:pt idx="1433">198.7741935483871</cx:pt>
          <cx:pt idx="1434">199.70967741935485</cx:pt>
          <cx:pt idx="1435">199.54838709677421</cx:pt>
          <cx:pt idx="1436">198.87096774193549</cx:pt>
          <cx:pt idx="1437">198.90322580645162</cx:pt>
          <cx:pt idx="1438">199.12903225806451</cx:pt>
          <cx:pt idx="1439">200.09677419354838</cx:pt>
          <cx:pt idx="1440">200</cx:pt>
          <cx:pt idx="1441">199.93548387096774</cx:pt>
          <cx:pt idx="1442">200.06451612903226</cx:pt>
          <cx:pt idx="1443">199.74193548387098</cx:pt>
          <cx:pt idx="1444">199</cx:pt>
          <cx:pt idx="1445">199.32258064516128</cx:pt>
          <cx:pt idx="1446">198.54838709677421</cx:pt>
          <cx:pt idx="1447">197.96774193548387</cx:pt>
          <cx:pt idx="1448">198.19354838709677</cx:pt>
          <cx:pt idx="1449">197.70967741935485</cx:pt>
          <cx:pt idx="1450">197.35483870967741</cx:pt>
          <cx:pt idx="1451">196.96774193548387</cx:pt>
          <cx:pt idx="1452">197.87096774193549</cx:pt>
          <cx:pt idx="1453">198.41935483870967</cx:pt>
          <cx:pt idx="1454">199.19354838709677</cx:pt>
          <cx:pt idx="1455">198.64516129032259</cx:pt>
          <cx:pt idx="1456">199.03225806451613</cx:pt>
          <cx:pt idx="1457">199</cx:pt>
          <cx:pt idx="1458">199.58064516129033</cx:pt>
          <cx:pt idx="1459">199.74193548387098</cx:pt>
          <cx:pt idx="1460">199.03225806451613</cx:pt>
          <cx:pt idx="1461">199.09677419354838</cx:pt>
          <cx:pt idx="1462">199.32258064516128</cx:pt>
          <cx:pt idx="1463">200.25806451612902</cx:pt>
          <cx:pt idx="1464">200.67741935483872</cx:pt>
          <cx:pt idx="1465">199.90322580645162</cx:pt>
          <cx:pt idx="1466">200.7741935483871</cx:pt>
          <cx:pt idx="1467">201.41935483870967</cx:pt>
          <cx:pt idx="1468">201.96774193548387</cx:pt>
          <cx:pt idx="1469">201.93548387096774</cx:pt>
          <cx:pt idx="1470">202.12903225806451</cx:pt>
          <cx:pt idx="1471">202.12903225806451</cx:pt>
          <cx:pt idx="1472">201.74193548387098</cx:pt>
          <cx:pt idx="1473">201.2258064516129</cx:pt>
          <cx:pt idx="1474">201.09677419354838</cx:pt>
          <cx:pt idx="1475">202.25806451612902</cx:pt>
          <cx:pt idx="1476">202.93548387096774</cx:pt>
          <cx:pt idx="1477">203.38709677419354</cx:pt>
          <cx:pt idx="1478">203.48387096774192</cx:pt>
          <cx:pt idx="1479">202.41935483870967</cx:pt>
          <cx:pt idx="1480">202.90322580645162</cx:pt>
          <cx:pt idx="1481">202.83870967741936</cx:pt>
          <cx:pt idx="1482">203</cx:pt>
          <cx:pt idx="1483">202.2258064516129</cx:pt>
          <cx:pt idx="1484">201.70967741935485</cx:pt>
          <cx:pt idx="1485">201.96774193548387</cx:pt>
          <cx:pt idx="1486">202.45161290322579</cx:pt>
          <cx:pt idx="1487">202.96774193548387</cx:pt>
          <cx:pt idx="1488">202.16129032258064</cx:pt>
          <cx:pt idx="1489">201.70967741935485</cx:pt>
          <cx:pt idx="1490">201.90322580645162</cx:pt>
          <cx:pt idx="1491">201.54838709677421</cx:pt>
          <cx:pt idx="1492">201.09677419354838</cx:pt>
          <cx:pt idx="1493">201.2258064516129</cx:pt>
          <cx:pt idx="1494">200.93548387096774</cx:pt>
          <cx:pt idx="1495">200.93548387096774</cx:pt>
          <cx:pt idx="1496">201.48387096774192</cx:pt>
          <cx:pt idx="1497">201.58064516129033</cx:pt>
          <cx:pt idx="1498">201.25806451612902</cx:pt>
          <cx:pt idx="1499">200.54838709677421</cx:pt>
          <cx:pt idx="1500">200.12903225806451</cx:pt>
          <cx:pt idx="1501">199.64516129032259</cx:pt>
          <cx:pt idx="1502">199.74193548387098</cx:pt>
          <cx:pt idx="1503">199.58064516129033</cx:pt>
          <cx:pt idx="1504">199.35483870967741</cx:pt>
          <cx:pt idx="1505">199.09677419354838</cx:pt>
          <cx:pt idx="1506">198.38709677419354</cx:pt>
          <cx:pt idx="1507">197.7741935483871</cx:pt>
          <cx:pt idx="1508">197.19354838709677</cx:pt>
          <cx:pt idx="1509">197</cx:pt>
          <cx:pt idx="1510">196.83870967741936</cx:pt>
          <cx:pt idx="1511">196.64516129032259</cx:pt>
          <cx:pt idx="1512">197.38709677419354</cx:pt>
          <cx:pt idx="1513">197.96774193548387</cx:pt>
          <cx:pt idx="1514">198.2258064516129</cx:pt>
          <cx:pt idx="1515">198.38709677419354</cx:pt>
          <cx:pt idx="1516">197.93548387096774</cx:pt>
          <cx:pt idx="1517">197.41935483870967</cx:pt>
          <cx:pt idx="1518">197.32258064516128</cx:pt>
          <cx:pt idx="1519">198.25806451612902</cx:pt>
          <cx:pt idx="1520">198.12903225806451</cx:pt>
          <cx:pt idx="1521">197.64516129032259</cx:pt>
          <cx:pt idx="1522">198.29032258064515</cx:pt>
          <cx:pt idx="1523">198.7741935483871</cx:pt>
          <cx:pt idx="1524">198.38709677419354</cx:pt>
          <cx:pt idx="1525">198.70967741935485</cx:pt>
          <cx:pt idx="1526">198.41935483870967</cx:pt>
          <cx:pt idx="1527">198.45161290322579</cx:pt>
          <cx:pt idx="1528">197.51612903225808</cx:pt>
          <cx:pt idx="1529">197.90322580645162</cx:pt>
          <cx:pt idx="1530">197.93548387096774</cx:pt>
          <cx:pt idx="1531">197.83870967741936</cx:pt>
          <cx:pt idx="1532">197.19354838709677</cx:pt>
          <cx:pt idx="1533">197.67741935483872</cx:pt>
          <cx:pt idx="1534">197.96774193548387</cx:pt>
          <cx:pt idx="1535">197.96774193548387</cx:pt>
          <cx:pt idx="1536">198.03225806451613</cx:pt>
          <cx:pt idx="1537">198.12903225806451</cx:pt>
          <cx:pt idx="1538">198.38709677419354</cx:pt>
          <cx:pt idx="1539">198.96774193548387</cx:pt>
          <cx:pt idx="1540">199.67741935483872</cx:pt>
          <cx:pt idx="1541">200.7741935483871</cx:pt>
          <cx:pt idx="1542">200.74193548387098</cx:pt>
          <cx:pt idx="1543">200.74193548387098</cx:pt>
          <cx:pt idx="1544">200.12903225806451</cx:pt>
          <cx:pt idx="1545">200.7741935483871</cx:pt>
          <cx:pt idx="1546">200.80645161290323</cx:pt>
          <cx:pt idx="1547">200.70967741935485</cx:pt>
          <cx:pt idx="1548">200.58064516129033</cx:pt>
          <cx:pt idx="1549">200.74193548387098</cx:pt>
          <cx:pt idx="1550">200.80645161290323</cx:pt>
          <cx:pt idx="1551">201.25806451612902</cx:pt>
          <cx:pt idx="1552">201.19354838709677</cx:pt>
          <cx:pt idx="1553">201.25806451612902</cx:pt>
          <cx:pt idx="1554">201.54838709677421</cx:pt>
          <cx:pt idx="1555">201.54838709677421</cx:pt>
          <cx:pt idx="1556">200.80645161290323</cx:pt>
          <cx:pt idx="1557">201.19354838709677</cx:pt>
          <cx:pt idx="1558">201.51612903225808</cx:pt>
          <cx:pt idx="1559">202.54838709677421</cx:pt>
          <cx:pt idx="1560">202.70967741935485</cx:pt>
          <cx:pt idx="1561">203.35483870967741</cx:pt>
          <cx:pt idx="1562">203.61290322580646</cx:pt>
          <cx:pt idx="1563">204.41935483870967</cx:pt>
          <cx:pt idx="1564">204.7741935483871</cx:pt>
          <cx:pt idx="1565">203.93548387096774</cx:pt>
          <cx:pt idx="1566">204.41935483870967</cx:pt>
          <cx:pt idx="1567">204.64516129032259</cx:pt>
          <cx:pt idx="1568">205.19354838709677</cx:pt>
          <cx:pt idx="1569">205.45161290322579</cx:pt>
          <cx:pt idx="1570">205.67741935483872</cx:pt>
          <cx:pt idx="1571">205.74193548387098</cx:pt>
          <cx:pt idx="1572">205.58064516129033</cx:pt>
          <cx:pt idx="1573">204.83870967741936</cx:pt>
          <cx:pt idx="1574">204.93548387096774</cx:pt>
          <cx:pt idx="1575">204.51612903225808</cx:pt>
          <cx:pt idx="1576">204.32258064516128</cx:pt>
          <cx:pt idx="1577">203.83870967741936</cx:pt>
          <cx:pt idx="1578">203.38709677419354</cx:pt>
          <cx:pt idx="1579">203.45161290322579</cx:pt>
          <cx:pt idx="1580">203.61290322580646</cx:pt>
          <cx:pt idx="1581">203.45161290322579</cx:pt>
          <cx:pt idx="1582">203.90322580645162</cx:pt>
          <cx:pt idx="1583">204.19354838709677</cx:pt>
          <cx:pt idx="1584">204.48387096774192</cx:pt>
          <cx:pt idx="1585">204.38709677419354</cx:pt>
          <cx:pt idx="1586">204.06451612903226</cx:pt>
          <cx:pt idx="1587">204</cx:pt>
          <cx:pt idx="1588">203.67741935483872</cx:pt>
          <cx:pt idx="1589">202.54838709677421</cx:pt>
          <cx:pt idx="1590">202.25806451612902</cx:pt>
          <cx:pt idx="1591">201.64516129032259</cx:pt>
          <cx:pt idx="1592">201.93548387096774</cx:pt>
          <cx:pt idx="1593">201.61290322580646</cx:pt>
          <cx:pt idx="1594">201.19354838709677</cx:pt>
          <cx:pt idx="1595">201.25806451612902</cx:pt>
          <cx:pt idx="1596">202.19354838709677</cx:pt>
          <cx:pt idx="1597">201.7741935483871</cx:pt>
          <cx:pt idx="1598">201.25806451612902</cx:pt>
          <cx:pt idx="1599">201.03225806451613</cx:pt>
          <cx:pt idx="1600">200.67741935483872</cx:pt>
          <cx:pt idx="1601">200.32258064516128</cx:pt>
          <cx:pt idx="1602">199.38709677419354</cx:pt>
          <cx:pt idx="1603">198.45161290322579</cx:pt>
          <cx:pt idx="1604">199.67741935483872</cx:pt>
          <cx:pt idx="1605">198.83870967741936</cx:pt>
          <cx:pt idx="1606">198.96774193548387</cx:pt>
          <cx:pt idx="1607">198</cx:pt>
          <cx:pt idx="1608">198.45161290322579</cx:pt>
          <cx:pt idx="1609">199.12903225806451</cx:pt>
          <cx:pt idx="1610">198.87096774193549</cx:pt>
          <cx:pt idx="1611">198.48387096774192</cx:pt>
          <cx:pt idx="1612">198.51612903225808</cx:pt>
          <cx:pt idx="1613">197.29032258064515</cx:pt>
          <cx:pt idx="1614">197.74193548387098</cx:pt>
          <cx:pt idx="1615">196.64516129032259</cx:pt>
          <cx:pt idx="1616">196.48387096774192</cx:pt>
          <cx:pt idx="1617">196.32258064516128</cx:pt>
          <cx:pt idx="1618">196.70967741935485</cx:pt>
          <cx:pt idx="1619">196.54838709677421</cx:pt>
          <cx:pt idx="1620">197.29032258064515</cx:pt>
          <cx:pt idx="1621">197</cx:pt>
          <cx:pt idx="1622">197.90322580645162</cx:pt>
          <cx:pt idx="1623">197.87096774193549</cx:pt>
          <cx:pt idx="1624">198.2258064516129</cx:pt>
          <cx:pt idx="1625">197.74193548387098</cx:pt>
          <cx:pt idx="1626">196.96774193548387</cx:pt>
          <cx:pt idx="1627">196.83870967741936</cx:pt>
          <cx:pt idx="1628">196.7741935483871</cx:pt>
          <cx:pt idx="1629">197.38709677419354</cx:pt>
          <cx:pt idx="1630">197.03225806451613</cx:pt>
          <cx:pt idx="1631">197.48387096774192</cx:pt>
          <cx:pt idx="1632">197.19354838709677</cx:pt>
          <cx:pt idx="1633">197.06451612903226</cx:pt>
          <cx:pt idx="1634">197.67741935483872</cx:pt>
          <cx:pt idx="1635">197.64516129032259</cx:pt>
          <cx:pt idx="1636">198.19354838709677</cx:pt>
          <cx:pt idx="1637">199.06451612903226</cx:pt>
          <cx:pt idx="1638">199.25806451612902</cx:pt>
          <cx:pt idx="1639">199.48387096774192</cx:pt>
          <cx:pt idx="1640">198.90322580645162</cx:pt>
          <cx:pt idx="1641">199.12903225806451</cx:pt>
          <cx:pt idx="1642">198.35483870967741</cx:pt>
          <cx:pt idx="1643">197.67741935483872</cx:pt>
          <cx:pt idx="1644">198.87096774193549</cx:pt>
          <cx:pt idx="1645">199.19354838709677</cx:pt>
          <cx:pt idx="1646">199.25806451612902</cx:pt>
          <cx:pt idx="1647">199.67741935483872</cx:pt>
          <cx:pt idx="1648">199.93548387096774</cx:pt>
          <cx:pt idx="1649">199.7741935483871</cx:pt>
          <cx:pt idx="1650">199.58064516129033</cx:pt>
          <cx:pt idx="1651">199.03225806451613</cx:pt>
          <cx:pt idx="1652">199.74193548387098</cx:pt>
          <cx:pt idx="1653">199.12903225806451</cx:pt>
          <cx:pt idx="1654">199.29032258064515</cx:pt>
          <cx:pt idx="1655">198.87096774193549</cx:pt>
          <cx:pt idx="1656">199.16129032258064</cx:pt>
          <cx:pt idx="1657">199.16129032258064</cx:pt>
          <cx:pt idx="1658">199.25806451612902</cx:pt>
          <cx:pt idx="1659">199.7741935483871</cx:pt>
          <cx:pt idx="1660">199.12903225806451</cx:pt>
          <cx:pt idx="1661">199.7741935483871</cx:pt>
          <cx:pt idx="1662">198.70967741935485</cx:pt>
          <cx:pt idx="1663">198.83870967741936</cx:pt>
          <cx:pt idx="1664">200</cx:pt>
          <cx:pt idx="1665">199.96774193548387</cx:pt>
          <cx:pt idx="1666">199.35483870967741</cx:pt>
          <cx:pt idx="1667">199.90322580645162</cx:pt>
          <cx:pt idx="1668">198.67741935483872</cx:pt>
          <cx:pt idx="1669">199.2258064516129</cx:pt>
          <cx:pt idx="1670">198.16129032258064</cx:pt>
          <cx:pt idx="1671">198.7741935483871</cx:pt>
          <cx:pt idx="1672">198.70967741935485</cx:pt>
          <cx:pt idx="1673">199.25806451612902</cx:pt>
          <cx:pt idx="1674">199</cx:pt>
          <cx:pt idx="1675">198.35483870967741</cx:pt>
          <cx:pt idx="1676">198.09677419354838</cx:pt>
          <cx:pt idx="1677">198.48387096774192</cx:pt>
          <cx:pt idx="1678">197.83870967741936</cx:pt>
          <cx:pt idx="1679">197.87096774193549</cx:pt>
          <cx:pt idx="1680">197.54838709677421</cx:pt>
          <cx:pt idx="1681">198.54838709677421</cx:pt>
          <cx:pt idx="1682">199.09677419354838</cx:pt>
          <cx:pt idx="1683">198.38709677419354</cx:pt>
          <cx:pt idx="1684">197.87096774193549</cx:pt>
          <cx:pt idx="1685">197.80645161290323</cx:pt>
          <cx:pt idx="1686">198.48387096774192</cx:pt>
          <cx:pt idx="1687">198.90322580645162</cx:pt>
          <cx:pt idx="1688">198.67741935483872</cx:pt>
          <cx:pt idx="1689">197.80645161290323</cx:pt>
          <cx:pt idx="1690">198.29032258064515</cx:pt>
          <cx:pt idx="1691">199.32258064516128</cx:pt>
          <cx:pt idx="1692">198.67741935483872</cx:pt>
          <cx:pt idx="1693">199.7741935483871</cx:pt>
          <cx:pt idx="1694">199.41935483870967</cx:pt>
          <cx:pt idx="1695">198.83870967741936</cx:pt>
          <cx:pt idx="1696">199.16129032258064</cx:pt>
          <cx:pt idx="1697">198.51612903225808</cx:pt>
          <cx:pt idx="1698">198.48387096774192</cx:pt>
          <cx:pt idx="1699">200.03225806451613</cx:pt>
          <cx:pt idx="1700">200.83870967741936</cx:pt>
          <cx:pt idx="1701">202.16129032258064</cx:pt>
          <cx:pt idx="1702">203.03225806451613</cx:pt>
          <cx:pt idx="1703">204.03225806451613</cx:pt>
          <cx:pt idx="1704">205.2258064516129</cx:pt>
          <cx:pt idx="1705">207.12903225806451</cx:pt>
          <cx:pt idx="1706">207.93548387096774</cx:pt>
          <cx:pt idx="1707">208.7741935483871</cx:pt>
          <cx:pt idx="1708">209.70967741935485</cx:pt>
          <cx:pt idx="1709">211.03225806451613</cx:pt>
          <cx:pt idx="1710">212.16129032258064</cx:pt>
          <cx:pt idx="1711">213.64516129032259</cx:pt>
          <cx:pt idx="1712">213.96774193548387</cx:pt>
          <cx:pt idx="1713">214.96774193548387</cx:pt>
          <cx:pt idx="1714">215.74193548387098</cx:pt>
          <cx:pt idx="1715">217.45161290322579</cx:pt>
          <cx:pt idx="1716">217.7741935483871</cx:pt>
          <cx:pt idx="1717">218.32258064516128</cx:pt>
          <cx:pt idx="1718">219.51612903225808</cx:pt>
          <cx:pt idx="1719">221.16129032258064</cx:pt>
          <cx:pt idx="1720">222.51612903225808</cx:pt>
          <cx:pt idx="1721">222.74193548387098</cx:pt>
          <cx:pt idx="1722">223.54838709677421</cx:pt>
          <cx:pt idx="1723">224.51612903225808</cx:pt>
          <cx:pt idx="1724">224.61290322580646</cx:pt>
          <cx:pt idx="1725">225.7741935483871</cx:pt>
          <cx:pt idx="1726">226.80645161290323</cx:pt>
          <cx:pt idx="1727">227.16129032258064</cx:pt>
          <cx:pt idx="1728">228.67741935483872</cx:pt>
          <cx:pt idx="1729">228.83870967741936</cx:pt>
          <cx:pt idx="1730">228.61290322580646</cx:pt>
          <cx:pt idx="1731">228.54838709677421</cx:pt>
          <cx:pt idx="1732">228.96774193548387</cx:pt>
          <cx:pt idx="1733">228.83870967741936</cx:pt>
          <cx:pt idx="1734">229.19354838709677</cx:pt>
          <cx:pt idx="1735">228.93548387096774</cx:pt>
          <cx:pt idx="1736">228.48387096774192</cx:pt>
          <cx:pt idx="1737">228.58064516129033</cx:pt>
          <cx:pt idx="1738">228.09677419354838</cx:pt>
          <cx:pt idx="1739">228.2258064516129</cx:pt>
          <cx:pt idx="1740">228.03225806451613</cx:pt>
          <cx:pt idx="1741">227.90322580645162</cx:pt>
          <cx:pt idx="1742">227.90322580645162</cx:pt>
          <cx:pt idx="1743">226.58064516129033</cx:pt>
          <cx:pt idx="1744">224.93548387096774</cx:pt>
          <cx:pt idx="1745">224.64516129032259</cx:pt>
          <cx:pt idx="1746">222.87096774193549</cx:pt>
          <cx:pt idx="1747">222.32258064516128</cx:pt>
          <cx:pt idx="1748">221</cx:pt>
          <cx:pt idx="1749">220.35483870967741</cx:pt>
          <cx:pt idx="1750">219.06451612903226</cx:pt>
          <cx:pt idx="1751">218.29032258064515</cx:pt>
          <cx:pt idx="1752">217.48387096774192</cx:pt>
          <cx:pt idx="1753">215.67741935483872</cx:pt>
          <cx:pt idx="1754">214.64516129032259</cx:pt>
          <cx:pt idx="1755">213.83870967741936</cx:pt>
          <cx:pt idx="1756">212.58064516129033</cx:pt>
          <cx:pt idx="1757">212.03225806451613</cx:pt>
          <cx:pt idx="1758">211.03225806451613</cx:pt>
          <cx:pt idx="1759">210.35483870967741</cx:pt>
          <cx:pt idx="1760">209.7741935483871</cx:pt>
          <cx:pt idx="1761">208.54838709677421</cx:pt>
          <cx:pt idx="1762">208</cx:pt>
          <cx:pt idx="1763">207.16129032258064</cx:pt>
          <cx:pt idx="1764">206.09677419354838</cx:pt>
          <cx:pt idx="1765">205.58064516129033</cx:pt>
          <cx:pt idx="1766">204.80645161290323</cx:pt>
          <cx:pt idx="1767">204.38709677419354</cx:pt>
          <cx:pt idx="1768">202.96774193548387</cx:pt>
          <cx:pt idx="1769">202.38709677419354</cx:pt>
          <cx:pt idx="1770">201.19354838709677</cx:pt>
          <cx:pt idx="1771">199.7741935483871</cx:pt>
          <cx:pt idx="1772">198.45161290322579</cx:pt>
          <cx:pt idx="1773">197.61290322580646</cx:pt>
          <cx:pt idx="1774">198.32258064516128</cx:pt>
          <cx:pt idx="1775">198.61290322580646</cx:pt>
          <cx:pt idx="1776">198.87096774193549</cx:pt>
          <cx:pt idx="1777">199.96774193548387</cx:pt>
          <cx:pt idx="1778">200.03225806451613</cx:pt>
          <cx:pt idx="1779">199.96774193548387</cx:pt>
          <cx:pt idx="1780">199.61290322580646</cx:pt>
          <cx:pt idx="1781">199.58064516129033</cx:pt>
          <cx:pt idx="1782">199.83870967741936</cx:pt>
          <cx:pt idx="1783">200.32258064516128</cx:pt>
          <cx:pt idx="1784">200.2258064516129</cx:pt>
          <cx:pt idx="1785">200.64516129032259</cx:pt>
          <cx:pt idx="1786">201.35483870967741</cx:pt>
          <cx:pt idx="1787">201.80645161290323</cx:pt>
          <cx:pt idx="1788">200.80645161290323</cx:pt>
          <cx:pt idx="1789">201.58064516129033</cx:pt>
          <cx:pt idx="1790">200.74193548387098</cx:pt>
          <cx:pt idx="1791">200.03225806451613</cx:pt>
          <cx:pt idx="1792">200.83870967741936</cx:pt>
          <cx:pt idx="1793">200.29032258064515</cx:pt>
          <cx:pt idx="1794">200</cx:pt>
          <cx:pt idx="1795">199.58064516129033</cx:pt>
          <cx:pt idx="1796">199.67741935483872</cx:pt>
          <cx:pt idx="1797">199.74193548387098</cx:pt>
          <cx:pt idx="1798">199.67741935483872</cx:pt>
          <cx:pt idx="1799">199.7741935483871</cx:pt>
          <cx:pt idx="1800">199.83870967741936</cx:pt>
          <cx:pt idx="1801">200.32258064516128</cx:pt>
          <cx:pt idx="1802">200.54838709677421</cx:pt>
          <cx:pt idx="1803">200.41935483870967</cx:pt>
          <cx:pt idx="1804">200.09677419354838</cx:pt>
          <cx:pt idx="1805">199.93548387096774</cx:pt>
          <cx:pt idx="1806">200.09677419354838</cx:pt>
          <cx:pt idx="1807">199.25806451612902</cx:pt>
          <cx:pt idx="1808">198.25806451612902</cx:pt>
          <cx:pt idx="1809">197.80645161290323</cx:pt>
          <cx:pt idx="1810">197.83870967741936</cx:pt>
          <cx:pt idx="1811">196.93548387096774</cx:pt>
          <cx:pt idx="1812">197.09677419354838</cx:pt>
          <cx:pt idx="1813">197.2258064516129</cx:pt>
          <cx:pt idx="1814">197.35483870967741</cx:pt>
          <cx:pt idx="1815">198.51612903225808</cx:pt>
          <cx:pt idx="1816">198.32258064516128</cx:pt>
          <cx:pt idx="1817">198</cx:pt>
          <cx:pt idx="1818">197.58064516129033</cx:pt>
          <cx:pt idx="1819">198.32258064516128</cx:pt>
          <cx:pt idx="1820">197.38709677419354</cx:pt>
          <cx:pt idx="1821">198.35483870967741</cx:pt>
          <cx:pt idx="1822">199.51612903225808</cx:pt>
          <cx:pt idx="1823">198.87096774193549</cx:pt>
          <cx:pt idx="1824">199.51612903225808</cx:pt>
          <cx:pt idx="1825">199</cx:pt>
          <cx:pt idx="1826">199.74193548387098</cx:pt>
          <cx:pt idx="1827">199.2258064516129</cx:pt>
          <cx:pt idx="1828">198.48387096774192</cx:pt>
          <cx:pt idx="1829">197.74193548387098</cx:pt>
          <cx:pt idx="1830">198.51612903225808</cx:pt>
          <cx:pt idx="1831">198</cx:pt>
          <cx:pt idx="1832">197.48387096774192</cx:pt>
          <cx:pt idx="1833">197.32258064516128</cx:pt>
          <cx:pt idx="1834">197.38709677419354</cx:pt>
          <cx:pt idx="1835">197.80645161290323</cx:pt>
          <cx:pt idx="1836">197.51612903225808</cx:pt>
          <cx:pt idx="1837">197.80645161290323</cx:pt>
          <cx:pt idx="1838">198.48387096774192</cx:pt>
          <cx:pt idx="1839">199.38709677419354</cx:pt>
          <cx:pt idx="1840">199</cx:pt>
          <cx:pt idx="1841">199.80645161290323</cx:pt>
          <cx:pt idx="1842">200.74193548387098</cx:pt>
          <cx:pt idx="1843">200.83870967741936</cx:pt>
          <cx:pt idx="1844">200.67741935483872</cx:pt>
          <cx:pt idx="1845">199.51612903225808</cx:pt>
          <cx:pt idx="1846">199.32258064516128</cx:pt>
          <cx:pt idx="1847">199.74193548387098</cx:pt>
          <cx:pt idx="1848">199.29032258064515</cx:pt>
          <cx:pt idx="1849">200.38709677419354</cx:pt>
          <cx:pt idx="1850">200.74193548387098</cx:pt>
          <cx:pt idx="1851">201.87096774193549</cx:pt>
          <cx:pt idx="1852">201.74193548387098</cx:pt>
          <cx:pt idx="1853">200.87096774193549</cx:pt>
          <cx:pt idx="1854">201.7741935483871</cx:pt>
          <cx:pt idx="1855">201.54838709677421</cx:pt>
          <cx:pt idx="1856">201.61290322580646</cx:pt>
          <cx:pt idx="1857">201.90322580645162</cx:pt>
          <cx:pt idx="1858">201.32258064516128</cx:pt>
          <cx:pt idx="1859">202.48387096774192</cx:pt>
          <cx:pt idx="1860">202.80645161290323</cx:pt>
          <cx:pt idx="1861">201.83870967741936</cx:pt>
          <cx:pt idx="1862">202.06451612903226</cx:pt>
          <cx:pt idx="1863">202.61290322580646</cx:pt>
          <cx:pt idx="1864">202.48387096774192</cx:pt>
          <cx:pt idx="1865">203.19354838709677</cx:pt>
          <cx:pt idx="1866">203.25806451612902</cx:pt>
          <cx:pt idx="1867">203.35483870967741</cx:pt>
          <cx:pt idx="1868">202.90322580645162</cx:pt>
          <cx:pt idx="1869">202.87096774193549</cx:pt>
          <cx:pt idx="1870">202.87096774193549</cx:pt>
          <cx:pt idx="1871">203.54838709677421</cx:pt>
          <cx:pt idx="1872">202.83870967741936</cx:pt>
          <cx:pt idx="1873">202.35483870967741</cx:pt>
          <cx:pt idx="1874">201.90322580645162</cx:pt>
          <cx:pt idx="1875">201.35483870967741</cx:pt>
          <cx:pt idx="1876">201.74193548387098</cx:pt>
          <cx:pt idx="1877">201.29032258064515</cx:pt>
          <cx:pt idx="1878">200.58064516129033</cx:pt>
          <cx:pt idx="1879">200.93548387096774</cx:pt>
          <cx:pt idx="1880">199.7741935483871</cx:pt>
          <cx:pt idx="1881">199.48387096774192</cx:pt>
          <cx:pt idx="1882">199.2258064516129</cx:pt>
          <cx:pt idx="1883">199.54838709677421</cx:pt>
          <cx:pt idx="1884">199.19354838709677</cx:pt>
          <cx:pt idx="1885">199.2258064516129</cx:pt>
          <cx:pt idx="1886">199.09677419354838</cx:pt>
          <cx:pt idx="1887">200.58064516129033</cx:pt>
          <cx:pt idx="1888">200.93548387096774</cx:pt>
          <cx:pt idx="1889">202.29032258064515</cx:pt>
          <cx:pt idx="1890">202.90322580645162</cx:pt>
          <cx:pt idx="1891">203.67741935483872</cx:pt>
          <cx:pt idx="1892">205.61290322580646</cx:pt>
          <cx:pt idx="1893">206.58064516129033</cx:pt>
          <cx:pt idx="1894">207.25806451612902</cx:pt>
          <cx:pt idx="1895">208.7741935483871</cx:pt>
          <cx:pt idx="1896">209.51612903225808</cx:pt>
          <cx:pt idx="1897">210.19354838709677</cx:pt>
          <cx:pt idx="1898">211.51612903225808</cx:pt>
          <cx:pt idx="1899">212.48387096774192</cx:pt>
          <cx:pt idx="1900">213.12903225806451</cx:pt>
          <cx:pt idx="1901">213.7741935483871</cx:pt>
          <cx:pt idx="1902">214.70967741935485</cx:pt>
          <cx:pt idx="1903">216.41935483870967</cx:pt>
          <cx:pt idx="1904">217.90322580645162</cx:pt>
          <cx:pt idx="1905">219.29032258064515</cx:pt>
          <cx:pt idx="1906">220.54838709677421</cx:pt>
          <cx:pt idx="1907">221.45161290322579</cx:pt>
          <cx:pt idx="1908">222.45161290322579</cx:pt>
          <cx:pt idx="1909">223.41935483870967</cx:pt>
          <cx:pt idx="1910">224.29032258064515</cx:pt>
          <cx:pt idx="1911">225.87096774193549</cx:pt>
          <cx:pt idx="1912">226.29032258064515</cx:pt>
          <cx:pt idx="1913">227.03225806451613</cx:pt>
          <cx:pt idx="1914">227.70967741935485</cx:pt>
          <cx:pt idx="1915">229.58064516129033</cx:pt>
          <cx:pt idx="1916">230.09677419354838</cx:pt>
          <cx:pt idx="1917">230.67741935483872</cx:pt>
          <cx:pt idx="1918">230.83870967741936</cx:pt>
          <cx:pt idx="1919">231.2258064516129</cx:pt>
          <cx:pt idx="1920">231.38709677419354</cx:pt>
          <cx:pt idx="1921">231.03225806451613</cx:pt>
          <cx:pt idx="1922">231.29032258064515</cx:pt>
          <cx:pt idx="1923">231</cx:pt>
          <cx:pt idx="1924">231.35483870967741</cx:pt>
          <cx:pt idx="1925">231.74193548387098</cx:pt>
          <cx:pt idx="1926">231.87096774193549</cx:pt>
          <cx:pt idx="1927">231.83870967741936</cx:pt>
          <cx:pt idx="1928">231.58064516129033</cx:pt>
          <cx:pt idx="1929">231.64516129032259</cx:pt>
          <cx:pt idx="1930">232.09677419354838</cx:pt>
          <cx:pt idx="1931">231.64516129032259</cx:pt>
          <cx:pt idx="1932">230.19354838709677</cx:pt>
          <cx:pt idx="1933">229.67741935483872</cx:pt>
          <cx:pt idx="1934">228.03225806451613</cx:pt>
          <cx:pt idx="1935">226.32258064516128</cx:pt>
          <cx:pt idx="1936">225.74193548387098</cx:pt>
          <cx:pt idx="1937">224.35483870967741</cx:pt>
          <cx:pt idx="1938">223.45161290322579</cx:pt>
          <cx:pt idx="1939">222.29032258064515</cx:pt>
          <cx:pt idx="1940">221.41935483870967</cx:pt>
          <cx:pt idx="1941">219.87096774193549</cx:pt>
          <cx:pt idx="1942">218.90322580645162</cx:pt>
          <cx:pt idx="1943">218.12903225806451</cx:pt>
          <cx:pt idx="1944">216.93548387096774</cx:pt>
          <cx:pt idx="1945">215.61290322580646</cx:pt>
          <cx:pt idx="1946">214.54838709677421</cx:pt>
          <cx:pt idx="1947">213</cx:pt>
          <cx:pt idx="1948">211.93548387096774</cx:pt>
          <cx:pt idx="1949">210.93548387096774</cx:pt>
          <cx:pt idx="1950">209.80645161290323</cx:pt>
          <cx:pt idx="1951">208.90322580645162</cx:pt>
          <cx:pt idx="1952">208.64516129032259</cx:pt>
          <cx:pt idx="1953">207.16129032258064</cx:pt>
          <cx:pt idx="1954">205.80645161290323</cx:pt>
          <cx:pt idx="1955">205.19354838709677</cx:pt>
          <cx:pt idx="1956">203.32258064516128</cx:pt>
          <cx:pt idx="1957">202.03225806451613</cx:pt>
          <cx:pt idx="1958">200.7741935483871</cx:pt>
          <cx:pt idx="1959">199.54838709677421</cx:pt>
          <cx:pt idx="1960">197.74193548387098</cx:pt>
          <cx:pt idx="1961">196.29032258064515</cx:pt>
          <cx:pt idx="1962">196.09677419354838</cx:pt>
          <cx:pt idx="1963">196</cx:pt>
          <cx:pt idx="1964">196</cx:pt>
          <cx:pt idx="1965">196.96774193548387</cx:pt>
          <cx:pt idx="1966">197.2258064516129</cx:pt>
          <cx:pt idx="1967">197.32258064516128</cx:pt>
          <cx:pt idx="1968">197.64516129032259</cx:pt>
          <cx:pt idx="1969">198</cx:pt>
          <cx:pt idx="1970">198.74193548387098</cx:pt>
          <cx:pt idx="1971">198.90322580645162</cx:pt>
          <cx:pt idx="1972">200</cx:pt>
          <cx:pt idx="1973">200.41935483870967</cx:pt>
          <cx:pt idx="1974">201.09677419354838</cx:pt>
          <cx:pt idx="1975">201.32258064516128</cx:pt>
          <cx:pt idx="1976">201.61290322580646</cx:pt>
          <cx:pt idx="1977">200.83870967741936</cx:pt>
          <cx:pt idx="1978">201.03225806451613</cx:pt>
          <cx:pt idx="1979">201.09677419354838</cx:pt>
          <cx:pt idx="1980">200.29032258064515</cx:pt>
          <cx:pt idx="1981">200.38709677419354</cx:pt>
          <cx:pt idx="1982">199.7741935483871</cx:pt>
          <cx:pt idx="1983">199.19354838709677</cx:pt>
          <cx:pt idx="1984">200.2258064516129</cx:pt>
          <cx:pt idx="1985">200.06451612903226</cx:pt>
          <cx:pt idx="1986">199.74193548387098</cx:pt>
          <cx:pt idx="1987">200.70967741935485</cx:pt>
          <cx:pt idx="1988">200.70967741935485</cx:pt>
          <cx:pt idx="1989">201.29032258064515</cx:pt>
          <cx:pt idx="1990">201.80645161290323</cx:pt>
          <cx:pt idx="1991">202.74193548387098</cx:pt>
          <cx:pt idx="1992">203.2258064516129</cx:pt>
          <cx:pt idx="1993">202.2258064516129</cx:pt>
          <cx:pt idx="1994">202.35483870967741</cx:pt>
          <cx:pt idx="1995">201.87096774193549</cx:pt>
          <cx:pt idx="1996">201.93548387096774</cx:pt>
          <cx:pt idx="1997">202.58064516129033</cx:pt>
          <cx:pt idx="1998">202.7741935483871</cx:pt>
          <cx:pt idx="1999">202.45161290322579</cx:pt>
          <cx:pt idx="2000">202.45161290322579</cx:pt>
          <cx:pt idx="2001">202.19354838709677</cx:pt>
          <cx:pt idx="2002">202.83870967741936</cx:pt>
          <cx:pt idx="2003">202.25806451612902</cx:pt>
          <cx:pt idx="2004">202.32258064516128</cx:pt>
          <cx:pt idx="2005">201.90322580645162</cx:pt>
          <cx:pt idx="2006">201.7741935483871</cx:pt>
          <cx:pt idx="2007">201.67741935483872</cx:pt>
          <cx:pt idx="2008">202.03225806451613</cx:pt>
          <cx:pt idx="2009">201.93548387096774</cx:pt>
          <cx:pt idx="2010">201.93548387096774</cx:pt>
          <cx:pt idx="2011">202.70967741935485</cx:pt>
          <cx:pt idx="2012">202.80645161290323</cx:pt>
          <cx:pt idx="2013">203</cx:pt>
          <cx:pt idx="2014">203.2258064516129</cx:pt>
          <cx:pt idx="2015">202.32258064516128</cx:pt>
          <cx:pt idx="2016">203.16129032258064</cx:pt>
          <cx:pt idx="2017">202.80645161290323</cx:pt>
          <cx:pt idx="2018">202.35483870967741</cx:pt>
          <cx:pt idx="2019">202.06451612903226</cx:pt>
          <cx:pt idx="2020">201.61290322580646</cx:pt>
          <cx:pt idx="2021">201.29032258064515</cx:pt>
          <cx:pt idx="2022">201.54838709677421</cx:pt>
          <cx:pt idx="2023">201.83870967741936</cx:pt>
          <cx:pt idx="2024">203.03225806451613</cx:pt>
          <cx:pt idx="2025">204.03225806451613</cx:pt>
          <cx:pt idx="2026">203.2258064516129</cx:pt>
          <cx:pt idx="2027">202.7741935483871</cx:pt>
          <cx:pt idx="2028">202.09677419354838</cx:pt>
          <cx:pt idx="2029">201.19354838709677</cx:pt>
          <cx:pt idx="2030">201.45161290322579</cx:pt>
          <cx:pt idx="2031">201.61290322580646</cx:pt>
          <cx:pt idx="2032">201.74193548387098</cx:pt>
          <cx:pt idx="2033">201.70967741935485</cx:pt>
          <cx:pt idx="2034">201.58064516129033</cx:pt>
          <cx:pt idx="2035">200.93548387096774</cx:pt>
          <cx:pt idx="2036">200.09677419354838</cx:pt>
          <cx:pt idx="2037">200.70967741935485</cx:pt>
          <cx:pt idx="2038">201.06451612903226</cx:pt>
          <cx:pt idx="2039">201</cx:pt>
          <cx:pt idx="2040">201.61290322580646</cx:pt>
          <cx:pt idx="2041">201.67741935483872</cx:pt>
          <cx:pt idx="2042">201.74193548387098</cx:pt>
          <cx:pt idx="2043">201.25806451612902</cx:pt>
          <cx:pt idx="2044">201.38709677419354</cx:pt>
          <cx:pt idx="2045">201.83870967741936</cx:pt>
          <cx:pt idx="2046">202.16129032258064</cx:pt>
          <cx:pt idx="2047">201.61290322580646</cx:pt>
          <cx:pt idx="2048">201.90322580645162</cx:pt>
          <cx:pt idx="2049">202.35483870967741</cx:pt>
          <cx:pt idx="2050">202.45161290322579</cx:pt>
          <cx:pt idx="2051">202.51612903225808</cx:pt>
          <cx:pt idx="2052">202.58064516129033</cx:pt>
          <cx:pt idx="2053">201.51612903225808</cx:pt>
          <cx:pt idx="2054">200.48387096774192</cx:pt>
          <cx:pt idx="2055">200.03225806451613</cx:pt>
          <cx:pt idx="2056">199.03225806451613</cx:pt>
          <cx:pt idx="2057">199.09677419354838</cx:pt>
          <cx:pt idx="2058">198.90322580645162</cx:pt>
          <cx:pt idx="2059">199.64516129032259</cx:pt>
          <cx:pt idx="2060">199.90322580645162</cx:pt>
          <cx:pt idx="2061">199.7741935483871</cx:pt>
          <cx:pt idx="2062">198.87096774193549</cx:pt>
          <cx:pt idx="2063">198.32258064516128</cx:pt>
          <cx:pt idx="2064">197.90322580645162</cx:pt>
          <cx:pt idx="2065">197.64516129032259</cx:pt>
          <cx:pt idx="2066">198</cx:pt>
          <cx:pt idx="2067">198.32258064516128</cx:pt>
          <cx:pt idx="2068">197.54838709677421</cx:pt>
          <cx:pt idx="2069">197.03225806451613</cx:pt>
          <cx:pt idx="2070">196.96774193548387</cx:pt>
          <cx:pt idx="2071">196.12903225806451</cx:pt>
          <cx:pt idx="2072">196.06451612903226</cx:pt>
          <cx:pt idx="2073">195.64516129032259</cx:pt>
          <cx:pt idx="2074">196.38709677419354</cx:pt>
          <cx:pt idx="2075">196.70967741935485</cx:pt>
          <cx:pt idx="2076">195.7741935483871</cx:pt>
          <cx:pt idx="2077">195.25806451612902</cx:pt>
          <cx:pt idx="2078">195.58064516129033</cx:pt>
          <cx:pt idx="2079">195.90322580645162</cx:pt>
          <cx:pt idx="2080">194.87096774193549</cx:pt>
          <cx:pt idx="2081">195.29032258064515</cx:pt>
          <cx:pt idx="2082">195.2258064516129</cx:pt>
          <cx:pt idx="2083">195.70967741935485</cx:pt>
          <cx:pt idx="2084">196.74193548387098</cx:pt>
          <cx:pt idx="2085">196.74193548387098</cx:pt>
          <cx:pt idx="2086">196.96774193548387</cx:pt>
          <cx:pt idx="2087">197.80645161290323</cx:pt>
          <cx:pt idx="2088">198.16129032258064</cx:pt>
          <cx:pt idx="2089">198.16129032258064</cx:pt>
          <cx:pt idx="2090">198.09677419354838</cx:pt>
          <cx:pt idx="2091">198.48387096774192</cx:pt>
          <cx:pt idx="2092">198.64516129032259</cx:pt>
          <cx:pt idx="2093">199.90322580645162</cx:pt>
          <cx:pt idx="2094">200.12903225806451</cx:pt>
          <cx:pt idx="2095">199.48387096774192</cx:pt>
          <cx:pt idx="2096">199.74193548387098</cx:pt>
          <cx:pt idx="2097">198.90322580645162</cx:pt>
          <cx:pt idx="2098">199.74193548387098</cx:pt>
          <cx:pt idx="2099">199.64516129032259</cx:pt>
          <cx:pt idx="2100">199.41935483870967</cx:pt>
          <cx:pt idx="2101">199.51612903225808</cx:pt>
          <cx:pt idx="2102">199.45161290322579</cx:pt>
          <cx:pt idx="2103">199.64516129032259</cx:pt>
          <cx:pt idx="2104">199.96774193548387</cx:pt>
          <cx:pt idx="2105">199.80645161290323</cx:pt>
          <cx:pt idx="2106">200.06451612903226</cx:pt>
          <cx:pt idx="2107">199.96774193548387</cx:pt>
          <cx:pt idx="2108">200.51612903225808</cx:pt>
          <cx:pt idx="2109">200.7741935483871</cx:pt>
          <cx:pt idx="2110">200.7741935483871</cx:pt>
          <cx:pt idx="2111">201.51612903225808</cx:pt>
          <cx:pt idx="2112">201.58064516129033</cx:pt>
          <cx:pt idx="2113">201.61290322580646</cx:pt>
          <cx:pt idx="2114">201.51612903225808</cx:pt>
          <cx:pt idx="2115">201.41935483870967</cx:pt>
          <cx:pt idx="2116">202.06451612903226</cx:pt>
          <cx:pt idx="2117">201.80645161290323</cx:pt>
          <cx:pt idx="2118">201.70967741935485</cx:pt>
          <cx:pt idx="2119">201.93548387096774</cx:pt>
          <cx:pt idx="2120">201.41935483870967</cx:pt>
          <cx:pt idx="2121">200.83870967741936</cx:pt>
          <cx:pt idx="2122">199.96774193548387</cx:pt>
          <cx:pt idx="2123">200.64516129032259</cx:pt>
          <cx:pt idx="2124">200.61290322580646</cx:pt>
          <cx:pt idx="2125">200.93548387096774</cx:pt>
          <cx:pt idx="2126">201</cx:pt>
          <cx:pt idx="2127">201.06451612903226</cx:pt>
          <cx:pt idx="2128">201.29032258064515</cx:pt>
          <cx:pt idx="2129">201.38709677419354</cx:pt>
          <cx:pt idx="2130">202.06451612903226</cx:pt>
          <cx:pt idx="2131">202.61290322580646</cx:pt>
          <cx:pt idx="2132">202.51612903225808</cx:pt>
          <cx:pt idx="2133">203.70967741935485</cx:pt>
          <cx:pt idx="2134">203.90322580645162</cx:pt>
          <cx:pt idx="2135">203.2258064516129</cx:pt>
          <cx:pt idx="2136">202.2258064516129</cx:pt>
          <cx:pt idx="2137">202.25806451612902</cx:pt>
          <cx:pt idx="2138">203.12903225806451</cx:pt>
          <cx:pt idx="2139">202.54838709677421</cx:pt>
          <cx:pt idx="2140">202.41935483870967</cx:pt>
          <cx:pt idx="2141">201.38709677419354</cx:pt>
          <cx:pt idx="2142">200.64516129032259</cx:pt>
          <cx:pt idx="2143">201.19354838709677</cx:pt>
          <cx:pt idx="2144">200.7741935483871</cx:pt>
          <cx:pt idx="2145">200.12903225806451</cx:pt>
          <cx:pt idx="2146">199.51612903225808</cx:pt>
          <cx:pt idx="2147">199.35483870967741</cx:pt>
          <cx:pt idx="2148">199.7741935483871</cx:pt>
          <cx:pt idx="2149">199.54838709677421</cx:pt>
          <cx:pt idx="2150">199.25806451612902</cx:pt>
          <cx:pt idx="2151">199.48387096774192</cx:pt>
          <cx:pt idx="2152">199.41935483870967</cx:pt>
          <cx:pt idx="2153">200.41935483870967</cx:pt>
          <cx:pt idx="2154">200.48387096774192</cx:pt>
          <cx:pt idx="2155">200.29032258064515</cx:pt>
          <cx:pt idx="2156">200.35483870967741</cx:pt>
          <cx:pt idx="2157">200.32258064516128</cx:pt>
          <cx:pt idx="2158">199.80645161290323</cx:pt>
          <cx:pt idx="2159">200</cx:pt>
          <cx:pt idx="2160">199.45161290322579</cx:pt>
          <cx:pt idx="2161">199.45161290322579</cx:pt>
          <cx:pt idx="2162">199.35483870967741</cx:pt>
          <cx:pt idx="2163">199.67741935483872</cx:pt>
          <cx:pt idx="2164">198.67741935483872</cx:pt>
          <cx:pt idx="2165">199</cx:pt>
          <cx:pt idx="2166">199.48387096774192</cx:pt>
          <cx:pt idx="2167">199.67741935483872</cx:pt>
          <cx:pt idx="2168">198.93548387096774</cx:pt>
          <cx:pt idx="2169">198.16129032258064</cx:pt>
          <cx:pt idx="2170">199</cx:pt>
          <cx:pt idx="2171">198.93548387096774</cx:pt>
          <cx:pt idx="2172">198.93548387096774</cx:pt>
          <cx:pt idx="2173">199.09677419354838</cx:pt>
          <cx:pt idx="2174">198.64516129032259</cx:pt>
          <cx:pt idx="2175">198.93548387096774</cx:pt>
          <cx:pt idx="2176">198.80645161290323</cx:pt>
          <cx:pt idx="2177">199.51612903225808</cx:pt>
          <cx:pt idx="2178">199.38709677419354</cx:pt>
          <cx:pt idx="2179">198.45161290322579</cx:pt>
          <cx:pt idx="2180">197.74193548387098</cx:pt>
          <cx:pt idx="2181">197.64516129032259</cx:pt>
          <cx:pt idx="2182">197.67741935483872</cx:pt>
          <cx:pt idx="2183">197.48387096774192</cx:pt>
          <cx:pt idx="2184">197.41935483870967</cx:pt>
          <cx:pt idx="2185">197.09677419354838</cx:pt>
          <cx:pt idx="2186">196.70967741935485</cx:pt>
          <cx:pt idx="2187">195.93548387096774</cx:pt>
          <cx:pt idx="2188">196</cx:pt>
          <cx:pt idx="2189">196.80645161290323</cx:pt>
          <cx:pt idx="2190">197.41935483870967</cx:pt>
          <cx:pt idx="2191">197.19354838709677</cx:pt>
          <cx:pt idx="2192">196.61290322580646</cx:pt>
          <cx:pt idx="2193">197.12903225806451</cx:pt>
          <cx:pt idx="2194">196.54838709677421</cx:pt>
          <cx:pt idx="2195">196.61290322580646</cx:pt>
          <cx:pt idx="2196">196.06451612903226</cx:pt>
          <cx:pt idx="2197">196.41935483870967</cx:pt>
          <cx:pt idx="2198">196.64516129032259</cx:pt>
          <cx:pt idx="2199">196.38709677419354</cx:pt>
          <cx:pt idx="2200">196.90322580645162</cx:pt>
          <cx:pt idx="2201">196.64516129032259</cx:pt>
          <cx:pt idx="2202">197</cx:pt>
          <cx:pt idx="2203">196.93548387096774</cx:pt>
          <cx:pt idx="2204">197.67741935483872</cx:pt>
          <cx:pt idx="2205">197.35483870967741</cx:pt>
          <cx:pt idx="2206">198.25806451612902</cx:pt>
          <cx:pt idx="2207">199.45161290322579</cx:pt>
          <cx:pt idx="2208">198.7741935483871</cx:pt>
          <cx:pt idx="2209">198.45161290322579</cx:pt>
          <cx:pt idx="2210">199.32258064516128</cx:pt>
          <cx:pt idx="2211">200.25806451612902</cx:pt>
          <cx:pt idx="2212">200.41935483870967</cx:pt>
          <cx:pt idx="2213">200.41935483870967</cx:pt>
          <cx:pt idx="2214">201.03225806451613</cx:pt>
          <cx:pt idx="2215">200.87096774193549</cx:pt>
          <cx:pt idx="2216">200.93548387096774</cx:pt>
          <cx:pt idx="2217">201.45161290322579</cx:pt>
          <cx:pt idx="2218">202.38709677419354</cx:pt>
          <cx:pt idx="2219">203.32258064516128</cx:pt>
          <cx:pt idx="2220">203.16129032258064</cx:pt>
          <cx:pt idx="2221">203.06451612903226</cx:pt>
          <cx:pt idx="2222">203.32258064516128</cx:pt>
          <cx:pt idx="2223">204.58064516129033</cx:pt>
          <cx:pt idx="2224">204.61290322580646</cx:pt>
          <cx:pt idx="2225">206.51612903225808</cx:pt>
          <cx:pt idx="2226">208.48387096774192</cx:pt>
          <cx:pt idx="2227">209.74193548387098</cx:pt>
          <cx:pt idx="2228">210.45161290322579</cx:pt>
          <cx:pt idx="2229">212.2258064516129</cx:pt>
          <cx:pt idx="2230">214.2258064516129</cx:pt>
          <cx:pt idx="2231">214.70967741935485</cx:pt>
          <cx:pt idx="2232">216.06451612903226</cx:pt>
          <cx:pt idx="2233">216.70967741935485</cx:pt>
          <cx:pt idx="2234">218.16129032258064</cx:pt>
          <cx:pt idx="2235">219.32258064516128</cx:pt>
          <cx:pt idx="2236">220.2258064516129</cx:pt>
          <cx:pt idx="2237">221.09677419354838</cx:pt>
          <cx:pt idx="2238">222</cx:pt>
          <cx:pt idx="2239">223.54838709677421</cx:pt>
          <cx:pt idx="2240">225.09677419354838</cx:pt>
          <cx:pt idx="2241">225.48387096774192</cx:pt>
          <cx:pt idx="2242">226.45161290322579</cx:pt>
          <cx:pt idx="2243">227.38709677419354</cx:pt>
          <cx:pt idx="2244">229.03225806451613</cx:pt>
          <cx:pt idx="2245">229.70967741935485</cx:pt>
          <cx:pt idx="2246">230.58064516129033</cx:pt>
          <cx:pt idx="2247">231.74193548387098</cx:pt>
          <cx:pt idx="2248">232.45161290322579</cx:pt>
          <cx:pt idx="2249">232.87096774193549</cx:pt>
          <cx:pt idx="2250">232.96774193548387</cx:pt>
          <cx:pt idx="2251">233.87096774193549</cx:pt>
          <cx:pt idx="2252">234.25806451612902</cx:pt>
          <cx:pt idx="2253">96.451612903225808</cx:pt>
          <cx:pt idx="2254">103.45161290322581</cx:pt>
          <cx:pt idx="2255">109.61290322580645</cx:pt>
          <cx:pt idx="2256">116.54838709677419</cx:pt>
          <cx:pt idx="2257">123.41935483870968</cx:pt>
          <cx:pt idx="2258">129.87096774193549</cx:pt>
          <cx:pt idx="2259">136.2258064516129</cx:pt>
          <cx:pt idx="2260">142.67741935483872</cx:pt>
          <cx:pt idx="2261">148.61290322580646</cx:pt>
          <cx:pt idx="2262">154.54838709677421</cx:pt>
          <cx:pt idx="2263">160.80645161290323</cx:pt>
          <cx:pt idx="2264">166.96774193548387</cx:pt>
          <cx:pt idx="2265">174.06451612903226</cx:pt>
          <cx:pt idx="2266">180.74193548387098</cx:pt>
          <cx:pt idx="2267">187.64516129032259</cx:pt>
          <cx:pt idx="2268">194.38709677419354</cx:pt>
          <cx:pt idx="2269">200.48387096774192</cx:pt>
          <cx:pt idx="2270">201.32258064516128</cx:pt>
          <cx:pt idx="2271">202.25806451612902</cx:pt>
          <cx:pt idx="2272">202.35483870967741</cx:pt>
          <cx:pt idx="2273">201.7741935483871</cx:pt>
          <cx:pt idx="2274">200.61290322580646</cx:pt>
          <cx:pt idx="2275">200.74193548387098</cx:pt>
          <cx:pt idx="2276">201.35483870967741</cx:pt>
          <cx:pt idx="2277">201.32258064516128</cx:pt>
          <cx:pt idx="2278">202</cx:pt>
          <cx:pt idx="2279">201.12903225806451</cx:pt>
          <cx:pt idx="2280">200.25806451612902</cx:pt>
          <cx:pt idx="2281">199.87096774193549</cx:pt>
          <cx:pt idx="2282">199.38709677419354</cx:pt>
          <cx:pt idx="2283">199.54838709677421</cx:pt>
          <cx:pt idx="2284">199.12903225806451</cx:pt>
          <cx:pt idx="2285">198.09677419354838</cx:pt>
          <cx:pt idx="2286">198.83870967741936</cx:pt>
          <cx:pt idx="2287">198.87096774193549</cx:pt>
          <cx:pt idx="2288">197.93548387096774</cx:pt>
          <cx:pt idx="2289">197.29032258064515</cx:pt>
          <cx:pt idx="2290">197.93548387096774</cx:pt>
          <cx:pt idx="2291">197.64516129032259</cx:pt>
          <cx:pt idx="2292">198.32258064516128</cx:pt>
          <cx:pt idx="2293">199.29032258064515</cx:pt>
          <cx:pt idx="2294">200.06451612903226</cx:pt>
          <cx:pt idx="2295">199.90322580645162</cx:pt>
          <cx:pt idx="2296">199.67741935483872</cx:pt>
          <cx:pt idx="2297">199.16129032258064</cx:pt>
          <cx:pt idx="2298">199.09677419354838</cx:pt>
          <cx:pt idx="2299">198.87096774193549</cx:pt>
          <cx:pt idx="2300">199.61290322580646</cx:pt>
          <cx:pt idx="2301">198.54838709677421</cx:pt>
          <cx:pt idx="2302">198.70967741935485</cx:pt>
          <cx:pt idx="2303">198.06451612903226</cx:pt>
          <cx:pt idx="2304">199.06451612903226</cx:pt>
          <cx:pt idx="2305">200.03225806451613</cx:pt>
          <cx:pt idx="2306">200.03225806451613</cx:pt>
          <cx:pt idx="2307">200.03225806451613</cx:pt>
          <cx:pt idx="2308">199.58064516129033</cx:pt>
          <cx:pt idx="2309">199.64516129032259</cx:pt>
          <cx:pt idx="2310">199.90322580645162</cx:pt>
          <cx:pt idx="2311">199.83870967741936</cx:pt>
          <cx:pt idx="2312">199.67741935483872</cx:pt>
          <cx:pt idx="2313">200.64516129032259</cx:pt>
          <cx:pt idx="2314">200.70967741935485</cx:pt>
          <cx:pt idx="2315">200.70967741935485</cx:pt>
          <cx:pt idx="2316">201.67741935483872</cx:pt>
          <cx:pt idx="2317">201.35483870967741</cx:pt>
          <cx:pt idx="2318">201.45161290322579</cx:pt>
          <cx:pt idx="2319">201.67741935483872</cx:pt>
          <cx:pt idx="2320">202.67741935483872</cx:pt>
          <cx:pt idx="2321">201.64516129032259</cx:pt>
          <cx:pt idx="2322">201.87096774193549</cx:pt>
          <cx:pt idx="2323">201.96774193548387</cx:pt>
          <cx:pt idx="2324">201.19354838709677</cx:pt>
          <cx:pt idx="2325">201.03225806451613</cx:pt>
          <cx:pt idx="2326">201.35483870967741</cx:pt>
          <cx:pt idx="2327">200.41935483870967</cx:pt>
          <cx:pt idx="2328">200.61290322580646</cx:pt>
          <cx:pt idx="2329">200.61290322580646</cx:pt>
          <cx:pt idx="2330">200.45161290322579</cx:pt>
          <cx:pt idx="2331">200.06451612903226</cx:pt>
          <cx:pt idx="2332">200.12903225806451</cx:pt>
          <cx:pt idx="2333">199.70967741935485</cx:pt>
          <cx:pt idx="2334">200.41935483870967</cx:pt>
          <cx:pt idx="2335">200.2258064516129</cx:pt>
          <cx:pt idx="2336">199.87096774193549</cx:pt>
          <cx:pt idx="2337">199.83870967741936</cx:pt>
          <cx:pt idx="2338">200</cx:pt>
          <cx:pt idx="2339">200.03225806451613</cx:pt>
          <cx:pt idx="2340">199.90322580645162</cx:pt>
          <cx:pt idx="2341">199.87096774193549</cx:pt>
          <cx:pt idx="2342">200.16129032258064</cx:pt>
          <cx:pt idx="2343">200.58064516129033</cx:pt>
          <cx:pt idx="2344">200.38709677419354</cx:pt>
          <cx:pt idx="2345">200.96774193548387</cx:pt>
          <cx:pt idx="2346">201.45161290322579</cx:pt>
          <cx:pt idx="2347">201.35483870967741</cx:pt>
          <cx:pt idx="2348">200.64516129032259</cx:pt>
          <cx:pt idx="2349">199.90322580645162</cx:pt>
          <cx:pt idx="2350">200.25806451612902</cx:pt>
          <cx:pt idx="2351">200.12903225806451</cx:pt>
          <cx:pt idx="2352">201.06451612903226</cx:pt>
          <cx:pt idx="2353">201.19354838709677</cx:pt>
          <cx:pt idx="2354">200.32258064516128</cx:pt>
          <cx:pt idx="2355">201.29032258064515</cx:pt>
          <cx:pt idx="2356">201.09677419354838</cx:pt>
          <cx:pt idx="2357">201.19354838709677</cx:pt>
          <cx:pt idx="2358">201.45161290322579</cx:pt>
          <cx:pt idx="2359">201.45161290322579</cx:pt>
          <cx:pt idx="2360">200.45161290322579</cx:pt>
          <cx:pt idx="2361">200.03225806451613</cx:pt>
          <cx:pt idx="2362">200.45161290322579</cx:pt>
          <cx:pt idx="2363">201.51612903225808</cx:pt>
          <cx:pt idx="2364">200.96774193548387</cx:pt>
          <cx:pt idx="2365">200.93548387096774</cx:pt>
          <cx:pt idx="2366">200.06451612903226</cx:pt>
          <cx:pt idx="2367">200.38709677419354</cx:pt>
          <cx:pt idx="2368">200.32258064516128</cx:pt>
          <cx:pt idx="2369">199.2258064516129</cx:pt>
          <cx:pt idx="2370">199.54838709677421</cx:pt>
          <cx:pt idx="2371">199.19999999999999</cx:pt>
          <cx:pt idx="2372">199.20689655172413</cx:pt>
          <cx:pt idx="2373">199.46428571428572</cx:pt>
          <cx:pt idx="2374">198.92592592592592</cx:pt>
          <cx:pt idx="2375">198.46153846153845</cx:pt>
          <cx:pt idx="2376">198.16</cx:pt>
          <cx:pt idx="2377">197.75</cx:pt>
          <cx:pt idx="2378">197.13043478260869</cx:pt>
          <cx:pt idx="2379">197.81818181818181</cx:pt>
          <cx:pt idx="2380">197.9047619047619</cx:pt>
          <cx:pt idx="2381">197.69999999999999</cx:pt>
          <cx:pt idx="2382">197.21052631578948</cx:pt>
          <cx:pt idx="2383">196.27777777777777</cx:pt>
          <cx:pt idx="2384">195.94117647058823</cx:pt>
          <cx:pt idx="2385">196.875</cx:pt>
          <cx:pt idx="2386">195.33333333333334</cx:pt>
          <cx:pt idx="2387">194.5</cx:pt>
          <cx:pt idx="2388">194.15384615384616</cx:pt>
          <cx:pt idx="2389">194.33333333333334</cx:pt>
          <cx:pt idx="2390">194.09090909090909</cx:pt>
          <cx:pt idx="2391">195.40000000000001</cx:pt>
          <cx:pt idx="2392">196.66666666666666</cx:pt>
          <cx:pt idx="2393">194.625</cx:pt>
          <cx:pt idx="2394">191.71428571428572</cx:pt>
          <cx:pt idx="2395">193</cx:pt>
          <cx:pt idx="2396">190</cx:pt>
          <cx:pt idx="2397">191.75</cx:pt>
          <cx:pt idx="2398">184.66666666666666</cx:pt>
          <cx:pt idx="2399">186</cx:pt>
          <cx:pt idx="2400">191</cx:pt>
        </cx:lvl>
      </cx:numDim>
    </cx:data>
    <cx:data id="4">
      <cx:numDim type="val">
        <cx:f>Sheet2!$E$2461:$E$4861</cx:f>
        <cx:lvl ptCount="2401" formatCode="#,##0.00">
          <cx:pt idx="0">49.806451612903224</cx:pt>
          <cx:pt idx="1">49.516129032258064</cx:pt>
          <cx:pt idx="2">49.516129032258064</cx:pt>
          <cx:pt idx="3">49.225806451612904</cx:pt>
          <cx:pt idx="4">49.354838709677416</cx:pt>
          <cx:pt idx="5">49.354838709677416</cx:pt>
          <cx:pt idx="6">49.483870967741936</cx:pt>
          <cx:pt idx="7">49.322580645161288</cx:pt>
          <cx:pt idx="8">49.032258064516128</cx:pt>
          <cx:pt idx="9">49</cx:pt>
          <cx:pt idx="10">49.032258064516128</cx:pt>
          <cx:pt idx="11">49.161290322580648</cx:pt>
          <cx:pt idx="12">49.12903225806452</cx:pt>
          <cx:pt idx="13">49.225806451612904</cx:pt>
          <cx:pt idx="14">49.225806451612904</cx:pt>
          <cx:pt idx="15">49.29032258064516</cx:pt>
          <cx:pt idx="16">49.548387096774192</cx:pt>
          <cx:pt idx="17">49.612903225806448</cx:pt>
          <cx:pt idx="18">49.41935483870968</cx:pt>
          <cx:pt idx="19">49.451612903225808</cx:pt>
          <cx:pt idx="20">49.29032258064516</cx:pt>
          <cx:pt idx="21">49.29032258064516</cx:pt>
          <cx:pt idx="22">49.41935483870968</cx:pt>
          <cx:pt idx="23">49.58064516129032</cx:pt>
          <cx:pt idx="24">49.87096774193548</cx:pt>
          <cx:pt idx="25">50.064516129032256</cx:pt>
          <cx:pt idx="26">50.193548387096776</cx:pt>
          <cx:pt idx="27">50.12903225806452</cx:pt>
          <cx:pt idx="28">50</cx:pt>
          <cx:pt idx="29">50.29032258064516</cx:pt>
          <cx:pt idx="30">50.064516129032256</cx:pt>
          <cx:pt idx="31">49.903225806451616</cx:pt>
          <cx:pt idx="32">49.935483870967744</cx:pt>
          <cx:pt idx="33">50.032258064516128</cx:pt>
          <cx:pt idx="34">50.225806451612904</cx:pt>
          <cx:pt idx="35">50.161290322580648</cx:pt>
          <cx:pt idx="36">50.258064516129032</cx:pt>
          <cx:pt idx="37">50.12903225806452</cx:pt>
          <cx:pt idx="38">50.225806451612904</cx:pt>
          <cx:pt idx="39">50.258064516129032</cx:pt>
          <cx:pt idx="40">50.29032258064516</cx:pt>
          <cx:pt idx="41">50.548387096774192</cx:pt>
          <cx:pt idx="42">50.258064516129032</cx:pt>
          <cx:pt idx="43">50.064516129032256</cx:pt>
          <cx:pt idx="44">50.161290322580648</cx:pt>
          <cx:pt idx="45">50.096774193548384</cx:pt>
          <cx:pt idx="46">50.12903225806452</cx:pt>
          <cx:pt idx="47">50.032258064516128</cx:pt>
          <cx:pt idx="48">50.193548387096776</cx:pt>
          <cx:pt idx="49">50.387096774193552</cx:pt>
          <cx:pt idx="50">50.387096774193552</cx:pt>
          <cx:pt idx="51">50.387096774193552</cx:pt>
          <cx:pt idx="52">50.41935483870968</cx:pt>
          <cx:pt idx="53">50.225806451612904</cx:pt>
          <cx:pt idx="54">50.225806451612904</cx:pt>
          <cx:pt idx="55">50.225806451612904</cx:pt>
          <cx:pt idx="56">50.225806451612904</cx:pt>
          <cx:pt idx="57">49.903225806451616</cx:pt>
          <cx:pt idx="58">49.967741935483872</cx:pt>
          <cx:pt idx="59">50.12903225806452</cx:pt>
          <cx:pt idx="60">49.806451612903224</cx:pt>
          <cx:pt idx="61">49.935483870967744</cx:pt>
          <cx:pt idx="62">50.161290322580648</cx:pt>
          <cx:pt idx="63">50.451612903225808</cx:pt>
          <cx:pt idx="64">50.387096774193552</cx:pt>
          <cx:pt idx="65">50.225806451612904</cx:pt>
          <cx:pt idx="66">50.12903225806452</cx:pt>
          <cx:pt idx="67">50.193548387096776</cx:pt>
          <cx:pt idx="68">50.225806451612904</cx:pt>
          <cx:pt idx="69">50.258064516129032</cx:pt>
          <cx:pt idx="70">50.354838709677416</cx:pt>
          <cx:pt idx="71">50.354838709677416</cx:pt>
          <cx:pt idx="72">50.161290322580648</cx:pt>
          <cx:pt idx="73">50.161290322580648</cx:pt>
          <cx:pt idx="74">50.258064516129032</cx:pt>
          <cx:pt idx="75">50.258064516129032</cx:pt>
          <cx:pt idx="76">50.483870967741936</cx:pt>
          <cx:pt idx="77">50.29032258064516</cx:pt>
          <cx:pt idx="78">50.12903225806452</cx:pt>
          <cx:pt idx="79">50</cx:pt>
          <cx:pt idx="80">49.838709677419352</cx:pt>
          <cx:pt idx="81">49.903225806451616</cx:pt>
          <cx:pt idx="82">49.967741935483872</cx:pt>
          <cx:pt idx="83">49.967741935483872</cx:pt>
          <cx:pt idx="84">50.064516129032256</cx:pt>
          <cx:pt idx="85">50</cx:pt>
          <cx:pt idx="86">49.806451612903224</cx:pt>
          <cx:pt idx="87">49.645161290322584</cx:pt>
          <cx:pt idx="88">49.645161290322584</cx:pt>
          <cx:pt idx="89">49.677419354838712</cx:pt>
          <cx:pt idx="90">49.645161290322584</cx:pt>
          <cx:pt idx="91">49.935483870967744</cx:pt>
          <cx:pt idx="92">49.806451612903224</cx:pt>
          <cx:pt idx="93">49.483870967741936</cx:pt>
          <cx:pt idx="94">49.387096774193552</cx:pt>
          <cx:pt idx="95">49.612903225806448</cx:pt>
          <cx:pt idx="96">49.58064516129032</cx:pt>
          <cx:pt idx="97">49.516129032258064</cx:pt>
          <cx:pt idx="98">49.29032258064516</cx:pt>
          <cx:pt idx="99">49.516129032258064</cx:pt>
          <cx:pt idx="100">49.483870967741936</cx:pt>
          <cx:pt idx="101">49.612903225806448</cx:pt>
          <cx:pt idx="102">49.58064516129032</cx:pt>
          <cx:pt idx="103">49.774193548387096</cx:pt>
          <cx:pt idx="104">49.774193548387096</cx:pt>
          <cx:pt idx="105">49.612903225806448</cx:pt>
          <cx:pt idx="106">49.41935483870968</cx:pt>
          <cx:pt idx="107">49.161290322580648</cx:pt>
          <cx:pt idx="108">49.354838709677416</cx:pt>
          <cx:pt idx="109">49.548387096774192</cx:pt>
          <cx:pt idx="110">49.677419354838712</cx:pt>
          <cx:pt idx="111">49.612903225806448</cx:pt>
          <cx:pt idx="112">49.612903225806448</cx:pt>
          <cx:pt idx="113">49.645161290322584</cx:pt>
          <cx:pt idx="114">49.806451612903224</cx:pt>
          <cx:pt idx="115">49.806451612903224</cx:pt>
          <cx:pt idx="116">49.741935483870968</cx:pt>
          <cx:pt idx="117">49.774193548387096</cx:pt>
          <cx:pt idx="118">49.838709677419352</cx:pt>
          <cx:pt idx="119">49.838709677419352</cx:pt>
          <cx:pt idx="120">49.838709677419352</cx:pt>
          <cx:pt idx="121">49.612903225806448</cx:pt>
          <cx:pt idx="122">49.354838709677416</cx:pt>
          <cx:pt idx="123">49.258064516129032</cx:pt>
          <cx:pt idx="124">49.516129032258064</cx:pt>
          <cx:pt idx="125">49.516129032258064</cx:pt>
          <cx:pt idx="126">49.29032258064516</cx:pt>
          <cx:pt idx="127">49.258064516129032</cx:pt>
          <cx:pt idx="128">49.322580645161288</cx:pt>
          <cx:pt idx="129">49.322580645161288</cx:pt>
          <cx:pt idx="130">49</cx:pt>
          <cx:pt idx="131">48.903225806451616</cx:pt>
          <cx:pt idx="132">48.903225806451616</cx:pt>
          <cx:pt idx="133">48.677419354838712</cx:pt>
          <cx:pt idx="134">48.548387096774192</cx:pt>
          <cx:pt idx="135">48.548387096774192</cx:pt>
          <cx:pt idx="136">48.612903225806448</cx:pt>
          <cx:pt idx="137">48.774193548387096</cx:pt>
          <cx:pt idx="138">48.967741935483872</cx:pt>
          <cx:pt idx="139">48.645161290322584</cx:pt>
          <cx:pt idx="140">48.516129032258064</cx:pt>
          <cx:pt idx="141">48.354838709677416</cx:pt>
          <cx:pt idx="142">48.322580645161288</cx:pt>
          <cx:pt idx="143">48.322580645161288</cx:pt>
          <cx:pt idx="144">48.451612903225808</cx:pt>
          <cx:pt idx="145">48.322580645161288</cx:pt>
          <cx:pt idx="146">48.41935483870968</cx:pt>
          <cx:pt idx="147">48.612903225806448</cx:pt>
          <cx:pt idx="148">48.451612903225808</cx:pt>
          <cx:pt idx="149">48.322580645161288</cx:pt>
          <cx:pt idx="150">48.451612903225808</cx:pt>
          <cx:pt idx="151">48.516129032258064</cx:pt>
          <cx:pt idx="152">48.548387096774192</cx:pt>
          <cx:pt idx="153">48.58064516129032</cx:pt>
          <cx:pt idx="154">48.645161290322584</cx:pt>
          <cx:pt idx="155">48.677419354838712</cx:pt>
          <cx:pt idx="156">48.483870967741936</cx:pt>
          <cx:pt idx="157">48.645161290322584</cx:pt>
          <cx:pt idx="158">48.935483870967744</cx:pt>
          <cx:pt idx="159">48.87096774193548</cx:pt>
          <cx:pt idx="160">49.032258064516128</cx:pt>
          <cx:pt idx="161">49.258064516129032</cx:pt>
          <cx:pt idx="162">49.548387096774192</cx:pt>
          <cx:pt idx="163">49.612903225806448</cx:pt>
          <cx:pt idx="164">49.70967741935484</cx:pt>
          <cx:pt idx="165">49.70967741935484</cx:pt>
          <cx:pt idx="166">49.87096774193548</cx:pt>
          <cx:pt idx="167">49.967741935483872</cx:pt>
          <cx:pt idx="168">50.032258064516128</cx:pt>
          <cx:pt idx="169">49.967741935483872</cx:pt>
          <cx:pt idx="170">50.096774193548384</cx:pt>
          <cx:pt idx="171">50.161290322580648</cx:pt>
          <cx:pt idx="172">50.12903225806452</cx:pt>
          <cx:pt idx="173">50.064516129032256</cx:pt>
          <cx:pt idx="174">49.935483870967744</cx:pt>
          <cx:pt idx="175">49.741935483870968</cx:pt>
          <cx:pt idx="176">49.967741935483872</cx:pt>
          <cx:pt idx="177">49.774193548387096</cx:pt>
          <cx:pt idx="178">49.483870967741936</cx:pt>
          <cx:pt idx="179">49.645161290322584</cx:pt>
          <cx:pt idx="180">49.87096774193548</cx:pt>
          <cx:pt idx="181">50.032258064516128</cx:pt>
          <cx:pt idx="182">49.903225806451616</cx:pt>
          <cx:pt idx="183">50.032258064516128</cx:pt>
          <cx:pt idx="184">50.29032258064516</cx:pt>
          <cx:pt idx="185">50.322580645161288</cx:pt>
          <cx:pt idx="186">50.161290322580648</cx:pt>
          <cx:pt idx="187">50.225806451612904</cx:pt>
          <cx:pt idx="188">50.096774193548384</cx:pt>
          <cx:pt idx="189">49.87096774193548</cx:pt>
          <cx:pt idx="190">50.096774193548384</cx:pt>
          <cx:pt idx="191">49.903225806451616</cx:pt>
          <cx:pt idx="192">49.838709677419352</cx:pt>
          <cx:pt idx="193">49.58064516129032</cx:pt>
          <cx:pt idx="194">49.258064516129032</cx:pt>
          <cx:pt idx="195">49.354838709677416</cx:pt>
          <cx:pt idx="196">49.322580645161288</cx:pt>
          <cx:pt idx="197">49.161290322580648</cx:pt>
          <cx:pt idx="198">49.322580645161288</cx:pt>
          <cx:pt idx="199">49.12903225806452</cx:pt>
          <cx:pt idx="200">49.161290322580648</cx:pt>
          <cx:pt idx="201">49.354838709677416</cx:pt>
          <cx:pt idx="202">49.483870967741936</cx:pt>
          <cx:pt idx="203">49.451612903225808</cx:pt>
          <cx:pt idx="204">49.58064516129032</cx:pt>
          <cx:pt idx="205">49.41935483870968</cx:pt>
          <cx:pt idx="206">49.354838709677416</cx:pt>
          <cx:pt idx="207">49.096774193548384</cx:pt>
          <cx:pt idx="208">49.258064516129032</cx:pt>
          <cx:pt idx="209">49.322580645161288</cx:pt>
          <cx:pt idx="210">49.161290322580648</cx:pt>
          <cx:pt idx="211">49.193548387096776</cx:pt>
          <cx:pt idx="212">48.903225806451616</cx:pt>
          <cx:pt idx="213">49.161290322580648</cx:pt>
          <cx:pt idx="214">49.29032258064516</cx:pt>
          <cx:pt idx="215">49.193548387096776</cx:pt>
          <cx:pt idx="216">49.387096774193552</cx:pt>
          <cx:pt idx="217">49.516129032258064</cx:pt>
          <cx:pt idx="218">49.70967741935484</cx:pt>
          <cx:pt idx="219">49.87096774193548</cx:pt>
          <cx:pt idx="220">50.064516129032256</cx:pt>
          <cx:pt idx="221">50.032258064516128</cx:pt>
          <cx:pt idx="222">50.193548387096776</cx:pt>
          <cx:pt idx="223">50.322580645161288</cx:pt>
          <cx:pt idx="224">50.58064516129032</cx:pt>
          <cx:pt idx="225">50.903225806451616</cx:pt>
          <cx:pt idx="226">51.032258064516128</cx:pt>
          <cx:pt idx="227">51.161290322580648</cx:pt>
          <cx:pt idx="228">51.387096774193552</cx:pt>
          <cx:pt idx="229">51.387096774193552</cx:pt>
          <cx:pt idx="230">51.677419354838712</cx:pt>
          <cx:pt idx="231">51.741935483870968</cx:pt>
          <cx:pt idx="232">51.741935483870968</cx:pt>
          <cx:pt idx="233">51.774193548387096</cx:pt>
          <cx:pt idx="234">51.935483870967744</cx:pt>
          <cx:pt idx="235">52.096774193548384</cx:pt>
          <cx:pt idx="236">52.354838709677416</cx:pt>
          <cx:pt idx="237">52.612903225806448</cx:pt>
          <cx:pt idx="238">52.903225806451616</cx:pt>
          <cx:pt idx="239">52.967741935483872</cx:pt>
          <cx:pt idx="240">53.161290322580648</cx:pt>
          <cx:pt idx="241">53.451612903225808</cx:pt>
          <cx:pt idx="242">53.354838709677416</cx:pt>
          <cx:pt idx="243">53.612903225806448</cx:pt>
          <cx:pt idx="244">53.612903225806448</cx:pt>
          <cx:pt idx="245">53.58064516129032</cx:pt>
          <cx:pt idx="246">53.677419354838712</cx:pt>
          <cx:pt idx="247">53.70967741935484</cx:pt>
          <cx:pt idx="248">53.677419354838712</cx:pt>
          <cx:pt idx="249">53.677419354838712</cx:pt>
          <cx:pt idx="250">53.645161290322584</cx:pt>
          <cx:pt idx="251">53.677419354838712</cx:pt>
          <cx:pt idx="252">53.70967741935484</cx:pt>
          <cx:pt idx="253">53.774193548387096</cx:pt>
          <cx:pt idx="254">53.70967741935484</cx:pt>
          <cx:pt idx="255">53.677419354838712</cx:pt>
          <cx:pt idx="256">53.58064516129032</cx:pt>
          <cx:pt idx="257">53.41935483870968</cx:pt>
          <cx:pt idx="258">53.29032258064516</cx:pt>
          <cx:pt idx="259">53.354838709677416</cx:pt>
          <cx:pt idx="260">53.193548387096776</cx:pt>
          <cx:pt idx="261">53.161290322580648</cx:pt>
          <cx:pt idx="262">53.161290322580648</cx:pt>
          <cx:pt idx="263">53.12903225806452</cx:pt>
          <cx:pt idx="264">53.161290322580648</cx:pt>
          <cx:pt idx="265">53</cx:pt>
          <cx:pt idx="266">53.032258064516128</cx:pt>
          <cx:pt idx="267">52.935483870967744</cx:pt>
          <cx:pt idx="268">52.70967741935484</cx:pt>
          <cx:pt idx="269">52.41935483870968</cx:pt>
          <cx:pt idx="270">52.161290322580648</cx:pt>
          <cx:pt idx="271">51.967741935483872</cx:pt>
          <cx:pt idx="272">51.935483870967744</cx:pt>
          <cx:pt idx="273">51.903225806451616</cx:pt>
          <cx:pt idx="274">51.935483870967744</cx:pt>
          <cx:pt idx="275">51.87096774193548</cx:pt>
          <cx:pt idx="276">51.87096774193548</cx:pt>
          <cx:pt idx="277">51.612903225806448</cx:pt>
          <cx:pt idx="278">51.58064516129032</cx:pt>
          <cx:pt idx="279">51.58064516129032</cx:pt>
          <cx:pt idx="280">51.451612903225808</cx:pt>
          <cx:pt idx="281">51.322580645161288</cx:pt>
          <cx:pt idx="282">51.225806451612904</cx:pt>
          <cx:pt idx="283">51.29032258064516</cx:pt>
          <cx:pt idx="284">51.258064516129032</cx:pt>
          <cx:pt idx="285">51.193548387096776</cx:pt>
          <cx:pt idx="286">51</cx:pt>
          <cx:pt idx="287">51.096774193548384</cx:pt>
          <cx:pt idx="288">50.967741935483872</cx:pt>
          <cx:pt idx="289">51.064516129032256</cx:pt>
          <cx:pt idx="290">50.806451612903224</cx:pt>
          <cx:pt idx="291">50.87096774193548</cx:pt>
          <cx:pt idx="292">50.806451612903224</cx:pt>
          <cx:pt idx="293">50.774193548387096</cx:pt>
          <cx:pt idx="294">50.516129032258064</cx:pt>
          <cx:pt idx="295">50.483870967741936</cx:pt>
          <cx:pt idx="296">50.677419354838712</cx:pt>
          <cx:pt idx="297">50.645161290322584</cx:pt>
          <cx:pt idx="298">50.677419354838712</cx:pt>
          <cx:pt idx="299">50.806451612903224</cx:pt>
          <cx:pt idx="300">51.096774193548384</cx:pt>
          <cx:pt idx="301">51.161290322580648</cx:pt>
          <cx:pt idx="302">51.29032258064516</cx:pt>
          <cx:pt idx="303">51.354838709677416</cx:pt>
          <cx:pt idx="304">51.483870967741936</cx:pt>
          <cx:pt idx="305">51.516129032258064</cx:pt>
          <cx:pt idx="306">51.29032258064516</cx:pt>
          <cx:pt idx="307">51.193548387096776</cx:pt>
          <cx:pt idx="308">51.41935483870968</cx:pt>
          <cx:pt idx="309">51.41935483870968</cx:pt>
          <cx:pt idx="310">51.193548387096776</cx:pt>
          <cx:pt idx="311">51.12903225806452</cx:pt>
          <cx:pt idx="312">51.354838709677416</cx:pt>
          <cx:pt idx="313">51.225806451612904</cx:pt>
          <cx:pt idx="314">50.935483870967744</cx:pt>
          <cx:pt idx="315">51</cx:pt>
          <cx:pt idx="316">51.032258064516128</cx:pt>
          <cx:pt idx="317">50.935483870967744</cx:pt>
          <cx:pt idx="318">50.838709677419352</cx:pt>
          <cx:pt idx="319">50.806451612903224</cx:pt>
          <cx:pt idx="320">50.774193548387096</cx:pt>
          <cx:pt idx="321">50.935483870967744</cx:pt>
          <cx:pt idx="322">50.967741935483872</cx:pt>
          <cx:pt idx="323">50.774193548387096</cx:pt>
          <cx:pt idx="324">50.645161290322584</cx:pt>
          <cx:pt idx="325">50.677419354838712</cx:pt>
          <cx:pt idx="326">50.387096774193552</cx:pt>
          <cx:pt idx="327">50.193548387096776</cx:pt>
          <cx:pt idx="328">49.903225806451616</cx:pt>
          <cx:pt idx="329">49.677419354838712</cx:pt>
          <cx:pt idx="330">49.645161290322584</cx:pt>
          <cx:pt idx="331">49.387096774193552</cx:pt>
          <cx:pt idx="332">49.516129032258064</cx:pt>
          <cx:pt idx="333">49.483870967741936</cx:pt>
          <cx:pt idx="334">49.451612903225808</cx:pt>
          <cx:pt idx="335">49.258064516129032</cx:pt>
          <cx:pt idx="336">48.935483870967744</cx:pt>
          <cx:pt idx="337">49.225806451612904</cx:pt>
          <cx:pt idx="338">49.354838709677416</cx:pt>
          <cx:pt idx="339">49.12903225806452</cx:pt>
          <cx:pt idx="340">49.12903225806452</cx:pt>
          <cx:pt idx="341">49.354838709677416</cx:pt>
          <cx:pt idx="342">49.322580645161288</cx:pt>
          <cx:pt idx="343">49.225806451612904</cx:pt>
          <cx:pt idx="344">49.193548387096776</cx:pt>
          <cx:pt idx="345">49.387096774193552</cx:pt>
          <cx:pt idx="346">49.225806451612904</cx:pt>
          <cx:pt idx="347">49.193548387096776</cx:pt>
          <cx:pt idx="348">49.258064516129032</cx:pt>
          <cx:pt idx="349">49.193548387096776</cx:pt>
          <cx:pt idx="350">49.193548387096776</cx:pt>
          <cx:pt idx="351">49.064516129032256</cx:pt>
          <cx:pt idx="352">49.032258064516128</cx:pt>
          <cx:pt idx="353">48.87096774193548</cx:pt>
          <cx:pt idx="354">49</cx:pt>
          <cx:pt idx="355">49</cx:pt>
          <cx:pt idx="356">48.967741935483872</cx:pt>
          <cx:pt idx="357">49.225806451612904</cx:pt>
          <cx:pt idx="358">49.483870967741936</cx:pt>
          <cx:pt idx="359">49.741935483870968</cx:pt>
          <cx:pt idx="360">49.935483870967744</cx:pt>
          <cx:pt idx="361">50.032258064516128</cx:pt>
          <cx:pt idx="362">50.225806451612904</cx:pt>
          <cx:pt idx="363">50.064516129032256</cx:pt>
          <cx:pt idx="364">49.903225806451616</cx:pt>
          <cx:pt idx="365">49.70967741935484</cx:pt>
          <cx:pt idx="366">49.677419354838712</cx:pt>
          <cx:pt idx="367">49.838709677419352</cx:pt>
          <cx:pt idx="368">49.516129032258064</cx:pt>
          <cx:pt idx="369">49.387096774193552</cx:pt>
          <cx:pt idx="370">49.322580645161288</cx:pt>
          <cx:pt idx="371">49.064516129032256</cx:pt>
          <cx:pt idx="372">49</cx:pt>
          <cx:pt idx="373">49.193548387096776</cx:pt>
          <cx:pt idx="374">48.967741935483872</cx:pt>
          <cx:pt idx="375">48.935483870967744</cx:pt>
          <cx:pt idx="376">48.87096774193548</cx:pt>
          <cx:pt idx="377">48.903225806451616</cx:pt>
          <cx:pt idx="378">49.032258064516128</cx:pt>
          <cx:pt idx="379">49.064516129032256</cx:pt>
          <cx:pt idx="380">49.225806451612904</cx:pt>
          <cx:pt idx="381">49.225806451612904</cx:pt>
          <cx:pt idx="382">49.193548387096776</cx:pt>
          <cx:pt idx="383">49.322580645161288</cx:pt>
          <cx:pt idx="384">49.258064516129032</cx:pt>
          <cx:pt idx="385">49.161290322580648</cx:pt>
          <cx:pt idx="386">49.161290322580648</cx:pt>
          <cx:pt idx="387">49.451612903225808</cx:pt>
          <cx:pt idx="388">49.354838709677416</cx:pt>
          <cx:pt idx="389">49.096774193548384</cx:pt>
          <cx:pt idx="390">48.87096774193548</cx:pt>
          <cx:pt idx="391">48.741935483870968</cx:pt>
          <cx:pt idx="392">48.548387096774192</cx:pt>
          <cx:pt idx="393">48.354838709677416</cx:pt>
          <cx:pt idx="394">48.645161290322584</cx:pt>
          <cx:pt idx="395">48.935483870967744</cx:pt>
          <cx:pt idx="396">49.032258064516128</cx:pt>
          <cx:pt idx="397">49</cx:pt>
          <cx:pt idx="398">48.87096774193548</cx:pt>
          <cx:pt idx="399">49.193548387096776</cx:pt>
          <cx:pt idx="400">49.032258064516128</cx:pt>
          <cx:pt idx="401">49.29032258064516</cx:pt>
          <cx:pt idx="402">49.29032258064516</cx:pt>
          <cx:pt idx="403">49.193548387096776</cx:pt>
          <cx:pt idx="404">49.096774193548384</cx:pt>
          <cx:pt idx="405">49.225806451612904</cx:pt>
          <cx:pt idx="406">49.516129032258064</cx:pt>
          <cx:pt idx="407">49.677419354838712</cx:pt>
          <cx:pt idx="408">49.516129032258064</cx:pt>
          <cx:pt idx="409">49.483870967741936</cx:pt>
          <cx:pt idx="410">49.41935483870968</cx:pt>
          <cx:pt idx="411">49.225806451612904</cx:pt>
          <cx:pt idx="412">49.387096774193552</cx:pt>
          <cx:pt idx="413">49.483870967741936</cx:pt>
          <cx:pt idx="414">49.354838709677416</cx:pt>
          <cx:pt idx="415">49.387096774193552</cx:pt>
          <cx:pt idx="416">49.612903225806448</cx:pt>
          <cx:pt idx="417">49.741935483870968</cx:pt>
          <cx:pt idx="418">49.58064516129032</cx:pt>
          <cx:pt idx="419">49.677419354838712</cx:pt>
          <cx:pt idx="420">49.838709677419352</cx:pt>
          <cx:pt idx="421">50</cx:pt>
          <cx:pt idx="422">50.096774193548384</cx:pt>
          <cx:pt idx="423">50.161290322580648</cx:pt>
          <cx:pt idx="424">50.161290322580648</cx:pt>
          <cx:pt idx="425">49.838709677419352</cx:pt>
          <cx:pt idx="426">49.806451612903224</cx:pt>
          <cx:pt idx="427">49.87096774193548</cx:pt>
          <cx:pt idx="428">49.806451612903224</cx:pt>
          <cx:pt idx="429">50.032258064516128</cx:pt>
          <cx:pt idx="430">49.806451612903224</cx:pt>
          <cx:pt idx="431">50.064516129032256</cx:pt>
          <cx:pt idx="432">49.967741935483872</cx:pt>
          <cx:pt idx="433">50.032258064516128</cx:pt>
          <cx:pt idx="434">50.29032258064516</cx:pt>
          <cx:pt idx="435">50.322580645161288</cx:pt>
          <cx:pt idx="436">50.451612903225808</cx:pt>
          <cx:pt idx="437">50.483870967741936</cx:pt>
          <cx:pt idx="438">50.225806451612904</cx:pt>
          <cx:pt idx="439">50.516129032258064</cx:pt>
          <cx:pt idx="440">50.483870967741936</cx:pt>
          <cx:pt idx="441">50.70967741935484</cx:pt>
          <cx:pt idx="442">50.806451612903224</cx:pt>
          <cx:pt idx="443">50.838709677419352</cx:pt>
          <cx:pt idx="444">51.032258064516128</cx:pt>
          <cx:pt idx="445">51.096774193548384</cx:pt>
          <cx:pt idx="446">51.225806451612904</cx:pt>
          <cx:pt idx="447">51.225806451612904</cx:pt>
          <cx:pt idx="448">51.161290322580648</cx:pt>
          <cx:pt idx="449">51.12903225806452</cx:pt>
          <cx:pt idx="450">50.935483870967744</cx:pt>
          <cx:pt idx="451">50.87096774193548</cx:pt>
          <cx:pt idx="452">50.741935483870968</cx:pt>
          <cx:pt idx="453">50.87096774193548</cx:pt>
          <cx:pt idx="454">51.032258064516128</cx:pt>
          <cx:pt idx="455">51.193548387096776</cx:pt>
          <cx:pt idx="456">51.225806451612904</cx:pt>
          <cx:pt idx="457">51</cx:pt>
          <cx:pt idx="458">50.87096774193548</cx:pt>
          <cx:pt idx="459">50.967741935483872</cx:pt>
          <cx:pt idx="460">50.806451612903224</cx:pt>
          <cx:pt idx="461">50.935483870967744</cx:pt>
          <cx:pt idx="462">51</cx:pt>
          <cx:pt idx="463">51</cx:pt>
          <cx:pt idx="464">50.967741935483872</cx:pt>
          <cx:pt idx="465">50.87096774193548</cx:pt>
          <cx:pt idx="466">50.741935483870968</cx:pt>
          <cx:pt idx="467">50.806451612903224</cx:pt>
          <cx:pt idx="468">50.548387096774192</cx:pt>
          <cx:pt idx="469">50.645161290322584</cx:pt>
          <cx:pt idx="470">50.354838709677416</cx:pt>
          <cx:pt idx="471">50.12903225806452</cx:pt>
          <cx:pt idx="472">50.161290322580648</cx:pt>
          <cx:pt idx="473">50.12903225806452</cx:pt>
          <cx:pt idx="474">50</cx:pt>
          <cx:pt idx="475">49.935483870967744</cx:pt>
          <cx:pt idx="476">49.838709677419352</cx:pt>
          <cx:pt idx="477">49.70967741935484</cx:pt>
          <cx:pt idx="478">49.645161290322584</cx:pt>
          <cx:pt idx="479">49.516129032258064</cx:pt>
          <cx:pt idx="480">49.58064516129032</cx:pt>
          <cx:pt idx="481">49.516129032258064</cx:pt>
          <cx:pt idx="482">49.516129032258064</cx:pt>
          <cx:pt idx="483">49.58064516129032</cx:pt>
          <cx:pt idx="484">49.548387096774192</cx:pt>
          <cx:pt idx="485">49.451612903225808</cx:pt>
          <cx:pt idx="486">49.41935483870968</cx:pt>
          <cx:pt idx="487">49.58064516129032</cx:pt>
          <cx:pt idx="488">49.677419354838712</cx:pt>
          <cx:pt idx="489">49.87096774193548</cx:pt>
          <cx:pt idx="490">49.903225806451616</cx:pt>
          <cx:pt idx="491">50.064516129032256</cx:pt>
          <cx:pt idx="492">49.838709677419352</cx:pt>
          <cx:pt idx="493">49.612903225806448</cx:pt>
          <cx:pt idx="494">49.451612903225808</cx:pt>
          <cx:pt idx="495">49.451612903225808</cx:pt>
          <cx:pt idx="496">49.548387096774192</cx:pt>
          <cx:pt idx="497">49.645161290322584</cx:pt>
          <cx:pt idx="498">49.548387096774192</cx:pt>
          <cx:pt idx="499">49.548387096774192</cx:pt>
          <cx:pt idx="500">49.483870967741936</cx:pt>
          <cx:pt idx="501">49.451612903225808</cx:pt>
          <cx:pt idx="502">49.483870967741936</cx:pt>
          <cx:pt idx="503">49.322580645161288</cx:pt>
          <cx:pt idx="504">49.387096774193552</cx:pt>
          <cx:pt idx="505">49.451612903225808</cx:pt>
          <cx:pt idx="506">49.354838709677416</cx:pt>
          <cx:pt idx="507">49.258064516129032</cx:pt>
          <cx:pt idx="508">49.387096774193552</cx:pt>
          <cx:pt idx="509">49.258064516129032</cx:pt>
          <cx:pt idx="510">49.29032258064516</cx:pt>
          <cx:pt idx="511">49.29032258064516</cx:pt>
          <cx:pt idx="512">49.516129032258064</cx:pt>
          <cx:pt idx="513">49.58064516129032</cx:pt>
          <cx:pt idx="514">49.548387096774192</cx:pt>
          <cx:pt idx="515">49.612903225806448</cx:pt>
          <cx:pt idx="516">49.516129032258064</cx:pt>
          <cx:pt idx="517">49.354838709677416</cx:pt>
          <cx:pt idx="518">49.258064516129032</cx:pt>
          <cx:pt idx="519">49.29032258064516</cx:pt>
          <cx:pt idx="520">49.193548387096776</cx:pt>
          <cx:pt idx="521">49.354838709677416</cx:pt>
          <cx:pt idx="522">49.387096774193552</cx:pt>
          <cx:pt idx="523">49.483870967741936</cx:pt>
          <cx:pt idx="524">49.387096774193552</cx:pt>
          <cx:pt idx="525">49.70967741935484</cx:pt>
          <cx:pt idx="526">49.677419354838712</cx:pt>
          <cx:pt idx="527">49.387096774193552</cx:pt>
          <cx:pt idx="528">49.225806451612904</cx:pt>
          <cx:pt idx="529">49.29032258064516</cx:pt>
          <cx:pt idx="530">49.225806451612904</cx:pt>
          <cx:pt idx="531">49.258064516129032</cx:pt>
          <cx:pt idx="532">49.387096774193552</cx:pt>
          <cx:pt idx="533">49.58064516129032</cx:pt>
          <cx:pt idx="534">49.58064516129032</cx:pt>
          <cx:pt idx="535">49.612903225806448</cx:pt>
          <cx:pt idx="536">49.548387096774192</cx:pt>
          <cx:pt idx="537">49.677419354838712</cx:pt>
          <cx:pt idx="538">49.935483870967744</cx:pt>
          <cx:pt idx="539">49.741935483870968</cx:pt>
          <cx:pt idx="540">49.87096774193548</cx:pt>
          <cx:pt idx="541">50.096774193548384</cx:pt>
          <cx:pt idx="542">49.903225806451616</cx:pt>
          <cx:pt idx="543">49.838709677419352</cx:pt>
          <cx:pt idx="544">49.741935483870968</cx:pt>
          <cx:pt idx="545">49.70967741935484</cx:pt>
          <cx:pt idx="546">49.677419354838712</cx:pt>
          <cx:pt idx="547">49.645161290322584</cx:pt>
          <cx:pt idx="548">49.935483870967744</cx:pt>
          <cx:pt idx="549">49.838709677419352</cx:pt>
          <cx:pt idx="550">49.935483870967744</cx:pt>
          <cx:pt idx="551">49.741935483870968</cx:pt>
          <cx:pt idx="552">49.58064516129032</cx:pt>
          <cx:pt idx="553">49.612903225806448</cx:pt>
          <cx:pt idx="554">49.612903225806448</cx:pt>
          <cx:pt idx="555">49.741935483870968</cx:pt>
          <cx:pt idx="556">49.645161290322584</cx:pt>
          <cx:pt idx="557">49.741935483870968</cx:pt>
          <cx:pt idx="558">49.741935483870968</cx:pt>
          <cx:pt idx="559">49.903225806451616</cx:pt>
          <cx:pt idx="560">49.935483870967744</cx:pt>
          <cx:pt idx="561">50.12903225806452</cx:pt>
          <cx:pt idx="562">50.096774193548384</cx:pt>
          <cx:pt idx="563">50.064516129032256</cx:pt>
          <cx:pt idx="564">49.87096774193548</cx:pt>
          <cx:pt idx="565">49.838709677419352</cx:pt>
          <cx:pt idx="566">49.87096774193548</cx:pt>
          <cx:pt idx="567">49.967741935483872</cx:pt>
          <cx:pt idx="568">49.935483870967744</cx:pt>
          <cx:pt idx="569">49.838709677419352</cx:pt>
          <cx:pt idx="570">50.096774193548384</cx:pt>
          <cx:pt idx="571">50.12903225806452</cx:pt>
          <cx:pt idx="572">50.064516129032256</cx:pt>
          <cx:pt idx="573">50.161290322580648</cx:pt>
          <cx:pt idx="574">50.258064516129032</cx:pt>
          <cx:pt idx="575">50.225806451612904</cx:pt>
          <cx:pt idx="576">50.322580645161288</cx:pt>
          <cx:pt idx="577">50.096774193548384</cx:pt>
          <cx:pt idx="578">50.12903225806452</cx:pt>
          <cx:pt idx="579">49.935483870967744</cx:pt>
          <cx:pt idx="580">50.032258064516128</cx:pt>
          <cx:pt idx="581">49.87096774193548</cx:pt>
          <cx:pt idx="582">49.967741935483872</cx:pt>
          <cx:pt idx="583">50.032258064516128</cx:pt>
          <cx:pt idx="584">49.935483870967744</cx:pt>
          <cx:pt idx="585">49.87096774193548</cx:pt>
          <cx:pt idx="586">50</cx:pt>
          <cx:pt idx="587">50.032258064516128</cx:pt>
          <cx:pt idx="588">50.193548387096776</cx:pt>
          <cx:pt idx="589">50.354838709677416</cx:pt>
          <cx:pt idx="590">50.225806451612904</cx:pt>
          <cx:pt idx="591">50.161290322580648</cx:pt>
          <cx:pt idx="592">50</cx:pt>
          <cx:pt idx="593">50.096774193548384</cx:pt>
          <cx:pt idx="594">50.258064516129032</cx:pt>
          <cx:pt idx="595">50.387096774193552</cx:pt>
          <cx:pt idx="596">50.29032258064516</cx:pt>
          <cx:pt idx="597">50.29032258064516</cx:pt>
          <cx:pt idx="598">50.387096774193552</cx:pt>
          <cx:pt idx="599">50.161290322580648</cx:pt>
          <cx:pt idx="600">50.225806451612904</cx:pt>
          <cx:pt idx="601">50.096774193548384</cx:pt>
          <cx:pt idx="602">50.064516129032256</cx:pt>
          <cx:pt idx="603">50.064516129032256</cx:pt>
          <cx:pt idx="604">50.193548387096776</cx:pt>
          <cx:pt idx="605">50.258064516129032</cx:pt>
          <cx:pt idx="606">50.41935483870968</cx:pt>
          <cx:pt idx="607">50.483870967741936</cx:pt>
          <cx:pt idx="608">50.741935483870968</cx:pt>
          <cx:pt idx="609">50.903225806451616</cx:pt>
          <cx:pt idx="610">51.032258064516128</cx:pt>
          <cx:pt idx="611">51.161290322580648</cx:pt>
          <cx:pt idx="612">51.29032258064516</cx:pt>
          <cx:pt idx="613">51.387096774193552</cx:pt>
          <cx:pt idx="614">51.451612903225808</cx:pt>
          <cx:pt idx="615">51.548387096774192</cx:pt>
          <cx:pt idx="616">51.838709677419352</cx:pt>
          <cx:pt idx="617">51.806451612903224</cx:pt>
          <cx:pt idx="618">51.838709677419352</cx:pt>
          <cx:pt idx="619">51.838709677419352</cx:pt>
          <cx:pt idx="620">51.903225806451616</cx:pt>
          <cx:pt idx="621">52.096774193548384</cx:pt>
          <cx:pt idx="622">52.096774193548384</cx:pt>
          <cx:pt idx="623">52.354838709677416</cx:pt>
          <cx:pt idx="624">52.483870967741936</cx:pt>
          <cx:pt idx="625">52.483870967741936</cx:pt>
          <cx:pt idx="626">52.645161290322584</cx:pt>
          <cx:pt idx="627">52.967741935483872</cx:pt>
          <cx:pt idx="628">52.87096774193548</cx:pt>
          <cx:pt idx="629">52.838709677419352</cx:pt>
          <cx:pt idx="630">53.096774193548384</cx:pt>
          <cx:pt idx="631">53.032258064516128</cx:pt>
          <cx:pt idx="632">53.193548387096776</cx:pt>
          <cx:pt idx="633">53.225806451612904</cx:pt>
          <cx:pt idx="634">53.29032258064516</cx:pt>
          <cx:pt idx="635">53.322580645161288</cx:pt>
          <cx:pt idx="636">53.322580645161288</cx:pt>
          <cx:pt idx="637">53.322580645161288</cx:pt>
          <cx:pt idx="638">53.41935483870968</cx:pt>
          <cx:pt idx="639">53.354838709677416</cx:pt>
          <cx:pt idx="640">53.451612903225808</cx:pt>
          <cx:pt idx="641">53.516129032258064</cx:pt>
          <cx:pt idx="642">53.58064516129032</cx:pt>
          <cx:pt idx="643">53.645161290322584</cx:pt>
          <cx:pt idx="644">53.70967741935484</cx:pt>
          <cx:pt idx="645">53.70967741935484</cx:pt>
          <cx:pt idx="646">53.387096774193552</cx:pt>
          <cx:pt idx="647">53.225806451612904</cx:pt>
          <cx:pt idx="648">53.193548387096776</cx:pt>
          <cx:pt idx="649">53.064516129032256</cx:pt>
          <cx:pt idx="650">53.032258064516128</cx:pt>
          <cx:pt idx="651">52.774193548387096</cx:pt>
          <cx:pt idx="652">52.58064516129032</cx:pt>
          <cx:pt idx="653">52.645161290322584</cx:pt>
          <cx:pt idx="654">52.58064516129032</cx:pt>
          <cx:pt idx="655">52.516129032258064</cx:pt>
          <cx:pt idx="656">52.483870967741936</cx:pt>
          <cx:pt idx="657">52.258064516129032</cx:pt>
          <cx:pt idx="658">52</cx:pt>
          <cx:pt idx="659">51.838709677419352</cx:pt>
          <cx:pt idx="660">51.838709677419352</cx:pt>
          <cx:pt idx="661">51.774193548387096</cx:pt>
          <cx:pt idx="662">51.677419354838712</cx:pt>
          <cx:pt idx="663">51.516129032258064</cx:pt>
          <cx:pt idx="664">51.451612903225808</cx:pt>
          <cx:pt idx="665">51.354838709677416</cx:pt>
          <cx:pt idx="666">51.193548387096776</cx:pt>
          <cx:pt idx="667">51.12903225806452</cx:pt>
          <cx:pt idx="668">51.161290322580648</cx:pt>
          <cx:pt idx="669">51.096774193548384</cx:pt>
          <cx:pt idx="670">50.838709677419352</cx:pt>
          <cx:pt idx="671">50.516129032258064</cx:pt>
          <cx:pt idx="672">50.225806451612904</cx:pt>
          <cx:pt idx="673">50</cx:pt>
          <cx:pt idx="674">49.87096774193548</cx:pt>
          <cx:pt idx="675">49.612903225806448</cx:pt>
          <cx:pt idx="676">49.387096774193552</cx:pt>
          <cx:pt idx="677">49.387096774193552</cx:pt>
          <cx:pt idx="678">49.322580645161288</cx:pt>
          <cx:pt idx="679">49.12903225806452</cx:pt>
          <cx:pt idx="680">49.064516129032256</cx:pt>
          <cx:pt idx="681">49.032258064516128</cx:pt>
          <cx:pt idx="682">49.322580645161288</cx:pt>
          <cx:pt idx="683">49.516129032258064</cx:pt>
          <cx:pt idx="684">49.516129032258064</cx:pt>
          <cx:pt idx="685">49.483870967741936</cx:pt>
          <cx:pt idx="686">49.225806451612904</cx:pt>
          <cx:pt idx="687">49.225806451612904</cx:pt>
          <cx:pt idx="688">49.387096774193552</cx:pt>
          <cx:pt idx="689">49.483870967741936</cx:pt>
          <cx:pt idx="690">49.70967741935484</cx:pt>
          <cx:pt idx="691">49.58064516129032</cx:pt>
          <cx:pt idx="692">49.41935483870968</cx:pt>
          <cx:pt idx="693">49.322580645161288</cx:pt>
          <cx:pt idx="694">49.387096774193552</cx:pt>
          <cx:pt idx="695">49.516129032258064</cx:pt>
          <cx:pt idx="696">49.548387096774192</cx:pt>
          <cx:pt idx="697">49.612903225806448</cx:pt>
          <cx:pt idx="698">49.516129032258064</cx:pt>
          <cx:pt idx="699">49.225806451612904</cx:pt>
          <cx:pt idx="700">49.096774193548384</cx:pt>
          <cx:pt idx="701">49.193548387096776</cx:pt>
          <cx:pt idx="702">49.322580645161288</cx:pt>
          <cx:pt idx="703">49.41935483870968</cx:pt>
          <cx:pt idx="704">49.41935483870968</cx:pt>
          <cx:pt idx="705">49.483870967741936</cx:pt>
          <cx:pt idx="706">49.70967741935484</cx:pt>
          <cx:pt idx="707">49.838709677419352</cx:pt>
          <cx:pt idx="708">50</cx:pt>
          <cx:pt idx="709">50.161290322580648</cx:pt>
          <cx:pt idx="710">50.161290322580648</cx:pt>
          <cx:pt idx="711">50.12903225806452</cx:pt>
          <cx:pt idx="712">50</cx:pt>
          <cx:pt idx="713">50.032258064516128</cx:pt>
          <cx:pt idx="714">49.838709677419352</cx:pt>
          <cx:pt idx="715">49.838709677419352</cx:pt>
          <cx:pt idx="716">49.741935483870968</cx:pt>
          <cx:pt idx="717">50</cx:pt>
          <cx:pt idx="718">49.806451612903224</cx:pt>
          <cx:pt idx="719">49.87096774193548</cx:pt>
          <cx:pt idx="720">49.741935483870968</cx:pt>
          <cx:pt idx="721">49.612903225806448</cx:pt>
          <cx:pt idx="722">49.741935483870968</cx:pt>
          <cx:pt idx="723">49.87096774193548</cx:pt>
          <cx:pt idx="724">50.064516129032256</cx:pt>
          <cx:pt idx="725">50.12903225806452</cx:pt>
          <cx:pt idx="726">49.967741935483872</cx:pt>
          <cx:pt idx="727">49.903225806451616</cx:pt>
          <cx:pt idx="728">49.935483870967744</cx:pt>
          <cx:pt idx="729">49.87096774193548</cx:pt>
          <cx:pt idx="730">50.032258064516128</cx:pt>
          <cx:pt idx="731">50.12903225806452</cx:pt>
          <cx:pt idx="732">50.193548387096776</cx:pt>
          <cx:pt idx="733">50.064516129032256</cx:pt>
          <cx:pt idx="734">49.935483870967744</cx:pt>
          <cx:pt idx="735">50</cx:pt>
          <cx:pt idx="736">49.903225806451616</cx:pt>
          <cx:pt idx="737">49.903225806451616</cx:pt>
          <cx:pt idx="738">49.87096774193548</cx:pt>
          <cx:pt idx="739">49.741935483870968</cx:pt>
          <cx:pt idx="740">49.58064516129032</cx:pt>
          <cx:pt idx="741">49.806451612903224</cx:pt>
          <cx:pt idx="742">49.87096774193548</cx:pt>
          <cx:pt idx="743">49.967741935483872</cx:pt>
          <cx:pt idx="744">49.677419354838712</cx:pt>
          <cx:pt idx="745">49.774193548387096</cx:pt>
          <cx:pt idx="746">49.58064516129032</cx:pt>
          <cx:pt idx="747">49.516129032258064</cx:pt>
          <cx:pt idx="748">49.354838709677416</cx:pt>
          <cx:pt idx="749">49.516129032258064</cx:pt>
          <cx:pt idx="750">49.225806451612904</cx:pt>
          <cx:pt idx="751">49.483870967741936</cx:pt>
          <cx:pt idx="752">49.354838709677416</cx:pt>
          <cx:pt idx="753">49.193548387096776</cx:pt>
          <cx:pt idx="754">49.096774193548384</cx:pt>
          <cx:pt idx="755">49.096774193548384</cx:pt>
          <cx:pt idx="756">48.87096774193548</cx:pt>
          <cx:pt idx="757">48.903225806451616</cx:pt>
          <cx:pt idx="758">49</cx:pt>
          <cx:pt idx="759">48.806451612903224</cx:pt>
          <cx:pt idx="760">48.967741935483872</cx:pt>
          <cx:pt idx="761">48.838709677419352</cx:pt>
          <cx:pt idx="762">48.612903225806448</cx:pt>
          <cx:pt idx="763">48.677419354838712</cx:pt>
          <cx:pt idx="764">48.774193548387096</cx:pt>
          <cx:pt idx="765">49</cx:pt>
          <cx:pt idx="766">49.161290322580648</cx:pt>
          <cx:pt idx="767">49.064516129032256</cx:pt>
          <cx:pt idx="768">48.838709677419352</cx:pt>
          <cx:pt idx="769">49.032258064516128</cx:pt>
          <cx:pt idx="770">49.322580645161288</cx:pt>
          <cx:pt idx="771">49.354838709677416</cx:pt>
          <cx:pt idx="772">49.12903225806452</cx:pt>
          <cx:pt idx="773">49.322580645161288</cx:pt>
          <cx:pt idx="774">49.451612903225808</cx:pt>
          <cx:pt idx="775">49.677419354838712</cx:pt>
          <cx:pt idx="776">49.806451612903224</cx:pt>
          <cx:pt idx="777">50</cx:pt>
          <cx:pt idx="778">50.225806451612904</cx:pt>
          <cx:pt idx="779">50.354838709677416</cx:pt>
          <cx:pt idx="780">50.258064516129032</cx:pt>
          <cx:pt idx="781">50.29032258064516</cx:pt>
          <cx:pt idx="782">50.161290322580648</cx:pt>
          <cx:pt idx="783">50.161290322580648</cx:pt>
          <cx:pt idx="784">50.322580645161288</cx:pt>
          <cx:pt idx="785">50.387096774193552</cx:pt>
          <cx:pt idx="786">50.322580645161288</cx:pt>
          <cx:pt idx="787">50.387096774193552</cx:pt>
          <cx:pt idx="788">50.354838709677416</cx:pt>
          <cx:pt idx="789">50.29032258064516</cx:pt>
          <cx:pt idx="790">50.354838709677416</cx:pt>
          <cx:pt idx="791">50.29032258064516</cx:pt>
          <cx:pt idx="792">50.451612903225808</cx:pt>
          <cx:pt idx="793">50.451612903225808</cx:pt>
          <cx:pt idx="794">50.41935483870968</cx:pt>
          <cx:pt idx="795">50.548387096774192</cx:pt>
          <cx:pt idx="796">50.322580645161288</cx:pt>
          <cx:pt idx="797">50.322580645161288</cx:pt>
          <cx:pt idx="798">50.354838709677416</cx:pt>
          <cx:pt idx="799">50.354838709677416</cx:pt>
          <cx:pt idx="800">50.096774193548384</cx:pt>
          <cx:pt idx="801">49.806451612903224</cx:pt>
          <cx:pt idx="802">49.774193548387096</cx:pt>
          <cx:pt idx="803">49.774193548387096</cx:pt>
          <cx:pt idx="804">49.70967741935484</cx:pt>
          <cx:pt idx="805">49.645161290322584</cx:pt>
          <cx:pt idx="806">49.58064516129032</cx:pt>
          <cx:pt idx="807">49.645161290322584</cx:pt>
          <cx:pt idx="808">49.58064516129032</cx:pt>
          <cx:pt idx="809">49.483870967741936</cx:pt>
          <cx:pt idx="810">49.387096774193552</cx:pt>
          <cx:pt idx="811">49.387096774193552</cx:pt>
          <cx:pt idx="812">49.645161290322584</cx:pt>
          <cx:pt idx="813">49.516129032258064</cx:pt>
          <cx:pt idx="814">49.58064516129032</cx:pt>
          <cx:pt idx="815">49.645161290322584</cx:pt>
          <cx:pt idx="816">49.483870967741936</cx:pt>
          <cx:pt idx="817">49.516129032258064</cx:pt>
          <cx:pt idx="818">49.548387096774192</cx:pt>
          <cx:pt idx="819">49.612903225806448</cx:pt>
          <cx:pt idx="820">49.58064516129032</cx:pt>
          <cx:pt idx="821">49.806451612903224</cx:pt>
          <cx:pt idx="822">49.87096774193548</cx:pt>
          <cx:pt idx="823">49.87096774193548</cx:pt>
          <cx:pt idx="824">50</cx:pt>
          <cx:pt idx="825">49.87096774193548</cx:pt>
          <cx:pt idx="826">49.741935483870968</cx:pt>
          <cx:pt idx="827">49.838709677419352</cx:pt>
          <cx:pt idx="828">49.741935483870968</cx:pt>
          <cx:pt idx="829">49.774193548387096</cx:pt>
          <cx:pt idx="830">49.903225806451616</cx:pt>
          <cx:pt idx="831">50.096774193548384</cx:pt>
          <cx:pt idx="832">50.29032258064516</cx:pt>
          <cx:pt idx="833">50.354838709677416</cx:pt>
          <cx:pt idx="834">50.483870967741936</cx:pt>
          <cx:pt idx="835">50.225806451612904</cx:pt>
          <cx:pt idx="836">50.29032258064516</cx:pt>
          <cx:pt idx="837">50.161290322580648</cx:pt>
          <cx:pt idx="838">50.096774193548384</cx:pt>
          <cx:pt idx="839">49.903225806451616</cx:pt>
          <cx:pt idx="840">49.967741935483872</cx:pt>
          <cx:pt idx="841">50.032258064516128</cx:pt>
          <cx:pt idx="842">50.193548387096776</cx:pt>
          <cx:pt idx="843">49.903225806451616</cx:pt>
          <cx:pt idx="844">50</cx:pt>
          <cx:pt idx="845">49.935483870967744</cx:pt>
          <cx:pt idx="846">49.774193548387096</cx:pt>
          <cx:pt idx="847">50.064516129032256</cx:pt>
          <cx:pt idx="848">50.064516129032256</cx:pt>
          <cx:pt idx="849">49.967741935483872</cx:pt>
          <cx:pt idx="850">49.741935483870968</cx:pt>
          <cx:pt idx="851">49.774193548387096</cx:pt>
          <cx:pt idx="852">49.612903225806448</cx:pt>
          <cx:pt idx="853">49.41935483870968</cx:pt>
          <cx:pt idx="854">49.516129032258064</cx:pt>
          <cx:pt idx="855">49.483870967741936</cx:pt>
          <cx:pt idx="856">49.516129032258064</cx:pt>
          <cx:pt idx="857">49.70967741935484</cx:pt>
          <cx:pt idx="858">49.612903225806448</cx:pt>
          <cx:pt idx="859">49.612903225806448</cx:pt>
          <cx:pt idx="860">49.774193548387096</cx:pt>
          <cx:pt idx="861">49.612903225806448</cx:pt>
          <cx:pt idx="862">49.387096774193552</cx:pt>
          <cx:pt idx="863">49.387096774193552</cx:pt>
          <cx:pt idx="864">49.322580645161288</cx:pt>
          <cx:pt idx="865">49.483870967741936</cx:pt>
          <cx:pt idx="866">49.645161290322584</cx:pt>
          <cx:pt idx="867">49.41935483870968</cx:pt>
          <cx:pt idx="868">49.677419354838712</cx:pt>
          <cx:pt idx="869">49.741935483870968</cx:pt>
          <cx:pt idx="870">49.806451612903224</cx:pt>
          <cx:pt idx="871">49.58064516129032</cx:pt>
          <cx:pt idx="872">49.483870967741936</cx:pt>
          <cx:pt idx="873">49.258064516129032</cx:pt>
          <cx:pt idx="874">49.322580645161288</cx:pt>
          <cx:pt idx="875">49.354838709677416</cx:pt>
          <cx:pt idx="876">49.548387096774192</cx:pt>
          <cx:pt idx="877">49.41935483870968</cx:pt>
          <cx:pt idx="878">49.41935483870968</cx:pt>
          <cx:pt idx="879">49.451612903225808</cx:pt>
          <cx:pt idx="880">49.58064516129032</cx:pt>
          <cx:pt idx="881">49.903225806451616</cx:pt>
          <cx:pt idx="882">49.935483870967744</cx:pt>
          <cx:pt idx="883">50.032258064516128</cx:pt>
          <cx:pt idx="884">50.29032258064516</cx:pt>
          <cx:pt idx="885">50.322580645161288</cx:pt>
          <cx:pt idx="886">50.548387096774192</cx:pt>
          <cx:pt idx="887">50.483870967741936</cx:pt>
          <cx:pt idx="888">50.29032258064516</cx:pt>
          <cx:pt idx="889">50.451612903225808</cx:pt>
          <cx:pt idx="890">50.516129032258064</cx:pt>
          <cx:pt idx="891">50.451612903225808</cx:pt>
          <cx:pt idx="892">50.677419354838712</cx:pt>
          <cx:pt idx="893">50.806451612903224</cx:pt>
          <cx:pt idx="894">50.58064516129032</cx:pt>
          <cx:pt idx="895">50.677419354838712</cx:pt>
          <cx:pt idx="896">50.548387096774192</cx:pt>
          <cx:pt idx="897">50.548387096774192</cx:pt>
          <cx:pt idx="898">50.612903225806448</cx:pt>
          <cx:pt idx="899">50.354838709677416</cx:pt>
          <cx:pt idx="900">50.064516129032256</cx:pt>
          <cx:pt idx="901">49.967741935483872</cx:pt>
          <cx:pt idx="902">50</cx:pt>
          <cx:pt idx="903">50.096774193548384</cx:pt>
          <cx:pt idx="904">50.258064516129032</cx:pt>
          <cx:pt idx="905">50.41935483870968</cx:pt>
          <cx:pt idx="906">50.58064516129032</cx:pt>
          <cx:pt idx="907">50.483870967741936</cx:pt>
          <cx:pt idx="908">50.612903225806448</cx:pt>
          <cx:pt idx="909">50.387096774193552</cx:pt>
          <cx:pt idx="910">50.161290322580648</cx:pt>
          <cx:pt idx="911">50.225806451612904</cx:pt>
          <cx:pt idx="912">49.935483870967744</cx:pt>
          <cx:pt idx="913">49.806451612903224</cx:pt>
          <cx:pt idx="914">49.903225806451616</cx:pt>
          <cx:pt idx="915">49.903225806451616</cx:pt>
          <cx:pt idx="916">49.806451612903224</cx:pt>
          <cx:pt idx="917">49.774193548387096</cx:pt>
          <cx:pt idx="918">49.935483870967744</cx:pt>
          <cx:pt idx="919">50</cx:pt>
          <cx:pt idx="920">49.935483870967744</cx:pt>
          <cx:pt idx="921">49.774193548387096</cx:pt>
          <cx:pt idx="922">49.774193548387096</cx:pt>
          <cx:pt idx="923">49.548387096774192</cx:pt>
          <cx:pt idx="924">49.677419354838712</cx:pt>
          <cx:pt idx="925">49.903225806451616</cx:pt>
          <cx:pt idx="926">49.806451612903224</cx:pt>
          <cx:pt idx="927">49.70967741935484</cx:pt>
          <cx:pt idx="928">49.612903225806448</cx:pt>
          <cx:pt idx="929">49.741935483870968</cx:pt>
          <cx:pt idx="930">49.806451612903224</cx:pt>
          <cx:pt idx="931">50.032258064516128</cx:pt>
          <cx:pt idx="932">50.193548387096776</cx:pt>
          <cx:pt idx="933">50.193548387096776</cx:pt>
          <cx:pt idx="934">50.225806451612904</cx:pt>
          <cx:pt idx="935">50.354838709677416</cx:pt>
          <cx:pt idx="936">50.096774193548384</cx:pt>
          <cx:pt idx="937">50.032258064516128</cx:pt>
          <cx:pt idx="938">50.225806451612904</cx:pt>
          <cx:pt idx="939">50.12903225806452</cx:pt>
          <cx:pt idx="940">50.258064516129032</cx:pt>
          <cx:pt idx="941">50.387096774193552</cx:pt>
          <cx:pt idx="942">50.354838709677416</cx:pt>
          <cx:pt idx="943">50.548387096774192</cx:pt>
          <cx:pt idx="944">50.741935483870968</cx:pt>
          <cx:pt idx="945">50.677419354838712</cx:pt>
          <cx:pt idx="946">50.483870967741936</cx:pt>
          <cx:pt idx="947">50.354838709677416</cx:pt>
          <cx:pt idx="948">50.064516129032256</cx:pt>
          <cx:pt idx="949">50.161290322580648</cx:pt>
          <cx:pt idx="950">50.322580645161288</cx:pt>
          <cx:pt idx="951">50.483870967741936</cx:pt>
          <cx:pt idx="952">50.645161290322584</cx:pt>
          <cx:pt idx="953">50.645161290322584</cx:pt>
          <cx:pt idx="954">50.741935483870968</cx:pt>
          <cx:pt idx="955">50.741935483870968</cx:pt>
          <cx:pt idx="956">50.58064516129032</cx:pt>
          <cx:pt idx="957">50.806451612903224</cx:pt>
          <cx:pt idx="958">50.774193548387096</cx:pt>
          <cx:pt idx="959">50.838709677419352</cx:pt>
          <cx:pt idx="960">50.645161290322584</cx:pt>
          <cx:pt idx="961">50.516129032258064</cx:pt>
          <cx:pt idx="962">50.516129032258064</cx:pt>
          <cx:pt idx="963">50.483870967741936</cx:pt>
          <cx:pt idx="964">50.612903225806448</cx:pt>
          <cx:pt idx="965">50.677419354838712</cx:pt>
          <cx:pt idx="966">50.451612903225808</cx:pt>
          <cx:pt idx="967">50.70967741935484</cx:pt>
          <cx:pt idx="968">50.677419354838712</cx:pt>
          <cx:pt idx="969">50.516129032258064</cx:pt>
          <cx:pt idx="970">50.516129032258064</cx:pt>
          <cx:pt idx="971">50.322580645161288</cx:pt>
          <cx:pt idx="972">50.354838709677416</cx:pt>
          <cx:pt idx="973">50.161290322580648</cx:pt>
          <cx:pt idx="974">50.096774193548384</cx:pt>
          <cx:pt idx="975">49.967741935483872</cx:pt>
          <cx:pt idx="976">49.838709677419352</cx:pt>
          <cx:pt idx="977">49.70967741935484</cx:pt>
          <cx:pt idx="978">49.935483870967744</cx:pt>
          <cx:pt idx="979">49.935483870967744</cx:pt>
          <cx:pt idx="980">49.70967741935484</cx:pt>
          <cx:pt idx="981">49.677419354838712</cx:pt>
          <cx:pt idx="982">49.41935483870968</cx:pt>
          <cx:pt idx="983">49.322580645161288</cx:pt>
          <cx:pt idx="984">49.161290322580648</cx:pt>
          <cx:pt idx="985">49.322580645161288</cx:pt>
          <cx:pt idx="986">49.258064516129032</cx:pt>
          <cx:pt idx="987">49.29032258064516</cx:pt>
          <cx:pt idx="988">48.967741935483872</cx:pt>
          <cx:pt idx="989">49.032258064516128</cx:pt>
          <cx:pt idx="990">49.161290322580648</cx:pt>
          <cx:pt idx="991">49.12903225806452</cx:pt>
          <cx:pt idx="992">49.193548387096776</cx:pt>
          <cx:pt idx="993">49.161290322580648</cx:pt>
          <cx:pt idx="994">49.29032258064516</cx:pt>
          <cx:pt idx="995">49.41935483870968</cx:pt>
          <cx:pt idx="996">49.161290322580648</cx:pt>
          <cx:pt idx="997">49.387096774193552</cx:pt>
          <cx:pt idx="998">49.387096774193552</cx:pt>
          <cx:pt idx="999">49.225806451612904</cx:pt>
          <cx:pt idx="1000">49.322580645161288</cx:pt>
          <cx:pt idx="1001">49.322580645161288</cx:pt>
          <cx:pt idx="1002">49.548387096774192</cx:pt>
          <cx:pt idx="1003">49.387096774193552</cx:pt>
          <cx:pt idx="1004">49.483870967741936</cx:pt>
          <cx:pt idx="1005">49.612903225806448</cx:pt>
          <cx:pt idx="1006">49.741935483870968</cx:pt>
          <cx:pt idx="1007">49.87096774193548</cx:pt>
          <cx:pt idx="1008">49.935483870967744</cx:pt>
          <cx:pt idx="1009">49.70967741935484</cx:pt>
          <cx:pt idx="1010">49.70967741935484</cx:pt>
          <cx:pt idx="1011">49.838709677419352</cx:pt>
          <cx:pt idx="1012">49.612903225806448</cx:pt>
          <cx:pt idx="1013">49.903225806451616</cx:pt>
          <cx:pt idx="1014">49.741935483870968</cx:pt>
          <cx:pt idx="1015">49.774193548387096</cx:pt>
          <cx:pt idx="1016">49.806451612903224</cx:pt>
          <cx:pt idx="1017">49.58064516129032</cx:pt>
          <cx:pt idx="1018">49.741935483870968</cx:pt>
          <cx:pt idx="1019">50.064516129032256</cx:pt>
          <cx:pt idx="1020">50.29032258064516</cx:pt>
          <cx:pt idx="1021">50.064516129032256</cx:pt>
          <cx:pt idx="1022">50.064516129032256</cx:pt>
          <cx:pt idx="1023">50.096774193548384</cx:pt>
          <cx:pt idx="1024">50</cx:pt>
          <cx:pt idx="1025">50.032258064516128</cx:pt>
          <cx:pt idx="1026">50</cx:pt>
          <cx:pt idx="1027">50.258064516129032</cx:pt>
          <cx:pt idx="1028">50.193548387096776</cx:pt>
          <cx:pt idx="1029">50.12903225806452</cx:pt>
          <cx:pt idx="1030">50.161290322580648</cx:pt>
          <cx:pt idx="1031">50.096774193548384</cx:pt>
          <cx:pt idx="1032">50.258064516129032</cx:pt>
          <cx:pt idx="1033">50.354838709677416</cx:pt>
          <cx:pt idx="1034">50.387096774193552</cx:pt>
          <cx:pt idx="1035">50.29032258064516</cx:pt>
          <cx:pt idx="1036">50.29032258064516</cx:pt>
          <cx:pt idx="1037">50.161290322580648</cx:pt>
          <cx:pt idx="1038">50.096774193548384</cx:pt>
          <cx:pt idx="1039">50.096774193548384</cx:pt>
          <cx:pt idx="1040">50.322580645161288</cx:pt>
          <cx:pt idx="1041">50.58064516129032</cx:pt>
          <cx:pt idx="1042">50.70967741935484</cx:pt>
          <cx:pt idx="1043">50.903225806451616</cx:pt>
          <cx:pt idx="1044">50.903225806451616</cx:pt>
          <cx:pt idx="1045">51.12903225806452</cx:pt>
          <cx:pt idx="1046">51.322580645161288</cx:pt>
          <cx:pt idx="1047">51.258064516129032</cx:pt>
          <cx:pt idx="1048">51.548387096774192</cx:pt>
          <cx:pt idx="1049">51.548387096774192</cx:pt>
          <cx:pt idx="1050">51.516129032258064</cx:pt>
          <cx:pt idx="1051">51.451612903225808</cx:pt>
          <cx:pt idx="1052">51.677419354838712</cx:pt>
          <cx:pt idx="1053">51.838709677419352</cx:pt>
          <cx:pt idx="1054">52.032258064516128</cx:pt>
          <cx:pt idx="1055">52.161290322580648</cx:pt>
          <cx:pt idx="1056">52.096774193548384</cx:pt>
          <cx:pt idx="1057">52.064516129032256</cx:pt>
          <cx:pt idx="1058">52.032258064516128</cx:pt>
          <cx:pt idx="1059">52.064516129032256</cx:pt>
          <cx:pt idx="1060">52.096774193548384</cx:pt>
          <cx:pt idx="1061">52.29032258064516</cx:pt>
          <cx:pt idx="1062">52.387096774193552</cx:pt>
          <cx:pt idx="1063">52.41935483870968</cx:pt>
          <cx:pt idx="1064">52.41935483870968</cx:pt>
          <cx:pt idx="1065">52.645161290322584</cx:pt>
          <cx:pt idx="1066">52.903225806451616</cx:pt>
          <cx:pt idx="1067">52.903225806451616</cx:pt>
          <cx:pt idx="1068">52.967741935483872</cx:pt>
          <cx:pt idx="1069">53.064516129032256</cx:pt>
          <cx:pt idx="1070">53.225806451612904</cx:pt>
          <cx:pt idx="1071">53.225806451612904</cx:pt>
          <cx:pt idx="1072">53.193548387096776</cx:pt>
          <cx:pt idx="1073">53.12903225806452</cx:pt>
          <cx:pt idx="1074">53.12903225806452</cx:pt>
          <cx:pt idx="1075">53.096774193548384</cx:pt>
          <cx:pt idx="1076">53.096774193548384</cx:pt>
          <cx:pt idx="1077">53.161290322580648</cx:pt>
          <cx:pt idx="1078">53.161290322580648</cx:pt>
          <cx:pt idx="1079">53.096774193548384</cx:pt>
          <cx:pt idx="1080">53.096774193548384</cx:pt>
          <cx:pt idx="1081">53.096774193548384</cx:pt>
          <cx:pt idx="1082">53.12903225806452</cx:pt>
          <cx:pt idx="1083">53.12903225806452</cx:pt>
          <cx:pt idx="1084">52.935483870967744</cx:pt>
          <cx:pt idx="1085">52.903225806451616</cx:pt>
          <cx:pt idx="1086">52.677419354838712</cx:pt>
          <cx:pt idx="1087">52.548387096774192</cx:pt>
          <cx:pt idx="1088">52.387096774193552</cx:pt>
          <cx:pt idx="1089">52.29032258064516</cx:pt>
          <cx:pt idx="1090">52.258064516129032</cx:pt>
          <cx:pt idx="1091">52.354838709677416</cx:pt>
          <cx:pt idx="1092">52.096774193548384</cx:pt>
          <cx:pt idx="1093">52.032258064516128</cx:pt>
          <cx:pt idx="1094">52.064516129032256</cx:pt>
          <cx:pt idx="1095">51.967741935483872</cx:pt>
          <cx:pt idx="1096">51.806451612903224</cx:pt>
          <cx:pt idx="1097">51.70967741935484</cx:pt>
          <cx:pt idx="1098">51.516129032258064</cx:pt>
          <cx:pt idx="1099">51.41935483870968</cx:pt>
          <cx:pt idx="1100">51.193548387096776</cx:pt>
          <cx:pt idx="1101">51.29032258064516</cx:pt>
          <cx:pt idx="1102">51.032258064516128</cx:pt>
          <cx:pt idx="1103">50.903225806451616</cx:pt>
          <cx:pt idx="1104">50.935483870967744</cx:pt>
          <cx:pt idx="1105">50.87096774193548</cx:pt>
          <cx:pt idx="1106">50.774193548387096</cx:pt>
          <cx:pt idx="1107">50.838709677419352</cx:pt>
          <cx:pt idx="1108">50.516129032258064</cx:pt>
          <cx:pt idx="1109">50.29032258064516</cx:pt>
          <cx:pt idx="1110">50.322580645161288</cx:pt>
          <cx:pt idx="1111">50.387096774193552</cx:pt>
          <cx:pt idx="1112">50.322580645161288</cx:pt>
          <cx:pt idx="1113">50.161290322580648</cx:pt>
          <cx:pt idx="1114">50.096774193548384</cx:pt>
          <cx:pt idx="1115">50.387096774193552</cx:pt>
          <cx:pt idx="1116">50.354838709677416</cx:pt>
          <cx:pt idx="1117">50.612903225806448</cx:pt>
          <cx:pt idx="1118">50.741935483870968</cx:pt>
          <cx:pt idx="1119">50.967741935483872</cx:pt>
          <cx:pt idx="1120">51.064516129032256</cx:pt>
          <cx:pt idx="1121">50.87096774193548</cx:pt>
          <cx:pt idx="1122">50.87096774193548</cx:pt>
          <cx:pt idx="1123">50.967741935483872</cx:pt>
          <cx:pt idx="1124">51</cx:pt>
          <cx:pt idx="1125">51</cx:pt>
          <cx:pt idx="1126">50.967741935483872</cx:pt>
          <cx:pt idx="1127">51.12903225806452</cx:pt>
          <cx:pt idx="1128">51.161290322580648</cx:pt>
          <cx:pt idx="1129">51.387096774193552</cx:pt>
          <cx:pt idx="1130">51.29032258064516</cx:pt>
          <cx:pt idx="1131">51.483870967741936</cx:pt>
          <cx:pt idx="1132">51.29032258064516</cx:pt>
          <cx:pt idx="1133">51.225806451612904</cx:pt>
          <cx:pt idx="1134">51.41935483870968</cx:pt>
          <cx:pt idx="1135">51.322580645161288</cx:pt>
          <cx:pt idx="1136">51.354838709677416</cx:pt>
          <cx:pt idx="1137">51.322580645161288</cx:pt>
          <cx:pt idx="1138">51.354838709677416</cx:pt>
          <cx:pt idx="1139">51.41935483870968</cx:pt>
          <cx:pt idx="1140">51.741935483870968</cx:pt>
          <cx:pt idx="1141">51.548387096774192</cx:pt>
          <cx:pt idx="1142">51.41935483870968</cx:pt>
          <cx:pt idx="1143">51.516129032258064</cx:pt>
          <cx:pt idx="1144">51.41935483870968</cx:pt>
          <cx:pt idx="1145">51.225806451612904</cx:pt>
          <cx:pt idx="1146">51.161290322580648</cx:pt>
          <cx:pt idx="1147">51.161290322580648</cx:pt>
          <cx:pt idx="1148">50.87096774193548</cx:pt>
          <cx:pt idx="1149">50.612903225806448</cx:pt>
          <cx:pt idx="1150">50.483870967741936</cx:pt>
          <cx:pt idx="1151">50.29032258064516</cx:pt>
          <cx:pt idx="1152">50.516129032258064</cx:pt>
          <cx:pt idx="1153">50.322580645161288</cx:pt>
          <cx:pt idx="1154">50.258064516129032</cx:pt>
          <cx:pt idx="1155">50.258064516129032</cx:pt>
          <cx:pt idx="1156">50.032258064516128</cx:pt>
          <cx:pt idx="1157">50.032258064516128</cx:pt>
          <cx:pt idx="1158">50.096774193548384</cx:pt>
          <cx:pt idx="1159">50.032258064516128</cx:pt>
          <cx:pt idx="1160">49.838709677419352</cx:pt>
          <cx:pt idx="1161">50.064516129032256</cx:pt>
          <cx:pt idx="1162">50</cx:pt>
          <cx:pt idx="1163">49.935483870967744</cx:pt>
          <cx:pt idx="1164">49.935483870967744</cx:pt>
          <cx:pt idx="1165">49.741935483870968</cx:pt>
          <cx:pt idx="1166">49.838709677419352</cx:pt>
          <cx:pt idx="1167">49.774193548387096</cx:pt>
          <cx:pt idx="1168">49.645161290322584</cx:pt>
          <cx:pt idx="1169">49.58064516129032</cx:pt>
          <cx:pt idx="1170">49.645161290322584</cx:pt>
          <cx:pt idx="1171">49.41935483870968</cx:pt>
          <cx:pt idx="1172">49.387096774193552</cx:pt>
          <cx:pt idx="1173">49.225806451612904</cx:pt>
          <cx:pt idx="1174">49.193548387096776</cx:pt>
          <cx:pt idx="1175">49.225806451612904</cx:pt>
          <cx:pt idx="1176">49.483870967741936</cx:pt>
          <cx:pt idx="1177">49.354838709677416</cx:pt>
          <cx:pt idx="1178">49.225806451612904</cx:pt>
          <cx:pt idx="1179">49.451612903225808</cx:pt>
          <cx:pt idx="1180">49.548387096774192</cx:pt>
          <cx:pt idx="1181">49.548387096774192</cx:pt>
          <cx:pt idx="1182">49.774193548387096</cx:pt>
          <cx:pt idx="1183">49.774193548387096</cx:pt>
          <cx:pt idx="1184">49.677419354838712</cx:pt>
          <cx:pt idx="1185">49.741935483870968</cx:pt>
          <cx:pt idx="1186">49.483870967741936</cx:pt>
          <cx:pt idx="1187">49.451612903225808</cx:pt>
          <cx:pt idx="1188">49.483870967741936</cx:pt>
          <cx:pt idx="1189">49.193548387096776</cx:pt>
          <cx:pt idx="1190">49.258064516129032</cx:pt>
          <cx:pt idx="1191">49.387096774193552</cx:pt>
          <cx:pt idx="1192">49.451612903225808</cx:pt>
          <cx:pt idx="1193">49.322580645161288</cx:pt>
          <cx:pt idx="1194">49.483870967741936</cx:pt>
          <cx:pt idx="1195">49.677419354838712</cx:pt>
          <cx:pt idx="1196">49.612903225806448</cx:pt>
          <cx:pt idx="1197">49.645161290322584</cx:pt>
          <cx:pt idx="1198">49.741935483870968</cx:pt>
          <cx:pt idx="1199">49.87096774193548</cx:pt>
          <cx:pt idx="1200">49.87096774193548</cx:pt>
          <cx:pt idx="1201">50</cx:pt>
          <cx:pt idx="1202">50</cx:pt>
          <cx:pt idx="1203">50.064516129032256</cx:pt>
          <cx:pt idx="1204">50.258064516129032</cx:pt>
          <cx:pt idx="1205">49.967741935483872</cx:pt>
          <cx:pt idx="1206">50.096774193548384</cx:pt>
          <cx:pt idx="1207">50.032258064516128</cx:pt>
          <cx:pt idx="1208">50.032258064516128</cx:pt>
          <cx:pt idx="1209">50.225806451612904</cx:pt>
          <cx:pt idx="1210">50.096774193548384</cx:pt>
          <cx:pt idx="1211">50.064516129032256</cx:pt>
          <cx:pt idx="1212">50.225806451612904</cx:pt>
          <cx:pt idx="1213">50.225806451612904</cx:pt>
          <cx:pt idx="1214">50.193548387096776</cx:pt>
          <cx:pt idx="1215">50.483870967741936</cx:pt>
          <cx:pt idx="1216">50.58064516129032</cx:pt>
          <cx:pt idx="1217">50.70967741935484</cx:pt>
          <cx:pt idx="1218">51</cx:pt>
          <cx:pt idx="1219">51.032258064516128</cx:pt>
          <cx:pt idx="1220">51.225806451612904</cx:pt>
          <cx:pt idx="1221">51.354838709677416</cx:pt>
          <cx:pt idx="1222">51.354838709677416</cx:pt>
          <cx:pt idx="1223">51.12903225806452</cx:pt>
          <cx:pt idx="1224">51.354838709677416</cx:pt>
          <cx:pt idx="1225">51.41935483870968</cx:pt>
          <cx:pt idx="1226">51.41935483870968</cx:pt>
          <cx:pt idx="1227">51.70967741935484</cx:pt>
          <cx:pt idx="1228">51.483870967741936</cx:pt>
          <cx:pt idx="1229">51.322580645161288</cx:pt>
          <cx:pt idx="1230">51.516129032258064</cx:pt>
          <cx:pt idx="1231">51.516129032258064</cx:pt>
          <cx:pt idx="1232">51.483870967741936</cx:pt>
          <cx:pt idx="1233">51.645161290322584</cx:pt>
          <cx:pt idx="1234">51.87096774193548</cx:pt>
          <cx:pt idx="1235">51.903225806451616</cx:pt>
          <cx:pt idx="1236">52.161290322580648</cx:pt>
          <cx:pt idx="1237">52.225806451612904</cx:pt>
          <cx:pt idx="1238">52.29032258064516</cx:pt>
          <cx:pt idx="1239">52.483870967741936</cx:pt>
          <cx:pt idx="1240">52.41935483870968</cx:pt>
          <cx:pt idx="1241">52.612903225806448</cx:pt>
          <cx:pt idx="1242">52.838709677419352</cx:pt>
          <cx:pt idx="1243">52.741935483870968</cx:pt>
          <cx:pt idx="1244">52.774193548387096</cx:pt>
          <cx:pt idx="1245">52.806451612903224</cx:pt>
          <cx:pt idx="1246">52.741935483870968</cx:pt>
          <cx:pt idx="1247">52.838709677419352</cx:pt>
          <cx:pt idx="1248">52.935483870967744</cx:pt>
          <cx:pt idx="1249">52.967741935483872</cx:pt>
          <cx:pt idx="1250">53</cx:pt>
          <cx:pt idx="1251">53</cx:pt>
          <cx:pt idx="1252">52.903225806451616</cx:pt>
          <cx:pt idx="1253">52.87096774193548</cx:pt>
          <cx:pt idx="1254">53.064516129032256</cx:pt>
          <cx:pt idx="1255">53.096774193548384</cx:pt>
          <cx:pt idx="1256">53.064516129032256</cx:pt>
          <cx:pt idx="1257">53.12903225806452</cx:pt>
          <cx:pt idx="1258">53.096774193548384</cx:pt>
          <cx:pt idx="1259">53.322580645161288</cx:pt>
          <cx:pt idx="1260">53.483870967741936</cx:pt>
          <cx:pt idx="1261">53.387096774193552</cx:pt>
          <cx:pt idx="1262">53.387096774193552</cx:pt>
          <cx:pt idx="1263">53.451612903225808</cx:pt>
          <cx:pt idx="1264">53.451612903225808</cx:pt>
          <cx:pt idx="1265">53.451612903225808</cx:pt>
          <cx:pt idx="1266">53.516129032258064</cx:pt>
          <cx:pt idx="1267">53.516129032258064</cx:pt>
          <cx:pt idx="1268">53.516129032258064</cx:pt>
          <cx:pt idx="1269">53.516129032258064</cx:pt>
          <cx:pt idx="1270">53.483870967741936</cx:pt>
          <cx:pt idx="1271">53.483870967741936</cx:pt>
          <cx:pt idx="1272">53.483870967741936</cx:pt>
          <cx:pt idx="1273">53.451612903225808</cx:pt>
          <cx:pt idx="1274">53.516129032258064</cx:pt>
          <cx:pt idx="1275">53.41935483870968</cx:pt>
          <cx:pt idx="1276">53.193548387096776</cx:pt>
          <cx:pt idx="1277">53.161290322580648</cx:pt>
          <cx:pt idx="1278">53.12903225806452</cx:pt>
          <cx:pt idx="1279">53.032258064516128</cx:pt>
          <cx:pt idx="1280">52.935483870967744</cx:pt>
          <cx:pt idx="1281">52.645161290322584</cx:pt>
          <cx:pt idx="1282">52.677419354838712</cx:pt>
          <cx:pt idx="1283">52.645161290322584</cx:pt>
          <cx:pt idx="1284">52.451612903225808</cx:pt>
          <cx:pt idx="1285">52.387096774193552</cx:pt>
          <cx:pt idx="1286">52.225806451612904</cx:pt>
          <cx:pt idx="1287">52</cx:pt>
          <cx:pt idx="1288">51.806451612903224</cx:pt>
          <cx:pt idx="1289">51.516129032258064</cx:pt>
          <cx:pt idx="1290">51.258064516129032</cx:pt>
          <cx:pt idx="1291">51.161290322580648</cx:pt>
          <cx:pt idx="1292">50.935483870967744</cx:pt>
          <cx:pt idx="1293">50.967741935483872</cx:pt>
          <cx:pt idx="1294">50.70967741935484</cx:pt>
          <cx:pt idx="1295">50.516129032258064</cx:pt>
          <cx:pt idx="1296">50.29032258064516</cx:pt>
          <cx:pt idx="1297">50.161290322580648</cx:pt>
          <cx:pt idx="1298">50.064516129032256</cx:pt>
          <cx:pt idx="1299">49.935483870967744</cx:pt>
          <cx:pt idx="1300">49.967741935483872</cx:pt>
          <cx:pt idx="1301">49.774193548387096</cx:pt>
          <cx:pt idx="1302">49.87096774193548</cx:pt>
          <cx:pt idx="1303">49.774193548387096</cx:pt>
          <cx:pt idx="1304">49.838709677419352</cx:pt>
          <cx:pt idx="1305">49.645161290322584</cx:pt>
          <cx:pt idx="1306">49.677419354838712</cx:pt>
          <cx:pt idx="1307">49.935483870967744</cx:pt>
          <cx:pt idx="1308">50.032258064516128</cx:pt>
          <cx:pt idx="1309">50.064516129032256</cx:pt>
          <cx:pt idx="1310">49.967741935483872</cx:pt>
          <cx:pt idx="1311">50</cx:pt>
          <cx:pt idx="1312">50.12903225806452</cx:pt>
          <cx:pt idx="1313">50.193548387096776</cx:pt>
          <cx:pt idx="1314">50.29032258064516</cx:pt>
          <cx:pt idx="1315">50.387096774193552</cx:pt>
          <cx:pt idx="1316">50.161290322580648</cx:pt>
          <cx:pt idx="1317">50.032258064516128</cx:pt>
          <cx:pt idx="1318">50.064516129032256</cx:pt>
          <cx:pt idx="1319">50.032258064516128</cx:pt>
          <cx:pt idx="1320">50.322580645161288</cx:pt>
          <cx:pt idx="1321">50.58064516129032</cx:pt>
          <cx:pt idx="1322">50.58064516129032</cx:pt>
          <cx:pt idx="1323">50.838709677419352</cx:pt>
          <cx:pt idx="1324">50.741935483870968</cx:pt>
          <cx:pt idx="1325">50.87096774193548</cx:pt>
          <cx:pt idx="1326">51.064516129032256</cx:pt>
          <cx:pt idx="1327">51.161290322580648</cx:pt>
          <cx:pt idx="1328">51</cx:pt>
          <cx:pt idx="1329">51.064516129032256</cx:pt>
          <cx:pt idx="1330">51.12903225806452</cx:pt>
          <cx:pt idx="1331">51</cx:pt>
          <cx:pt idx="1332">51.032258064516128</cx:pt>
          <cx:pt idx="1333">50.741935483870968</cx:pt>
          <cx:pt idx="1334">50.58064516129032</cx:pt>
          <cx:pt idx="1335">50.548387096774192</cx:pt>
          <cx:pt idx="1336">50.774193548387096</cx:pt>
          <cx:pt idx="1337">50.645161290322584</cx:pt>
          <cx:pt idx="1338">50.322580645161288</cx:pt>
          <cx:pt idx="1339">50.29032258064516</cx:pt>
          <cx:pt idx="1340">50.225806451612904</cx:pt>
          <cx:pt idx="1341">50.193548387096776</cx:pt>
          <cx:pt idx="1342">49.967741935483872</cx:pt>
          <cx:pt idx="1343">49.903225806451616</cx:pt>
          <cx:pt idx="1344">49.612903225806448</cx:pt>
          <cx:pt idx="1345">49.451612903225808</cx:pt>
          <cx:pt idx="1346">49.516129032258064</cx:pt>
          <cx:pt idx="1347">49.70967741935484</cx:pt>
          <cx:pt idx="1348">49.967741935483872</cx:pt>
          <cx:pt idx="1349">49.903225806451616</cx:pt>
          <cx:pt idx="1350">50.096774193548384</cx:pt>
          <cx:pt idx="1351">49.903225806451616</cx:pt>
          <cx:pt idx="1352">49.806451612903224</cx:pt>
          <cx:pt idx="1353">49.645161290322584</cx:pt>
          <cx:pt idx="1354">49.483870967741936</cx:pt>
          <cx:pt idx="1355">49.483870967741936</cx:pt>
          <cx:pt idx="1356">49.387096774193552</cx:pt>
          <cx:pt idx="1357">49.29032258064516</cx:pt>
          <cx:pt idx="1358">49.258064516129032</cx:pt>
          <cx:pt idx="1359">49.387096774193552</cx:pt>
          <cx:pt idx="1360">49.161290322580648</cx:pt>
          <cx:pt idx="1361">49.193548387096776</cx:pt>
          <cx:pt idx="1362">49.096774193548384</cx:pt>
          <cx:pt idx="1363">49.064516129032256</cx:pt>
          <cx:pt idx="1364">49.193548387096776</cx:pt>
          <cx:pt idx="1365">49.258064516129032</cx:pt>
          <cx:pt idx="1366">49.161290322580648</cx:pt>
          <cx:pt idx="1367">49.032258064516128</cx:pt>
          <cx:pt idx="1368">49</cx:pt>
          <cx:pt idx="1369">49</cx:pt>
          <cx:pt idx="1370">48.87096774193548</cx:pt>
          <cx:pt idx="1371">48.87096774193548</cx:pt>
          <cx:pt idx="1372">49.12903225806452</cx:pt>
          <cx:pt idx="1373">49.354838709677416</cx:pt>
          <cx:pt idx="1374">49.354838709677416</cx:pt>
          <cx:pt idx="1375">49.483870967741936</cx:pt>
          <cx:pt idx="1376">49.451612903225808</cx:pt>
          <cx:pt idx="1377">49.29032258064516</cx:pt>
          <cx:pt idx="1378">49.161290322580648</cx:pt>
          <cx:pt idx="1379">48.967741935483872</cx:pt>
          <cx:pt idx="1380">49.12903225806452</cx:pt>
          <cx:pt idx="1381">49.064516129032256</cx:pt>
          <cx:pt idx="1382">49</cx:pt>
          <cx:pt idx="1383">48.87096774193548</cx:pt>
          <cx:pt idx="1384">49.193548387096776</cx:pt>
          <cx:pt idx="1385">49.41935483870968</cx:pt>
          <cx:pt idx="1386">49.225806451612904</cx:pt>
          <cx:pt idx="1387">49.29032258064516</cx:pt>
          <cx:pt idx="1388">49.161290322580648</cx:pt>
          <cx:pt idx="1389">49.258064516129032</cx:pt>
          <cx:pt idx="1390">49.258064516129032</cx:pt>
          <cx:pt idx="1391">49.451612903225808</cx:pt>
          <cx:pt idx="1392">49.483870967741936</cx:pt>
          <cx:pt idx="1393">49.548387096774192</cx:pt>
          <cx:pt idx="1394">49.645161290322584</cx:pt>
          <cx:pt idx="1395">49.645161290322584</cx:pt>
          <cx:pt idx="1396">49.806451612903224</cx:pt>
          <cx:pt idx="1397">49.903225806451616</cx:pt>
          <cx:pt idx="1398">49.935483870967744</cx:pt>
          <cx:pt idx="1399">50.096774193548384</cx:pt>
          <cx:pt idx="1400">50.354838709677416</cx:pt>
          <cx:pt idx="1401">50.451612903225808</cx:pt>
          <cx:pt idx="1402">50.387096774193552</cx:pt>
          <cx:pt idx="1403">50.41935483870968</cx:pt>
          <cx:pt idx="1404">50.483870967741936</cx:pt>
          <cx:pt idx="1405">50.58064516129032</cx:pt>
          <cx:pt idx="1406">50.741935483870968</cx:pt>
          <cx:pt idx="1407">50.935483870967744</cx:pt>
          <cx:pt idx="1408">51.193548387096776</cx:pt>
          <cx:pt idx="1409">51.41935483870968</cx:pt>
          <cx:pt idx="1410">51.322580645161288</cx:pt>
          <cx:pt idx="1411">51.193548387096776</cx:pt>
          <cx:pt idx="1412">51.193548387096776</cx:pt>
          <cx:pt idx="1413">51.29032258064516</cx:pt>
          <cx:pt idx="1414">51.354838709677416</cx:pt>
          <cx:pt idx="1415">51.12903225806452</cx:pt>
          <cx:pt idx="1416">50.87096774193548</cx:pt>
          <cx:pt idx="1417">50.967741935483872</cx:pt>
          <cx:pt idx="1418">51.12903225806452</cx:pt>
          <cx:pt idx="1419">51.258064516129032</cx:pt>
          <cx:pt idx="1420">51.032258064516128</cx:pt>
          <cx:pt idx="1421">51.032258064516128</cx:pt>
          <cx:pt idx="1422">51.161290322580648</cx:pt>
          <cx:pt idx="1423">51.161290322580648</cx:pt>
          <cx:pt idx="1424">51.032258064516128</cx:pt>
          <cx:pt idx="1425">50.838709677419352</cx:pt>
          <cx:pt idx="1426">50.774193548387096</cx:pt>
          <cx:pt idx="1427">50.774193548387096</cx:pt>
          <cx:pt idx="1428">50.70967741935484</cx:pt>
          <cx:pt idx="1429">50.774193548387096</cx:pt>
          <cx:pt idx="1430">50.677419354838712</cx:pt>
          <cx:pt idx="1431">50.483870967741936</cx:pt>
          <cx:pt idx="1432">50.516129032258064</cx:pt>
          <cx:pt idx="1433">50.387096774193552</cx:pt>
          <cx:pt idx="1434">50.258064516129032</cx:pt>
          <cx:pt idx="1435">50.258064516129032</cx:pt>
          <cx:pt idx="1436">50.354838709677416</cx:pt>
          <cx:pt idx="1437">50.225806451612904</cx:pt>
          <cx:pt idx="1438">50.064516129032256</cx:pt>
          <cx:pt idx="1439">49.967741935483872</cx:pt>
          <cx:pt idx="1440">49.677419354838712</cx:pt>
          <cx:pt idx="1441">49.70967741935484</cx:pt>
          <cx:pt idx="1442">49.70967741935484</cx:pt>
          <cx:pt idx="1443">49.70967741935484</cx:pt>
          <cx:pt idx="1444">49.87096774193548</cx:pt>
          <cx:pt idx="1445">49.967741935483872</cx:pt>
          <cx:pt idx="1446">50.032258064516128</cx:pt>
          <cx:pt idx="1447">50.064516129032256</cx:pt>
          <cx:pt idx="1448">50.193548387096776</cx:pt>
          <cx:pt idx="1449">50.225806451612904</cx:pt>
          <cx:pt idx="1450">50.064516129032256</cx:pt>
          <cx:pt idx="1451">50.322580645161288</cx:pt>
          <cx:pt idx="1452">50.387096774193552</cx:pt>
          <cx:pt idx="1453">50.161290322580648</cx:pt>
          <cx:pt idx="1454">50.096774193548384</cx:pt>
          <cx:pt idx="1455">50.161290322580648</cx:pt>
          <cx:pt idx="1456">50.29032258064516</cx:pt>
          <cx:pt idx="1457">50.451612903225808</cx:pt>
          <cx:pt idx="1458">50.322580645161288</cx:pt>
          <cx:pt idx="1459">50.161290322580648</cx:pt>
          <cx:pt idx="1460">49.903225806451616</cx:pt>
          <cx:pt idx="1461">50.032258064516128</cx:pt>
          <cx:pt idx="1462">50.12903225806452</cx:pt>
          <cx:pt idx="1463">49.838709677419352</cx:pt>
          <cx:pt idx="1464">50</cx:pt>
          <cx:pt idx="1465">49.87096774193548</cx:pt>
          <cx:pt idx="1466">49.645161290322584</cx:pt>
          <cx:pt idx="1467">49.612903225806448</cx:pt>
          <cx:pt idx="1468">49.645161290322584</cx:pt>
          <cx:pt idx="1469">49.838709677419352</cx:pt>
          <cx:pt idx="1470">49.903225806451616</cx:pt>
          <cx:pt idx="1471">50.225806451612904</cx:pt>
          <cx:pt idx="1472">50.41935483870968</cx:pt>
          <cx:pt idx="1473">50.645161290322584</cx:pt>
          <cx:pt idx="1474">50.806451612903224</cx:pt>
          <cx:pt idx="1475">50.838709677419352</cx:pt>
          <cx:pt idx="1476">50.903225806451616</cx:pt>
          <cx:pt idx="1477">51.032258064516128</cx:pt>
          <cx:pt idx="1478">51.258064516129032</cx:pt>
          <cx:pt idx="1479">51.322580645161288</cx:pt>
          <cx:pt idx="1480">51.225806451612904</cx:pt>
          <cx:pt idx="1481">51.258064516129032</cx:pt>
          <cx:pt idx="1482">51.258064516129032</cx:pt>
          <cx:pt idx="1483">51.193548387096776</cx:pt>
          <cx:pt idx="1484">51.322580645161288</cx:pt>
          <cx:pt idx="1485">51.451612903225808</cx:pt>
          <cx:pt idx="1486">51.58064516129032</cx:pt>
          <cx:pt idx="1487">51.516129032258064</cx:pt>
          <cx:pt idx="1488">51.258064516129032</cx:pt>
          <cx:pt idx="1489">51.387096774193552</cx:pt>
          <cx:pt idx="1490">51.516129032258064</cx:pt>
          <cx:pt idx="1491">51.806451612903224</cx:pt>
          <cx:pt idx="1492">51.741935483870968</cx:pt>
          <cx:pt idx="1493">51.903225806451616</cx:pt>
          <cx:pt idx="1494">52.032258064516128</cx:pt>
          <cx:pt idx="1495">51.806451612903224</cx:pt>
          <cx:pt idx="1496">51.903225806451616</cx:pt>
          <cx:pt idx="1497">51.87096774193548</cx:pt>
          <cx:pt idx="1498">51.806451612903224</cx:pt>
          <cx:pt idx="1499">51.741935483870968</cx:pt>
          <cx:pt idx="1500">51.741935483870968</cx:pt>
          <cx:pt idx="1501">51.774193548387096</cx:pt>
          <cx:pt idx="1502">51.516129032258064</cx:pt>
          <cx:pt idx="1503">51.29032258064516</cx:pt>
          <cx:pt idx="1504">51.258064516129032</cx:pt>
          <cx:pt idx="1505">51.096774193548384</cx:pt>
          <cx:pt idx="1506">51.096774193548384</cx:pt>
          <cx:pt idx="1507">50.935483870967744</cx:pt>
          <cx:pt idx="1508">50.645161290322584</cx:pt>
          <cx:pt idx="1509">50.354838709677416</cx:pt>
          <cx:pt idx="1510">50.193548387096776</cx:pt>
          <cx:pt idx="1511">50</cx:pt>
          <cx:pt idx="1512">49.967741935483872</cx:pt>
          <cx:pt idx="1513">49.774193548387096</cx:pt>
          <cx:pt idx="1514">49.838709677419352</cx:pt>
          <cx:pt idx="1515">49.774193548387096</cx:pt>
          <cx:pt idx="1516">49.612903225806448</cx:pt>
          <cx:pt idx="1517">49.612903225806448</cx:pt>
          <cx:pt idx="1518">49.612903225806448</cx:pt>
          <cx:pt idx="1519">49.806451612903224</cx:pt>
          <cx:pt idx="1520">49.548387096774192</cx:pt>
          <cx:pt idx="1521">49.516129032258064</cx:pt>
          <cx:pt idx="1522">49.41935483870968</cx:pt>
          <cx:pt idx="1523">49.483870967741936</cx:pt>
          <cx:pt idx="1524">49.29032258064516</cx:pt>
          <cx:pt idx="1525">49.41935483870968</cx:pt>
          <cx:pt idx="1526">49.41935483870968</cx:pt>
          <cx:pt idx="1527">49.483870967741936</cx:pt>
          <cx:pt idx="1528">49.451612903225808</cx:pt>
          <cx:pt idx="1529">49.354838709677416</cx:pt>
          <cx:pt idx="1530">49.516129032258064</cx:pt>
          <cx:pt idx="1531">49.483870967741936</cx:pt>
          <cx:pt idx="1532">49.451612903225808</cx:pt>
          <cx:pt idx="1533">49.516129032258064</cx:pt>
          <cx:pt idx="1534">49.774193548387096</cx:pt>
          <cx:pt idx="1535">49.58064516129032</cx:pt>
          <cx:pt idx="1536">49.677419354838712</cx:pt>
          <cx:pt idx="1537">49.677419354838712</cx:pt>
          <cx:pt idx="1538">49.806451612903224</cx:pt>
          <cx:pt idx="1539">49.967741935483872</cx:pt>
          <cx:pt idx="1540">50.064516129032256</cx:pt>
          <cx:pt idx="1541">49.935483870967744</cx:pt>
          <cx:pt idx="1542">50.225806451612904</cx:pt>
          <cx:pt idx="1543">50.225806451612904</cx:pt>
          <cx:pt idx="1544">50.41935483870968</cx:pt>
          <cx:pt idx="1545">50.451612903225808</cx:pt>
          <cx:pt idx="1546">50.483870967741936</cx:pt>
          <cx:pt idx="1547">50.645161290322584</cx:pt>
          <cx:pt idx="1548">50.70967741935484</cx:pt>
          <cx:pt idx="1549">50.677419354838712</cx:pt>
          <cx:pt idx="1550">50.516129032258064</cx:pt>
          <cx:pt idx="1551">50.741935483870968</cx:pt>
          <cx:pt idx="1552">50.87096774193548</cx:pt>
          <cx:pt idx="1553">50.935483870967744</cx:pt>
          <cx:pt idx="1554">50.677419354838712</cx:pt>
          <cx:pt idx="1555">50.87096774193548</cx:pt>
          <cx:pt idx="1556">50.838709677419352</cx:pt>
          <cx:pt idx="1557">50.967741935483872</cx:pt>
          <cx:pt idx="1558">50.87096774193548</cx:pt>
          <cx:pt idx="1559">51.12903225806452</cx:pt>
          <cx:pt idx="1560">51.29032258064516</cx:pt>
          <cx:pt idx="1561">51.193548387096776</cx:pt>
          <cx:pt idx="1562">51.225806451612904</cx:pt>
          <cx:pt idx="1563">51.032258064516128</cx:pt>
          <cx:pt idx="1564">51.161290322580648</cx:pt>
          <cx:pt idx="1565">50.935483870967744</cx:pt>
          <cx:pt idx="1566">51.193548387096776</cx:pt>
          <cx:pt idx="1567">51.096774193548384</cx:pt>
          <cx:pt idx="1568">51.096774193548384</cx:pt>
          <cx:pt idx="1569">51.032258064516128</cx:pt>
          <cx:pt idx="1570">50.935483870967744</cx:pt>
          <cx:pt idx="1571">51.032258064516128</cx:pt>
          <cx:pt idx="1572">51.032258064516128</cx:pt>
          <cx:pt idx="1573">50.903225806451616</cx:pt>
          <cx:pt idx="1574">51.064516129032256</cx:pt>
          <cx:pt idx="1575">51</cx:pt>
          <cx:pt idx="1576">50.87096774193548</cx:pt>
          <cx:pt idx="1577">50.70967741935484</cx:pt>
          <cx:pt idx="1578">50.677419354838712</cx:pt>
          <cx:pt idx="1579">50.612903225806448</cx:pt>
          <cx:pt idx="1580">50.87096774193548</cx:pt>
          <cx:pt idx="1581">50.838709677419352</cx:pt>
          <cx:pt idx="1582">50.838709677419352</cx:pt>
          <cx:pt idx="1583">50.612903225806448</cx:pt>
          <cx:pt idx="1584">50.451612903225808</cx:pt>
          <cx:pt idx="1585">50.58064516129032</cx:pt>
          <cx:pt idx="1586">50.58064516129032</cx:pt>
          <cx:pt idx="1587">50.41935483870968</cx:pt>
          <cx:pt idx="1588">50.387096774193552</cx:pt>
          <cx:pt idx="1589">50.612903225806448</cx:pt>
          <cx:pt idx="1590">50.41935483870968</cx:pt>
          <cx:pt idx="1591">50.451612903225808</cx:pt>
          <cx:pt idx="1592">50.516129032258064</cx:pt>
          <cx:pt idx="1593">50.29032258064516</cx:pt>
          <cx:pt idx="1594">50.483870967741936</cx:pt>
          <cx:pt idx="1595">50.483870967741936</cx:pt>
          <cx:pt idx="1596">50.741935483870968</cx:pt>
          <cx:pt idx="1597">50.58064516129032</cx:pt>
          <cx:pt idx="1598">50.58064516129032</cx:pt>
          <cx:pt idx="1599">50.548387096774192</cx:pt>
          <cx:pt idx="1600">50.516129032258064</cx:pt>
          <cx:pt idx="1601">50.70967741935484</cx:pt>
          <cx:pt idx="1602">50.516129032258064</cx:pt>
          <cx:pt idx="1603">50.806451612903224</cx:pt>
          <cx:pt idx="1604">50.903225806451616</cx:pt>
          <cx:pt idx="1605">50.935483870967744</cx:pt>
          <cx:pt idx="1606">50.806451612903224</cx:pt>
          <cx:pt idx="1607">51</cx:pt>
          <cx:pt idx="1608">50.967741935483872</cx:pt>
          <cx:pt idx="1609">50.903225806451616</cx:pt>
          <cx:pt idx="1610">50.774193548387096</cx:pt>
          <cx:pt idx="1611">50.548387096774192</cx:pt>
          <cx:pt idx="1612">50.774193548387096</cx:pt>
          <cx:pt idx="1613">50.58064516129032</cx:pt>
          <cx:pt idx="1614">50.612903225806448</cx:pt>
          <cx:pt idx="1615">50.677419354838712</cx:pt>
          <cx:pt idx="1616">50.838709677419352</cx:pt>
          <cx:pt idx="1617">50.806451612903224</cx:pt>
          <cx:pt idx="1618">51.032258064516128</cx:pt>
          <cx:pt idx="1619">51.096774193548384</cx:pt>
          <cx:pt idx="1620">50.87096774193548</cx:pt>
          <cx:pt idx="1621">51.096774193548384</cx:pt>
          <cx:pt idx="1622">51.032258064516128</cx:pt>
          <cx:pt idx="1623">50.741935483870968</cx:pt>
          <cx:pt idx="1624">50.677419354838712</cx:pt>
          <cx:pt idx="1625">50.645161290322584</cx:pt>
          <cx:pt idx="1626">50.677419354838712</cx:pt>
          <cx:pt idx="1627">50.516129032258064</cx:pt>
          <cx:pt idx="1628">50.548387096774192</cx:pt>
          <cx:pt idx="1629">50.451612903225808</cx:pt>
          <cx:pt idx="1630">50.41935483870968</cx:pt>
          <cx:pt idx="1631">50.548387096774192</cx:pt>
          <cx:pt idx="1632">50.58064516129032</cx:pt>
          <cx:pt idx="1633">50.677419354838712</cx:pt>
          <cx:pt idx="1634">50.387096774193552</cx:pt>
          <cx:pt idx="1635">50.225806451612904</cx:pt>
          <cx:pt idx="1636">50.354838709677416</cx:pt>
          <cx:pt idx="1637">50.483870967741936</cx:pt>
          <cx:pt idx="1638">50.29032258064516</cx:pt>
          <cx:pt idx="1639">50.41935483870968</cx:pt>
          <cx:pt idx="1640">50.29032258064516</cx:pt>
          <cx:pt idx="1641">50.29032258064516</cx:pt>
          <cx:pt idx="1642">50.354838709677416</cx:pt>
          <cx:pt idx="1643">50.451612903225808</cx:pt>
          <cx:pt idx="1644">50.548387096774192</cx:pt>
          <cx:pt idx="1645">50.645161290322584</cx:pt>
          <cx:pt idx="1646">50.483870967741936</cx:pt>
          <cx:pt idx="1647">50.41935483870968</cx:pt>
          <cx:pt idx="1648">50.41935483870968</cx:pt>
          <cx:pt idx="1649">50.451612903225808</cx:pt>
          <cx:pt idx="1650">50.387096774193552</cx:pt>
          <cx:pt idx="1651">50.58064516129032</cx:pt>
          <cx:pt idx="1652">50.548387096774192</cx:pt>
          <cx:pt idx="1653">50.677419354838712</cx:pt>
          <cx:pt idx="1654">50.806451612903224</cx:pt>
          <cx:pt idx="1655">50.838709677419352</cx:pt>
          <cx:pt idx="1656">50.677419354838712</cx:pt>
          <cx:pt idx="1657">50.451612903225808</cx:pt>
          <cx:pt idx="1658">50.645161290322584</cx:pt>
          <cx:pt idx="1659">50.645161290322584</cx:pt>
          <cx:pt idx="1660">50.87096774193548</cx:pt>
          <cx:pt idx="1661">50.838709677419352</cx:pt>
          <cx:pt idx="1662">50.70967741935484</cx:pt>
          <cx:pt idx="1663">50.41935483870968</cx:pt>
          <cx:pt idx="1664">50.516129032258064</cx:pt>
          <cx:pt idx="1665">50.58064516129032</cx:pt>
          <cx:pt idx="1666">50.677419354838712</cx:pt>
          <cx:pt idx="1667">50.387096774193552</cx:pt>
          <cx:pt idx="1668">50.483870967741936</cx:pt>
          <cx:pt idx="1669">50.451612903225808</cx:pt>
          <cx:pt idx="1670">50.645161290322584</cx:pt>
          <cx:pt idx="1671">50.774193548387096</cx:pt>
          <cx:pt idx="1672">50.87096774193548</cx:pt>
          <cx:pt idx="1673">50.806451612903224</cx:pt>
          <cx:pt idx="1674">50.806451612903224</cx:pt>
          <cx:pt idx="1675">50.935483870967744</cx:pt>
          <cx:pt idx="1676">50.741935483870968</cx:pt>
          <cx:pt idx="1677">50.838709677419352</cx:pt>
          <cx:pt idx="1678">50.87096774193548</cx:pt>
          <cx:pt idx="1679">50.58064516129032</cx:pt>
          <cx:pt idx="1680">50.322580645161288</cx:pt>
          <cx:pt idx="1681">50.354838709677416</cx:pt>
          <cx:pt idx="1682">50.225806451612904</cx:pt>
          <cx:pt idx="1683">50.096774193548384</cx:pt>
          <cx:pt idx="1684">50.064516129032256</cx:pt>
          <cx:pt idx="1685">50.258064516129032</cx:pt>
          <cx:pt idx="1686">50.41935483870968</cx:pt>
          <cx:pt idx="1687">50.58064516129032</cx:pt>
          <cx:pt idx="1688">50.645161290322584</cx:pt>
          <cx:pt idx="1689">50.612903225806448</cx:pt>
          <cx:pt idx="1690">50.612903225806448</cx:pt>
          <cx:pt idx="1691">50.548387096774192</cx:pt>
          <cx:pt idx="1692">50.612903225806448</cx:pt>
          <cx:pt idx="1693">50.645161290322584</cx:pt>
          <cx:pt idx="1694">50.903225806451616</cx:pt>
          <cx:pt idx="1695">50.677419354838712</cx:pt>
          <cx:pt idx="1696">50.935483870967744</cx:pt>
          <cx:pt idx="1697">50.935483870967744</cx:pt>
          <cx:pt idx="1698">51.032258064516128</cx:pt>
          <cx:pt idx="1699">50.967741935483872</cx:pt>
          <cx:pt idx="1700">51.161290322580648</cx:pt>
          <cx:pt idx="1701">51.161290322580648</cx:pt>
          <cx:pt idx="1702">51.258064516129032</cx:pt>
          <cx:pt idx="1703">51.41935483870968</cx:pt>
          <cx:pt idx="1704">51.58064516129032</cx:pt>
          <cx:pt idx="1705">51.58064516129032</cx:pt>
          <cx:pt idx="1706">51.548387096774192</cx:pt>
          <cx:pt idx="1707">51.87096774193548</cx:pt>
          <cx:pt idx="1708">52.032258064516128</cx:pt>
          <cx:pt idx="1709">52</cx:pt>
          <cx:pt idx="1710">52.29032258064516</cx:pt>
          <cx:pt idx="1711">52.451612903225808</cx:pt>
          <cx:pt idx="1712">52.645161290322584</cx:pt>
          <cx:pt idx="1713">52.70967741935484</cx:pt>
          <cx:pt idx="1714">52.774193548387096</cx:pt>
          <cx:pt idx="1715">52.741935483870968</cx:pt>
          <cx:pt idx="1716">52.645161290322584</cx:pt>
          <cx:pt idx="1717">52.645161290322584</cx:pt>
          <cx:pt idx="1718">52.741935483870968</cx:pt>
          <cx:pt idx="1719">52.838709677419352</cx:pt>
          <cx:pt idx="1720">52.806451612903224</cx:pt>
          <cx:pt idx="1721">52.903225806451616</cx:pt>
          <cx:pt idx="1722">52.967741935483872</cx:pt>
          <cx:pt idx="1723">53</cx:pt>
          <cx:pt idx="1724">53.064516129032256</cx:pt>
          <cx:pt idx="1725">53.12903225806452</cx:pt>
          <cx:pt idx="1726">53.451612903225808</cx:pt>
          <cx:pt idx="1727">53.387096774193552</cx:pt>
          <cx:pt idx="1728">53.451612903225808</cx:pt>
          <cx:pt idx="1729">53.58064516129032</cx:pt>
          <cx:pt idx="1730">53.58064516129032</cx:pt>
          <cx:pt idx="1731">53.548387096774192</cx:pt>
          <cx:pt idx="1732">53.483870967741936</cx:pt>
          <cx:pt idx="1733">53.41935483870968</cx:pt>
          <cx:pt idx="1734">53.354838709677416</cx:pt>
          <cx:pt idx="1735">53.387096774193552</cx:pt>
          <cx:pt idx="1736">53.29032258064516</cx:pt>
          <cx:pt idx="1737">53.322580645161288</cx:pt>
          <cx:pt idx="1738">53.322580645161288</cx:pt>
          <cx:pt idx="1739">53.258064516129032</cx:pt>
          <cx:pt idx="1740">53.29032258064516</cx:pt>
          <cx:pt idx="1741">53.225806451612904</cx:pt>
          <cx:pt idx="1742">53.258064516129032</cx:pt>
          <cx:pt idx="1743">52.967741935483872</cx:pt>
          <cx:pt idx="1744">52.806451612903224</cx:pt>
          <cx:pt idx="1745">52.645161290322584</cx:pt>
          <cx:pt idx="1746">52.516129032258064</cx:pt>
          <cx:pt idx="1747">52.322580645161288</cx:pt>
          <cx:pt idx="1748">52.161290322580648</cx:pt>
          <cx:pt idx="1749">51.87096774193548</cx:pt>
          <cx:pt idx="1750">51.677419354838712</cx:pt>
          <cx:pt idx="1751">51.70967741935484</cx:pt>
          <cx:pt idx="1752">51.483870967741936</cx:pt>
          <cx:pt idx="1753">51.451612903225808</cx:pt>
          <cx:pt idx="1754">51.322580645161288</cx:pt>
          <cx:pt idx="1755">51.225806451612904</cx:pt>
          <cx:pt idx="1756">50.967741935483872</cx:pt>
          <cx:pt idx="1757">50.645161290322584</cx:pt>
          <cx:pt idx="1758">50.70967741935484</cx:pt>
          <cx:pt idx="1759">50.548387096774192</cx:pt>
          <cx:pt idx="1760">50.354838709677416</cx:pt>
          <cx:pt idx="1761">50.29032258064516</cx:pt>
          <cx:pt idx="1762">50.29032258064516</cx:pt>
          <cx:pt idx="1763">50.161290322580648</cx:pt>
          <cx:pt idx="1764">50.161290322580648</cx:pt>
          <cx:pt idx="1765">49.967741935483872</cx:pt>
          <cx:pt idx="1766">49.967741935483872</cx:pt>
          <cx:pt idx="1767">49.806451612903224</cx:pt>
          <cx:pt idx="1768">49.87096774193548</cx:pt>
          <cx:pt idx="1769">49.58064516129032</cx:pt>
          <cx:pt idx="1770">49.677419354838712</cx:pt>
          <cx:pt idx="1771">49.612903225806448</cx:pt>
          <cx:pt idx="1772">49.516129032258064</cx:pt>
          <cx:pt idx="1773">49.29032258064516</cx:pt>
          <cx:pt idx="1774">49.322580645161288</cx:pt>
          <cx:pt idx="1775">49.387096774193552</cx:pt>
          <cx:pt idx="1776">49.58064516129032</cx:pt>
          <cx:pt idx="1777">49.548387096774192</cx:pt>
          <cx:pt idx="1778">49.838709677419352</cx:pt>
          <cx:pt idx="1779">49.967741935483872</cx:pt>
          <cx:pt idx="1780">50.225806451612904</cx:pt>
          <cx:pt idx="1781">50.451612903225808</cx:pt>
          <cx:pt idx="1782">50.193548387096776</cx:pt>
          <cx:pt idx="1783">50.451612903225808</cx:pt>
          <cx:pt idx="1784">50.193548387096776</cx:pt>
          <cx:pt idx="1785">50.096774193548384</cx:pt>
          <cx:pt idx="1786">50</cx:pt>
          <cx:pt idx="1787">50.193548387096776</cx:pt>
          <cx:pt idx="1788">50.354838709677416</cx:pt>
          <cx:pt idx="1789">50.12903225806452</cx:pt>
          <cx:pt idx="1790">50.064516129032256</cx:pt>
          <cx:pt idx="1791">50.322580645161288</cx:pt>
          <cx:pt idx="1792">50.161290322580648</cx:pt>
          <cx:pt idx="1793">50.161290322580648</cx:pt>
          <cx:pt idx="1794">50.032258064516128</cx:pt>
          <cx:pt idx="1795">50.096774193548384</cx:pt>
          <cx:pt idx="1796">50.193548387096776</cx:pt>
          <cx:pt idx="1797">50.161290322580648</cx:pt>
          <cx:pt idx="1798">50.29032258064516</cx:pt>
          <cx:pt idx="1799">50.032258064516128</cx:pt>
          <cx:pt idx="1800">50.322580645161288</cx:pt>
          <cx:pt idx="1801">50.322580645161288</cx:pt>
          <cx:pt idx="1802">50.096774193548384</cx:pt>
          <cx:pt idx="1803">50.064516129032256</cx:pt>
          <cx:pt idx="1804">50.12903225806452</cx:pt>
          <cx:pt idx="1805">50.322580645161288</cx:pt>
          <cx:pt idx="1806">50.516129032258064</cx:pt>
          <cx:pt idx="1807">50.41935483870968</cx:pt>
          <cx:pt idx="1808">50.645161290322584</cx:pt>
          <cx:pt idx="1809">50.612903225806448</cx:pt>
          <cx:pt idx="1810">50.516129032258064</cx:pt>
          <cx:pt idx="1811">50.225806451612904</cx:pt>
          <cx:pt idx="1812">50.096774193548384</cx:pt>
          <cx:pt idx="1813">50.193548387096776</cx:pt>
          <cx:pt idx="1814">50.193548387096776</cx:pt>
          <cx:pt idx="1815">50.322580645161288</cx:pt>
          <cx:pt idx="1816">50.322580645161288</cx:pt>
          <cx:pt idx="1817">50.258064516129032</cx:pt>
          <cx:pt idx="1818">50</cx:pt>
          <cx:pt idx="1819">49.838709677419352</cx:pt>
          <cx:pt idx="1820">49.903225806451616</cx:pt>
          <cx:pt idx="1821">49.87096774193548</cx:pt>
          <cx:pt idx="1822">49.806451612903224</cx:pt>
          <cx:pt idx="1823">49.967741935483872</cx:pt>
          <cx:pt idx="1824">49.774193548387096</cx:pt>
          <cx:pt idx="1825">49.806451612903224</cx:pt>
          <cx:pt idx="1826">49.645161290322584</cx:pt>
          <cx:pt idx="1827">49.70967741935484</cx:pt>
          <cx:pt idx="1828">49.548387096774192</cx:pt>
          <cx:pt idx="1829">49.677419354838712</cx:pt>
          <cx:pt idx="1830">49.806451612903224</cx:pt>
          <cx:pt idx="1831">49.806451612903224</cx:pt>
          <cx:pt idx="1832">49.516129032258064</cx:pt>
          <cx:pt idx="1833">49.774193548387096</cx:pt>
          <cx:pt idx="1834">49.903225806451616</cx:pt>
          <cx:pt idx="1835">49.935483870967744</cx:pt>
          <cx:pt idx="1836">49.774193548387096</cx:pt>
          <cx:pt idx="1837">49.483870967741936</cx:pt>
          <cx:pt idx="1838">49.451612903225808</cx:pt>
          <cx:pt idx="1839">49.193548387096776</cx:pt>
          <cx:pt idx="1840">49.032258064516128</cx:pt>
          <cx:pt idx="1841">49.193548387096776</cx:pt>
          <cx:pt idx="1842">49.451612903225808</cx:pt>
          <cx:pt idx="1843">49.41935483870968</cx:pt>
          <cx:pt idx="1844">49.516129032258064</cx:pt>
          <cx:pt idx="1845">49.548387096774192</cx:pt>
          <cx:pt idx="1846">49.516129032258064</cx:pt>
          <cx:pt idx="1847">49.516129032258064</cx:pt>
          <cx:pt idx="1848">49.774193548387096</cx:pt>
          <cx:pt idx="1849">50</cx:pt>
          <cx:pt idx="1850">50.29032258064516</cx:pt>
          <cx:pt idx="1851">50.12903225806452</cx:pt>
          <cx:pt idx="1852">50.225806451612904</cx:pt>
          <cx:pt idx="1853">50</cx:pt>
          <cx:pt idx="1854">49.806451612903224</cx:pt>
          <cx:pt idx="1855">49.903225806451616</cx:pt>
          <cx:pt idx="1856">50.161290322580648</cx:pt>
          <cx:pt idx="1857">50.225806451612904</cx:pt>
          <cx:pt idx="1858">50.322580645161288</cx:pt>
          <cx:pt idx="1859">50.41935483870968</cx:pt>
          <cx:pt idx="1860">50.354838709677416</cx:pt>
          <cx:pt idx="1861">50.483870967741936</cx:pt>
          <cx:pt idx="1862">50.161290322580648</cx:pt>
          <cx:pt idx="1863">50.12903225806452</cx:pt>
          <cx:pt idx="1864">49.903225806451616</cx:pt>
          <cx:pt idx="1865">49.903225806451616</cx:pt>
          <cx:pt idx="1866">50</cx:pt>
          <cx:pt idx="1867">50.161290322580648</cx:pt>
          <cx:pt idx="1868">50.451612903225808</cx:pt>
          <cx:pt idx="1869">50.387096774193552</cx:pt>
          <cx:pt idx="1870">50.58064516129032</cx:pt>
          <cx:pt idx="1871">50.645161290322584</cx:pt>
          <cx:pt idx="1872">50.451612903225808</cx:pt>
          <cx:pt idx="1873">50.193548387096776</cx:pt>
          <cx:pt idx="1874">50.354838709677416</cx:pt>
          <cx:pt idx="1875">50.258064516129032</cx:pt>
          <cx:pt idx="1876">50.096774193548384</cx:pt>
          <cx:pt idx="1877">50.096774193548384</cx:pt>
          <cx:pt idx="1878">50.064516129032256</cx:pt>
          <cx:pt idx="1879">50.064516129032256</cx:pt>
          <cx:pt idx="1880">50.032258064516128</cx:pt>
          <cx:pt idx="1881">49.967741935483872</cx:pt>
          <cx:pt idx="1882">50.225806451612904</cx:pt>
          <cx:pt idx="1883">50.12903225806452</cx:pt>
          <cx:pt idx="1884">50.225806451612904</cx:pt>
          <cx:pt idx="1885">50.41935483870968</cx:pt>
          <cx:pt idx="1886">50.41935483870968</cx:pt>
          <cx:pt idx="1887">50.354838709677416</cx:pt>
          <cx:pt idx="1888">50.451612903225808</cx:pt>
          <cx:pt idx="1889">50.387096774193552</cx:pt>
          <cx:pt idx="1890">50.483870967741936</cx:pt>
          <cx:pt idx="1891">50.516129032258064</cx:pt>
          <cx:pt idx="1892">50.516129032258064</cx:pt>
          <cx:pt idx="1893">50.741935483870968</cx:pt>
          <cx:pt idx="1894">51.032258064516128</cx:pt>
          <cx:pt idx="1895">51.225806451612904</cx:pt>
          <cx:pt idx="1896">51.258064516129032</cx:pt>
          <cx:pt idx="1897">51.322580645161288</cx:pt>
          <cx:pt idx="1898">51.29032258064516</cx:pt>
          <cx:pt idx="1899">51.193548387096776</cx:pt>
          <cx:pt idx="1900">51.41935483870968</cx:pt>
          <cx:pt idx="1901">51.483870967741936</cx:pt>
          <cx:pt idx="1902">51.58064516129032</cx:pt>
          <cx:pt idx="1903">51.838709677419352</cx:pt>
          <cx:pt idx="1904">52.096774193548384</cx:pt>
          <cx:pt idx="1905">52.12903225806452</cx:pt>
          <cx:pt idx="1906">52.322580645161288</cx:pt>
          <cx:pt idx="1907">52.387096774193552</cx:pt>
          <cx:pt idx="1908">52.58064516129032</cx:pt>
          <cx:pt idx="1909">52.774193548387096</cx:pt>
          <cx:pt idx="1910">52.70967741935484</cx:pt>
          <cx:pt idx="1911">52.838709677419352</cx:pt>
          <cx:pt idx="1912">52.838709677419352</cx:pt>
          <cx:pt idx="1913">52.806451612903224</cx:pt>
          <cx:pt idx="1914">53.064516129032256</cx:pt>
          <cx:pt idx="1915">53.193548387096776</cx:pt>
          <cx:pt idx="1916">53.322580645161288</cx:pt>
          <cx:pt idx="1917">53.451612903225808</cx:pt>
          <cx:pt idx="1918">53.516129032258064</cx:pt>
          <cx:pt idx="1919">53.451612903225808</cx:pt>
          <cx:pt idx="1920">53.483870967741936</cx:pt>
          <cx:pt idx="1921">53.451612903225808</cx:pt>
          <cx:pt idx="1922">53.387096774193552</cx:pt>
          <cx:pt idx="1923">53.322580645161288</cx:pt>
          <cx:pt idx="1924">53.354838709677416</cx:pt>
          <cx:pt idx="1925">53.322580645161288</cx:pt>
          <cx:pt idx="1926">53.354838709677416</cx:pt>
          <cx:pt idx="1927">53.41935483870968</cx:pt>
          <cx:pt idx="1928">53.451612903225808</cx:pt>
          <cx:pt idx="1929">53.516129032258064</cx:pt>
          <cx:pt idx="1930">53.58064516129032</cx:pt>
          <cx:pt idx="1931">53.354838709677416</cx:pt>
          <cx:pt idx="1932">53.064516129032256</cx:pt>
          <cx:pt idx="1933">52.967741935483872</cx:pt>
          <cx:pt idx="1934">52.967741935483872</cx:pt>
          <cx:pt idx="1935">53</cx:pt>
          <cx:pt idx="1936">52.967741935483872</cx:pt>
          <cx:pt idx="1937">52.774193548387096</cx:pt>
          <cx:pt idx="1938">52.70967741935484</cx:pt>
          <cx:pt idx="1939">52.451612903225808</cx:pt>
          <cx:pt idx="1940">52.193548387096776</cx:pt>
          <cx:pt idx="1941">52.064516129032256</cx:pt>
          <cx:pt idx="1942">51.838709677419352</cx:pt>
          <cx:pt idx="1943">51.838709677419352</cx:pt>
          <cx:pt idx="1944">51.87096774193548</cx:pt>
          <cx:pt idx="1945">51.87096774193548</cx:pt>
          <cx:pt idx="1946">51.70967741935484</cx:pt>
          <cx:pt idx="1947">51.58064516129032</cx:pt>
          <cx:pt idx="1948">51.612903225806448</cx:pt>
          <cx:pt idx="1949">51.645161290322584</cx:pt>
          <cx:pt idx="1950">51.548387096774192</cx:pt>
          <cx:pt idx="1951">51.451612903225808</cx:pt>
          <cx:pt idx="1952">51.29032258064516</cx:pt>
          <cx:pt idx="1953">51.225806451612904</cx:pt>
          <cx:pt idx="1954">51.225806451612904</cx:pt>
          <cx:pt idx="1955">51.161290322580648</cx:pt>
          <cx:pt idx="1956">51.12903225806452</cx:pt>
          <cx:pt idx="1957">51</cx:pt>
          <cx:pt idx="1958">50.87096774193548</cx:pt>
          <cx:pt idx="1959">50.70967741935484</cx:pt>
          <cx:pt idx="1960">50.645161290322584</cx:pt>
          <cx:pt idx="1961">50.645161290322584</cx:pt>
          <cx:pt idx="1962">50.903225806451616</cx:pt>
          <cx:pt idx="1963">51.064516129032256</cx:pt>
          <cx:pt idx="1964">50.903225806451616</cx:pt>
          <cx:pt idx="1965">50.774193548387096</cx:pt>
          <cx:pt idx="1966">50.806451612903224</cx:pt>
          <cx:pt idx="1967">50.645161290322584</cx:pt>
          <cx:pt idx="1968">50.70967741935484</cx:pt>
          <cx:pt idx="1969">50.806451612903224</cx:pt>
          <cx:pt idx="1970">50.903225806451616</cx:pt>
          <cx:pt idx="1971">51.225806451612904</cx:pt>
          <cx:pt idx="1972">51.161290322580648</cx:pt>
          <cx:pt idx="1973">51.387096774193552</cx:pt>
          <cx:pt idx="1974">51.451612903225808</cx:pt>
          <cx:pt idx="1975">51.451612903225808</cx:pt>
          <cx:pt idx="1976">51.225806451612904</cx:pt>
          <cx:pt idx="1977">51.29032258064516</cx:pt>
          <cx:pt idx="1978">51.12903225806452</cx:pt>
          <cx:pt idx="1979">51.12903225806452</cx:pt>
          <cx:pt idx="1980">51.032258064516128</cx:pt>
          <cx:pt idx="1981">51</cx:pt>
          <cx:pt idx="1982">50.806451612903224</cx:pt>
          <cx:pt idx="1983">50.967741935483872</cx:pt>
          <cx:pt idx="1984">50.903225806451616</cx:pt>
          <cx:pt idx="1985">50.967741935483872</cx:pt>
          <cx:pt idx="1986">51.064516129032256</cx:pt>
          <cx:pt idx="1987">51</cx:pt>
          <cx:pt idx="1988">51.12903225806452</cx:pt>
          <cx:pt idx="1989">50.967741935483872</cx:pt>
          <cx:pt idx="1990">50.87096774193548</cx:pt>
          <cx:pt idx="1991">50.935483870967744</cx:pt>
          <cx:pt idx="1992">50.903225806451616</cx:pt>
          <cx:pt idx="1993">50.677419354838712</cx:pt>
          <cx:pt idx="1994">50.483870967741936</cx:pt>
          <cx:pt idx="1995">50.741935483870968</cx:pt>
          <cx:pt idx="1996">50.774193548387096</cx:pt>
          <cx:pt idx="1997">50.548387096774192</cx:pt>
          <cx:pt idx="1998">50.645161290322584</cx:pt>
          <cx:pt idx="1999">50.677419354838712</cx:pt>
          <cx:pt idx="2000">50.677419354838712</cx:pt>
          <cx:pt idx="2001">50.741935483870968</cx:pt>
          <cx:pt idx="2002">50.70967741935484</cx:pt>
          <cx:pt idx="2003">50.87096774193548</cx:pt>
          <cx:pt idx="2004">50.548387096774192</cx:pt>
          <cx:pt idx="2005">50.258064516129032</cx:pt>
          <cx:pt idx="2006">50.258064516129032</cx:pt>
          <cx:pt idx="2007">50.516129032258064</cx:pt>
          <cx:pt idx="2008">50.387096774193552</cx:pt>
          <cx:pt idx="2009">50.58064516129032</cx:pt>
          <cx:pt idx="2010">50.58064516129032</cx:pt>
          <cx:pt idx="2011">50.354838709677416</cx:pt>
          <cx:pt idx="2012">50.483870967741936</cx:pt>
          <cx:pt idx="2013">50.58064516129032</cx:pt>
          <cx:pt idx="2014">50.58064516129032</cx:pt>
          <cx:pt idx="2015">50.741935483870968</cx:pt>
          <cx:pt idx="2016">50.516129032258064</cx:pt>
          <cx:pt idx="2017">50.483870967741936</cx:pt>
          <cx:pt idx="2018">50.41935483870968</cx:pt>
          <cx:pt idx="2019">50.322580645161288</cx:pt>
          <cx:pt idx="2020">50.29032258064516</cx:pt>
          <cx:pt idx="2021">50.258064516129032</cx:pt>
          <cx:pt idx="2022">50.225806451612904</cx:pt>
          <cx:pt idx="2023">50.064516129032256</cx:pt>
          <cx:pt idx="2024">50.096774193548384</cx:pt>
          <cx:pt idx="2025">50.354838709677416</cx:pt>
          <cx:pt idx="2026">50.161290322580648</cx:pt>
          <cx:pt idx="2027">50.161290322580648</cx:pt>
          <cx:pt idx="2028">50.29032258064516</cx:pt>
          <cx:pt idx="2029">50.12903225806452</cx:pt>
          <cx:pt idx="2030">49.903225806451616</cx:pt>
          <cx:pt idx="2031">49.677419354838712</cx:pt>
          <cx:pt idx="2032">49.70967741935484</cx:pt>
          <cx:pt idx="2033">49.548387096774192</cx:pt>
          <cx:pt idx="2034">49.516129032258064</cx:pt>
          <cx:pt idx="2035">49.741935483870968</cx:pt>
          <cx:pt idx="2036">49.967741935483872</cx:pt>
          <cx:pt idx="2037">49.838709677419352</cx:pt>
          <cx:pt idx="2038">49.838709677419352</cx:pt>
          <cx:pt idx="2039">49.903225806451616</cx:pt>
          <cx:pt idx="2040">49.806451612903224</cx:pt>
          <cx:pt idx="2041">49.806451612903224</cx:pt>
          <cx:pt idx="2042">50</cx:pt>
          <cx:pt idx="2043">49.838709677419352</cx:pt>
          <cx:pt idx="2044">49.935483870967744</cx:pt>
          <cx:pt idx="2045">49.87096774193548</cx:pt>
          <cx:pt idx="2046">49.645161290322584</cx:pt>
          <cx:pt idx="2047">49.806451612903224</cx:pt>
          <cx:pt idx="2048">49.741935483870968</cx:pt>
          <cx:pt idx="2049">49.806451612903224</cx:pt>
          <cx:pt idx="2050">49.70967741935484</cx:pt>
          <cx:pt idx="2051">49.806451612903224</cx:pt>
          <cx:pt idx="2052">49.935483870967744</cx:pt>
          <cx:pt idx="2053">49.741935483870968</cx:pt>
          <cx:pt idx="2054">49.903225806451616</cx:pt>
          <cx:pt idx="2055">50</cx:pt>
          <cx:pt idx="2056">50</cx:pt>
          <cx:pt idx="2057">49.903225806451616</cx:pt>
          <cx:pt idx="2058">49.70967741935484</cx:pt>
          <cx:pt idx="2059">49.70967741935484</cx:pt>
          <cx:pt idx="2060">49.967741935483872</cx:pt>
          <cx:pt idx="2061">50.064516129032256</cx:pt>
          <cx:pt idx="2062">50.096774193548384</cx:pt>
          <cx:pt idx="2063">50.096774193548384</cx:pt>
          <cx:pt idx="2064">50.193548387096776</cx:pt>
          <cx:pt idx="2065">50.064516129032256</cx:pt>
          <cx:pt idx="2066">50</cx:pt>
          <cx:pt idx="2067">49.87096774193548</cx:pt>
          <cx:pt idx="2068">49.87096774193548</cx:pt>
          <cx:pt idx="2069">49.70967741935484</cx:pt>
          <cx:pt idx="2070">49.903225806451616</cx:pt>
          <cx:pt idx="2071">49.903225806451616</cx:pt>
          <cx:pt idx="2072">49.612903225806448</cx:pt>
          <cx:pt idx="2073">49.548387096774192</cx:pt>
          <cx:pt idx="2074">49.548387096774192</cx:pt>
          <cx:pt idx="2075">49.451612903225808</cx:pt>
          <cx:pt idx="2076">49.29032258064516</cx:pt>
          <cx:pt idx="2077">49.548387096774192</cx:pt>
          <cx:pt idx="2078">49.41935483870968</cx:pt>
          <cx:pt idx="2079">49.483870967741936</cx:pt>
          <cx:pt idx="2080">49.387096774193552</cx:pt>
          <cx:pt idx="2081">49.41935483870968</cx:pt>
          <cx:pt idx="2082">49.387096774193552</cx:pt>
          <cx:pt idx="2083">49.322580645161288</cx:pt>
          <cx:pt idx="2084">49.322580645161288</cx:pt>
          <cx:pt idx="2085">49.12903225806452</cx:pt>
          <cx:pt idx="2086">49.193548387096776</cx:pt>
          <cx:pt idx="2087">49.12903225806452</cx:pt>
          <cx:pt idx="2088">49.12903225806452</cx:pt>
          <cx:pt idx="2089">49.193548387096776</cx:pt>
          <cx:pt idx="2090">48.967741935483872</cx:pt>
          <cx:pt idx="2091">48.806451612903224</cx:pt>
          <cx:pt idx="2092">48.70967741935484</cx:pt>
          <cx:pt idx="2093">48.87096774193548</cx:pt>
          <cx:pt idx="2094">48.903225806451616</cx:pt>
          <cx:pt idx="2095">48.677419354838712</cx:pt>
          <cx:pt idx="2096">48.838709677419352</cx:pt>
          <cx:pt idx="2097">48.741935483870968</cx:pt>
          <cx:pt idx="2098">48.774193548387096</cx:pt>
          <cx:pt idx="2099">48.935483870967744</cx:pt>
          <cx:pt idx="2100">49.032258064516128</cx:pt>
          <cx:pt idx="2101">48.741935483870968</cx:pt>
          <cx:pt idx="2102">48.935483870967744</cx:pt>
          <cx:pt idx="2103">49.096774193548384</cx:pt>
          <cx:pt idx="2104">49.29032258064516</cx:pt>
          <cx:pt idx="2105">49.516129032258064</cx:pt>
          <cx:pt idx="2106">49.70967741935484</cx:pt>
          <cx:pt idx="2107">49.741935483870968</cx:pt>
          <cx:pt idx="2108">49.548387096774192</cx:pt>
          <cx:pt idx="2109">49.741935483870968</cx:pt>
          <cx:pt idx="2110">49.806451612903224</cx:pt>
          <cx:pt idx="2111">49.806451612903224</cx:pt>
          <cx:pt idx="2112">49.87096774193548</cx:pt>
          <cx:pt idx="2113">49.87096774193548</cx:pt>
          <cx:pt idx="2114">49.87096774193548</cx:pt>
          <cx:pt idx="2115">49.903225806451616</cx:pt>
          <cx:pt idx="2116">50.161290322580648</cx:pt>
          <cx:pt idx="2117">49.87096774193548</cx:pt>
          <cx:pt idx="2118">49.70967741935484</cx:pt>
          <cx:pt idx="2119">49.838709677419352</cx:pt>
          <cx:pt idx="2120">49.87096774193548</cx:pt>
          <cx:pt idx="2121">49.87096774193548</cx:pt>
          <cx:pt idx="2122">49.935483870967744</cx:pt>
          <cx:pt idx="2123">50.064516129032256</cx:pt>
          <cx:pt idx="2124">50.161290322580648</cx:pt>
          <cx:pt idx="2125">49.903225806451616</cx:pt>
          <cx:pt idx="2126">50.12903225806452</cx:pt>
          <cx:pt idx="2127">50</cx:pt>
          <cx:pt idx="2128">50.064516129032256</cx:pt>
          <cx:pt idx="2129">50.258064516129032</cx:pt>
          <cx:pt idx="2130">50.161290322580648</cx:pt>
          <cx:pt idx="2131">50.12903225806452</cx:pt>
          <cx:pt idx="2132">50.161290322580648</cx:pt>
          <cx:pt idx="2133">49.838709677419352</cx:pt>
          <cx:pt idx="2134">49.774193548387096</cx:pt>
          <cx:pt idx="2135">49.451612903225808</cx:pt>
          <cx:pt idx="2136">49.451612903225808</cx:pt>
          <cx:pt idx="2137">49.258064516129032</cx:pt>
          <cx:pt idx="2138">49.451612903225808</cx:pt>
          <cx:pt idx="2139">49.548387096774192</cx:pt>
          <cx:pt idx="2140">49.258064516129032</cx:pt>
          <cx:pt idx="2141">49.032258064516128</cx:pt>
          <cx:pt idx="2142">49.258064516129032</cx:pt>
          <cx:pt idx="2143">49.225806451612904</cx:pt>
          <cx:pt idx="2144">49.451612903225808</cx:pt>
          <cx:pt idx="2145">49.612903225806448</cx:pt>
          <cx:pt idx="2146">49.548387096774192</cx:pt>
          <cx:pt idx="2147">49.322580645161288</cx:pt>
          <cx:pt idx="2148">49.548387096774192</cx:pt>
          <cx:pt idx="2149">49.645161290322584</cx:pt>
          <cx:pt idx="2150">49.70967741935484</cx:pt>
          <cx:pt idx="2151">49.58064516129032</cx:pt>
          <cx:pt idx="2152">49.903225806451616</cx:pt>
          <cx:pt idx="2153">49.70967741935484</cx:pt>
          <cx:pt idx="2154">49.70967741935484</cx:pt>
          <cx:pt idx="2155">49.645161290322584</cx:pt>
          <cx:pt idx="2156">49.903225806451616</cx:pt>
          <cx:pt idx="2157">49.903225806451616</cx:pt>
          <cx:pt idx="2158">50.096774193548384</cx:pt>
          <cx:pt idx="2159">50.258064516129032</cx:pt>
          <cx:pt idx="2160">50.096774193548384</cx:pt>
          <cx:pt idx="2161">50.193548387096776</cx:pt>
          <cx:pt idx="2162">50.064516129032256</cx:pt>
          <cx:pt idx="2163">50.322580645161288</cx:pt>
          <cx:pt idx="2164">50.548387096774192</cx:pt>
          <cx:pt idx="2165">50.548387096774192</cx:pt>
          <cx:pt idx="2166">50.806451612903224</cx:pt>
          <cx:pt idx="2167">50.645161290322584</cx:pt>
          <cx:pt idx="2168">50.774193548387096</cx:pt>
          <cx:pt idx="2169">50.677419354838712</cx:pt>
          <cx:pt idx="2170">50.516129032258064</cx:pt>
          <cx:pt idx="2171">50.645161290322584</cx:pt>
          <cx:pt idx="2172">50.774193548387096</cx:pt>
          <cx:pt idx="2173">50.612903225806448</cx:pt>
          <cx:pt idx="2174">50.806451612903224</cx:pt>
          <cx:pt idx="2175">50.838709677419352</cx:pt>
          <cx:pt idx="2176">50.58064516129032</cx:pt>
          <cx:pt idx="2177">50.70967741935484</cx:pt>
          <cx:pt idx="2178">50.741935483870968</cx:pt>
          <cx:pt idx="2179">50.548387096774192</cx:pt>
          <cx:pt idx="2180">50.645161290322584</cx:pt>
          <cx:pt idx="2181">50.548387096774192</cx:pt>
          <cx:pt idx="2182">50.548387096774192</cx:pt>
          <cx:pt idx="2183">50.548387096774192</cx:pt>
          <cx:pt idx="2184">50.838709677419352</cx:pt>
          <cx:pt idx="2185">51.032258064516128</cx:pt>
          <cx:pt idx="2186">50.838709677419352</cx:pt>
          <cx:pt idx="2187">50.774193548387096</cx:pt>
          <cx:pt idx="2188">50.58064516129032</cx:pt>
          <cx:pt idx="2189">50.41935483870968</cx:pt>
          <cx:pt idx="2190">50.225806451612904</cx:pt>
          <cx:pt idx="2191">50.387096774193552</cx:pt>
          <cx:pt idx="2192">50.41935483870968</cx:pt>
          <cx:pt idx="2193">50.516129032258064</cx:pt>
          <cx:pt idx="2194">50.354838709677416</cx:pt>
          <cx:pt idx="2195">50.322580645161288</cx:pt>
          <cx:pt idx="2196">50.193548387096776</cx:pt>
          <cx:pt idx="2197">50.193548387096776</cx:pt>
          <cx:pt idx="2198">50.032258064516128</cx:pt>
          <cx:pt idx="2199">49.935483870967744</cx:pt>
          <cx:pt idx="2200">50.12903225806452</cx:pt>
          <cx:pt idx="2201">50.096774193548384</cx:pt>
          <cx:pt idx="2202">50.258064516129032</cx:pt>
          <cx:pt idx="2203">50.064516129032256</cx:pt>
          <cx:pt idx="2204">50</cx:pt>
          <cx:pt idx="2205">50</cx:pt>
          <cx:pt idx="2206">49.70967741935484</cx:pt>
          <cx:pt idx="2207">49.967741935483872</cx:pt>
          <cx:pt idx="2208">50.096774193548384</cx:pt>
          <cx:pt idx="2209">50.032258064516128</cx:pt>
          <cx:pt idx="2210">50.032258064516128</cx:pt>
          <cx:pt idx="2211">49.903225806451616</cx:pt>
          <cx:pt idx="2212">49.967741935483872</cx:pt>
          <cx:pt idx="2213">50.258064516129032</cx:pt>
          <cx:pt idx="2214">50</cx:pt>
          <cx:pt idx="2215">49.903225806451616</cx:pt>
          <cx:pt idx="2216">49.806451612903224</cx:pt>
          <cx:pt idx="2217">49.935483870967744</cx:pt>
          <cx:pt idx="2218">49.838709677419352</cx:pt>
          <cx:pt idx="2219">50</cx:pt>
          <cx:pt idx="2220">49.967741935483872</cx:pt>
          <cx:pt idx="2221">50.193548387096776</cx:pt>
          <cx:pt idx="2222">50.064516129032256</cx:pt>
          <cx:pt idx="2223">50.12903225806452</cx:pt>
          <cx:pt idx="2224">50.225806451612904</cx:pt>
          <cx:pt idx="2225">50.548387096774192</cx:pt>
          <cx:pt idx="2226">50.70967741935484</cx:pt>
          <cx:pt idx="2227">51.064516129032256</cx:pt>
          <cx:pt idx="2228">51.258064516129032</cx:pt>
          <cx:pt idx="2229">51.677419354838712</cx:pt>
          <cx:pt idx="2230">51.903225806451616</cx:pt>
          <cx:pt idx="2231">51.87096774193548</cx:pt>
          <cx:pt idx="2232">52.225806451612904</cx:pt>
          <cx:pt idx="2233">52.225806451612904</cx:pt>
          <cx:pt idx="2234">52.483870967741936</cx:pt>
          <cx:pt idx="2235">52.70967741935484</cx:pt>
          <cx:pt idx="2236">52.838709677419352</cx:pt>
          <cx:pt idx="2237">53.096774193548384</cx:pt>
          <cx:pt idx="2238">53.29032258064516</cx:pt>
          <cx:pt idx="2239">53.41935483870968</cx:pt>
          <cx:pt idx="2240">53.677419354838712</cx:pt>
          <cx:pt idx="2241">54.096774193548384</cx:pt>
          <cx:pt idx="2242">54.354838709677416</cx:pt>
          <cx:pt idx="2243">54.58064516129032</cx:pt>
          <cx:pt idx="2244">54.645161290322584</cx:pt>
          <cx:pt idx="2245">55</cx:pt>
          <cx:pt idx="2246">55.096774193548384</cx:pt>
          <cx:pt idx="2247">55.322580645161288</cx:pt>
          <cx:pt idx="2248">55.58064516129032</cx:pt>
          <cx:pt idx="2249">55.935483870967744</cx:pt>
          <cx:pt idx="2250">56.096774193548384</cx:pt>
          <cx:pt idx="2251">56.322580645161288</cx:pt>
          <cx:pt idx="2252">56.322580645161288</cx:pt>
          <cx:pt idx="2253">23.870967741935484</cx:pt>
          <cx:pt idx="2254">25.580645161290324</cx:pt>
          <cx:pt idx="2255">27.35483870967742</cx:pt>
          <cx:pt idx="2256">29</cx:pt>
          <cx:pt idx="2257">30.741935483870968</cx:pt>
          <cx:pt idx="2258">32.225806451612904</cx:pt>
          <cx:pt idx="2259">33.87096774193548</cx:pt>
          <cx:pt idx="2260">35.483870967741936</cx:pt>
          <cx:pt idx="2261">37.064516129032256</cx:pt>
          <cx:pt idx="2262">38.677419354838712</cx:pt>
          <cx:pt idx="2263">40.29032258064516</cx:pt>
          <cx:pt idx="2264">41.935483870967744</cx:pt>
          <cx:pt idx="2265">43.677419354838712</cx:pt>
          <cx:pt idx="2266">45.258064516129032</cx:pt>
          <cx:pt idx="2267">46.903225806451616</cx:pt>
          <cx:pt idx="2268">48.483870967741936</cx:pt>
          <cx:pt idx="2269">50.064516129032256</cx:pt>
          <cx:pt idx="2270">50.12903225806452</cx:pt>
          <cx:pt idx="2271">50.41935483870968</cx:pt>
          <cx:pt idx="2272">50.258064516129032</cx:pt>
          <cx:pt idx="2273">50.548387096774192</cx:pt>
          <cx:pt idx="2274">50.322580645161288</cx:pt>
          <cx:pt idx="2275">50.12903225806452</cx:pt>
          <cx:pt idx="2276">50.322580645161288</cx:pt>
          <cx:pt idx="2277">50.451612903225808</cx:pt>
          <cx:pt idx="2278">50.58064516129032</cx:pt>
          <cx:pt idx="2279">50.516129032258064</cx:pt>
          <cx:pt idx="2280">50.677419354838712</cx:pt>
          <cx:pt idx="2281">50.483870967741936</cx:pt>
          <cx:pt idx="2282">50.354838709677416</cx:pt>
          <cx:pt idx="2283">50.548387096774192</cx:pt>
          <cx:pt idx="2284">50.354838709677416</cx:pt>
          <cx:pt idx="2285">50.096774193548384</cx:pt>
          <cx:pt idx="2286">50.064516129032256</cx:pt>
          <cx:pt idx="2287">50.032258064516128</cx:pt>
          <cx:pt idx="2288">49.774193548387096</cx:pt>
          <cx:pt idx="2289">50.032258064516128</cx:pt>
          <cx:pt idx="2290">50.12903225806452</cx:pt>
          <cx:pt idx="2291">50.258064516129032</cx:pt>
          <cx:pt idx="2292">50.387096774193552</cx:pt>
          <cx:pt idx="2293">50.451612903225808</cx:pt>
          <cx:pt idx="2294">50.451612903225808</cx:pt>
          <cx:pt idx="2295">50.354838709677416</cx:pt>
          <cx:pt idx="2296">50.354838709677416</cx:pt>
          <cx:pt idx="2297">50.41935483870968</cx:pt>
          <cx:pt idx="2298">50.225806451612904</cx:pt>
          <cx:pt idx="2299">50.322580645161288</cx:pt>
          <cx:pt idx="2300">50.258064516129032</cx:pt>
          <cx:pt idx="2301">50.225806451612904</cx:pt>
          <cx:pt idx="2302">50.225806451612904</cx:pt>
          <cx:pt idx="2303">50.354838709677416</cx:pt>
          <cx:pt idx="2304">50.29032258064516</cx:pt>
          <cx:pt idx="2305">50.258064516129032</cx:pt>
          <cx:pt idx="2306">50.451612903225808</cx:pt>
          <cx:pt idx="2307">50.193548387096776</cx:pt>
          <cx:pt idx="2308">50.032258064516128</cx:pt>
          <cx:pt idx="2309">49.903225806451616</cx:pt>
          <cx:pt idx="2310">49.741935483870968</cx:pt>
          <cx:pt idx="2311">49.516129032258064</cx:pt>
          <cx:pt idx="2312">49.516129032258064</cx:pt>
          <cx:pt idx="2313">49.483870967741936</cx:pt>
          <cx:pt idx="2314">49.41935483870968</cx:pt>
          <cx:pt idx="2315">49.58064516129032</cx:pt>
          <cx:pt idx="2316">49.741935483870968</cx:pt>
          <cx:pt idx="2317">49.70967741935484</cx:pt>
          <cx:pt idx="2318">49.741935483870968</cx:pt>
          <cx:pt idx="2319">49.806451612903224</cx:pt>
          <cx:pt idx="2320">49.58064516129032</cx:pt>
          <cx:pt idx="2321">49.322580645161288</cx:pt>
          <cx:pt idx="2322">49.161290322580648</cx:pt>
          <cx:pt idx="2323">49.096774193548384</cx:pt>
          <cx:pt idx="2324">49.064516129032256</cx:pt>
          <cx:pt idx="2325">49.193548387096776</cx:pt>
          <cx:pt idx="2326">49.12903225806452</cx:pt>
          <cx:pt idx="2327">49.032258064516128</cx:pt>
          <cx:pt idx="2328">48.903225806451616</cx:pt>
          <cx:pt idx="2329">49.193548387096776</cx:pt>
          <cx:pt idx="2330">49.258064516129032</cx:pt>
          <cx:pt idx="2331">49.451612903225808</cx:pt>
          <cx:pt idx="2332">49.645161290322584</cx:pt>
          <cx:pt idx="2333">49.58064516129032</cx:pt>
          <cx:pt idx="2334">49.516129032258064</cx:pt>
          <cx:pt idx="2335">49.451612903225808</cx:pt>
          <cx:pt idx="2336">49.41935483870968</cx:pt>
          <cx:pt idx="2337">49.451612903225808</cx:pt>
          <cx:pt idx="2338">49.387096774193552</cx:pt>
          <cx:pt idx="2339">49.516129032258064</cx:pt>
          <cx:pt idx="2340">49.70967741935484</cx:pt>
          <cx:pt idx="2341">49.935483870967744</cx:pt>
          <cx:pt idx="2342">50.064516129032256</cx:pt>
          <cx:pt idx="2343">50.064516129032256</cx:pt>
          <cx:pt idx="2344">50.064516129032256</cx:pt>
          <cx:pt idx="2345">50.064516129032256</cx:pt>
          <cx:pt idx="2346">50.032258064516128</cx:pt>
          <cx:pt idx="2347">49.935483870967744</cx:pt>
          <cx:pt idx="2348">49.935483870967744</cx:pt>
          <cx:pt idx="2349">50</cx:pt>
          <cx:pt idx="2350">50.193548387096776</cx:pt>
          <cx:pt idx="2351">50.451612903225808</cx:pt>
          <cx:pt idx="2352">50.548387096774192</cx:pt>
          <cx:pt idx="2353">50.451612903225808</cx:pt>
          <cx:pt idx="2354">50.29032258064516</cx:pt>
          <cx:pt idx="2355">50.161290322580648</cx:pt>
          <cx:pt idx="2356">49.87096774193548</cx:pt>
          <cx:pt idx="2357">50</cx:pt>
          <cx:pt idx="2358">49.87096774193548</cx:pt>
          <cx:pt idx="2359">50</cx:pt>
          <cx:pt idx="2360">49.70967741935484</cx:pt>
          <cx:pt idx="2361">49.41935483870968</cx:pt>
          <cx:pt idx="2362">49.354838709677416</cx:pt>
          <cx:pt idx="2363">49.12903225806452</cx:pt>
          <cx:pt idx="2364">49.032258064516128</cx:pt>
          <cx:pt idx="2365">49</cx:pt>
          <cx:pt idx="2366">48.903225806451616</cx:pt>
          <cx:pt idx="2367">48.967741935483872</cx:pt>
          <cx:pt idx="2368">48.838709677419352</cx:pt>
          <cx:pt idx="2369">48.967741935483872</cx:pt>
          <cx:pt idx="2370">49.12903225806452</cx:pt>
          <cx:pt idx="2371">49.06666666666667</cx:pt>
          <cx:pt idx="2372">48.931034482758619</cx:pt>
          <cx:pt idx="2373">48.892857142857146</cx:pt>
          <cx:pt idx="2374">49.037037037037038</cx:pt>
          <cx:pt idx="2375">49.153846153846153</cx:pt>
          <cx:pt idx="2376">49.119999999999997</cx:pt>
          <cx:pt idx="2377">49</cx:pt>
          <cx:pt idx="2378">49.086956521739133</cx:pt>
          <cx:pt idx="2379">48.909090909090907</cx:pt>
          <cx:pt idx="2380">48.714285714285715</cx:pt>
          <cx:pt idx="2381">48.450000000000003</cx:pt>
          <cx:pt idx="2382">48.10526315789474</cx:pt>
          <cx:pt idx="2383">48.055555555555557</cx:pt>
          <cx:pt idx="2384">48.176470588235297</cx:pt>
          <cx:pt idx="2385">48.3125</cx:pt>
          <cx:pt idx="2386">48.399999999999999</cx:pt>
          <cx:pt idx="2387">48.642857142857146</cx:pt>
          <cx:pt idx="2388">48.53846153846154</cx:pt>
          <cx:pt idx="2389">48.666666666666664</cx:pt>
          <cx:pt idx="2390">48.454545454545453</cx:pt>
          <cx:pt idx="2391">48.799999999999997</cx:pt>
          <cx:pt idx="2392">49.222222222222221</cx:pt>
          <cx:pt idx="2393">49</cx:pt>
          <cx:pt idx="2394">49.285714285714285</cx:pt>
          <cx:pt idx="2395">49.333333333333336</cx:pt>
          <cx:pt idx="2396">50</cx:pt>
          <cx:pt idx="2397">50.5</cx:pt>
          <cx:pt idx="2398">51.333333333333336</cx:pt>
          <cx:pt idx="2399">51.5</cx:pt>
          <cx:pt idx="2400">54</cx:pt>
        </cx:lvl>
      </cx:numDim>
    </cx:data>
    <cx:data id="5">
      <cx:numDim type="val">
        <cx:f>Sheet2!$F$2461:$F$4861</cx:f>
        <cx:lvl ptCount="2401" formatCode="#,##0.00">
          <cx:pt idx="0">3.4351829103505889</cx:pt>
          <cx:pt idx="1">3.4190415939857011</cx:pt>
          <cx:pt idx="2">3.4130408078028642</cx:pt>
          <cx:pt idx="3">3.41927499201533</cx:pt>
          <cx:pt idx="4">3.4174385180453526</cx:pt>
          <cx:pt idx="5">3.416885733238336</cx:pt>
          <cx:pt idx="6">3.4058546053116476</cx:pt>
          <cx:pt idx="7">3.3924280765545531</cx:pt>
          <cx:pt idx="8">3.3654951723460185</cx:pt>
          <cx:pt idx="9">3.3555634719799516</cx:pt>
          <cx:pt idx="10">3.3789278431565233</cx:pt>
          <cx:pt idx="11">3.3709063214013715</cx:pt>
          <cx:pt idx="12">3.3824042453873182</cx:pt>
          <cx:pt idx="13">3.3943259710586449</cx:pt>
          <cx:pt idx="14">3.4076050905338677</cx:pt>
          <cx:pt idx="15">3.4194408274574357</cx:pt>
          <cx:pt idx="16">3.4308404785888023</cx:pt>
          <cx:pt idx="17">3.4388005798098424</cx:pt>
          <cx:pt idx="18">3.4391322506940525</cx:pt>
          <cx:pt idx="19">3.436902685305752</cx:pt>
          <cx:pt idx="20">3.4300542957521563</cx:pt>
          <cx:pt idx="21">3.4189740313981778</cx:pt>
          <cx:pt idx="22">3.4033916418937182</cx:pt>
          <cx:pt idx="23">3.392802741812643</cx:pt>
          <cx:pt idx="24">3.388245338181461</cx:pt>
          <cx:pt idx="25">3.3624425718006039</cx:pt>
          <cx:pt idx="26">3.374112473282068</cx:pt>
          <cx:pt idx="27">3.3568533031963246</cx:pt>
          <cx:pt idx="28">3.3510183524555925</cx:pt>
          <cx:pt idx="29">3.3268125199616732</cx:pt>
          <cx:pt idx="30">3.3229675945262009</cx:pt>
          <cx:pt idx="31">3.2991302852369597</cx:pt>
          <cx:pt idx="32">3.2979018745547006</cx:pt>
          <cx:pt idx="33">3.2992347001449525</cx:pt>
          <cx:pt idx="34">3.3043018942092726</cx:pt>
          <cx:pt idx="35">3.3139387760115966</cx:pt>
          <cx:pt idx="36">3.3072316536864608</cx:pt>
          <cx:pt idx="37">3.2960101221040219</cx:pt>
          <cx:pt idx="38">3.3094305088077052</cx:pt>
          <cx:pt idx="39">3.3128024961305065</cx:pt>
          <cx:pt idx="40">3.3294536029285307</cx:pt>
          <cx:pt idx="41">3.312206716949611</cx:pt>
          <cx:pt idx="42">3.3092646733655999</cx:pt>
          <cx:pt idx="43">3.3014888337468986</cx:pt>
          <cx:pt idx="44">3.2959179913028529</cx:pt>
          <cx:pt idx="45">3.2861029899516008</cx:pt>
          <cx:pt idx="46">3.2705820209812546</cx:pt>
          <cx:pt idx="47">3.2557919563668527</cx:pt>
          <cx:pt idx="48">3.260392354371914</cx:pt>
          <cx:pt idx="49">3.2598395695648978</cx:pt>
          <cx:pt idx="50">3.2891310222833705</cx:pt>
          <cx:pt idx="51">3.3198167211262075</cx:pt>
          <cx:pt idx="52">3.3075080460899695</cx:pt>
          <cx:pt idx="53">3.3008132078716566</cx:pt>
          <cx:pt idx="54">3.3193376409601267</cx:pt>
          <cx:pt idx="55">3.3250006142053419</cx:pt>
          <cx:pt idx="56">3.3311918040439288</cx:pt>
          <cx:pt idx="57">3.3338574552244316</cx:pt>
          <cx:pt idx="58">3.3397292582856304</cx:pt>
          <cx:pt idx="59">3.3468663243495569</cx:pt>
          <cx:pt idx="60">3.3517308306513036</cx:pt>
          <cx:pt idx="61">3.3614414170945635</cx:pt>
          <cx:pt idx="62">3.3865317052797095</cx:pt>
          <cx:pt idx="63">3.4011497923985949</cx:pt>
          <cx:pt idx="64">3.3951367221089357</cx:pt>
          <cx:pt idx="65">3.3870599218730808</cx:pt>
          <cx:pt idx="66">3.3840380315947232</cx:pt>
          <cx:pt idx="67">3.4021693732648708</cx:pt>
          <cx:pt idx="68">3.4194899638847267</cx:pt>
          <cx:pt idx="69">3.4114131636488714</cx:pt>
          <cx:pt idx="70">3.4438984841412186</cx:pt>
          <cx:pt idx="71">3.4529887231899372</cx:pt>
          <cx:pt idx="72">3.4625273321376806</cx:pt>
          <cx:pt idx="73">3.4835638650713707</cx:pt>
          <cx:pt idx="74">3.4872122447976803</cx:pt>
          <cx:pt idx="75">3.4767891801587094</cx:pt>
          <cx:pt idx="76">3.4796145247279062</cx:pt>
          <cx:pt idx="77">3.4852345035992425</cx:pt>
          <cx:pt idx="78">3.4907009311352959</cx:pt>
          <cx:pt idx="79">3.4821696189470055</cx:pt>
          <cx:pt idx="80">3.4990295555610138</cx:pt>
          <cx:pt idx="81">3.4854679016288714</cx:pt>
          <cx:pt idx="82">3.4824091590300457</cx:pt>
          <cx:pt idx="83">3.5082856300518386</cx:pt>
          <cx:pt idx="84">3.5181620519372028</cx:pt>
          <cx:pt idx="85">3.5056384050315703</cx:pt>
          <cx:pt idx="86">3.5105766159742533</cx:pt>
          <cx:pt idx="87">3.5127877552023201</cx:pt>
          <cx:pt idx="88">3.5283578605999564</cx:pt>
          <cx:pt idx="89">3.5363056777141741</cx:pt>
          <cx:pt idx="90">3.5456723091664011</cx:pt>
          <cx:pt idx="91">3.5409306439328807</cx:pt>
          <cx:pt idx="92">3.5125359310124566</cx:pt>
          <cx:pt idx="93">3.5028683389430761</cx:pt>
          <cx:pt idx="94">3.4810149129056831</cx:pt>
          <cx:pt idx="95">3.4719001056433192</cx:pt>
          <cx:pt idx="96">3.4751983883251851</cx:pt>
          <cx:pt idx="97">3.4877036090705844</cx:pt>
          <cx:pt idx="98">3.4804682701520773</cx:pt>
          <cx:pt idx="99">3.477833329238631</cx:pt>
          <cx:pt idx="100">3.4797127975824873</cx:pt>
          <cx:pt idx="101">3.4491192295408193</cx:pt>
          <cx:pt idx="102">3.4523253814215167</cx:pt>
          <cx:pt idx="103">3.4378301353708571</cx:pt>
          <cx:pt idx="104">3.4279721396457266</cx:pt>
          <cx:pt idx="105">3.4350477851755397</cx:pt>
          <cx:pt idx="106">3.4456796796304938</cx:pt>
          <cx:pt idx="107">3.4480750804608995</cx:pt>
          <cx:pt idx="108">3.4468773800456964</cx:pt>
          <cx:pt idx="109">3.4627238778468419</cx:pt>
          <cx:pt idx="110">3.459063214013709</cx:pt>
          <cx:pt idx="111">3.4451883153575902</cx:pt>
          <cx:pt idx="112">3.4378239933174459</cx:pt>
          <cx:pt idx="113">3.4431798638920963</cx:pt>
          <cx:pt idx="114">3.4166707613689407</cx:pt>
          <cx:pt idx="115">3.4248826867798443</cx:pt>
          <cx:pt idx="116">3.4054123774660345</cx:pt>
          <cx:pt idx="117">3.4063705377981965</cx:pt>
          <cx:pt idx="118">3.3999582340368031</cx:pt>
          <cx:pt idx="119">3.3760963565339166</cx:pt>
          <cx:pt idx="120">3.3642114831830576</cx:pt>
          <cx:pt idx="121">3.3557661597425255</cx:pt>
          <cx:pt idx="122">3.3563189445495416</cx:pt>
          <cx:pt idx="123">3.3584748052969067</cx:pt>
          <cx:pt idx="124">3.3565462005257598</cx:pt>
          <cx:pt idx="125">3.375604992261013</cx:pt>
          <cx:pt idx="126">3.3905854605311649</cx:pt>
          <cx:pt idx="127">3.4144043436601721</cx:pt>
          <cx:pt idx="128">3.4025010441490799</cx:pt>
          <cx:pt idx="129">3.4060511510208089</cx:pt>
          <cx:pt idx="130">3.4156081861287864</cx:pt>
          <cx:pt idx="131">3.4220020637299462</cx:pt>
          <cx:pt idx="132">3.4411161339459002</cx:pt>
          <cx:pt idx="133">3.4342984546593613</cx:pt>
          <cx:pt idx="134">3.4487691324963761</cx:pt>
          <cx:pt idx="135">3.4469879370070999</cx:pt>
          <cx:pt idx="136">3.435846252119009</cx:pt>
          <cx:pt idx="137">3.4156757487163114</cx:pt>
          <cx:pt idx="138">3.428930299977889</cx:pt>
          <cx:pt idx="139">3.4335368400363615</cx:pt>
          <cx:pt idx="140">3.4149387023069555</cx:pt>
          <cx:pt idx="141">3.430785200108101</cx:pt>
          <cx:pt idx="142">3.4166584772621182</cx:pt>
          <cx:pt idx="143">3.4064442424391319</cx:pt>
          <cx:pt idx="144">3.4027958627128219</cx:pt>
          <cx:pt idx="145">3.4087905068422475</cx:pt>
          <cx:pt idx="146">3.405848463258236</cx:pt>
          <cx:pt idx="147">3.4192258555880399</cx:pt>
          <cx:pt idx="148">3.4129793872687508</cx:pt>
          <cx:pt idx="149">3.4092204505810373</cx:pt>
          <cx:pt idx="150">3.4228312409404706</cx:pt>
          <cx:pt idx="151">3.4246370046433916</cx:pt>
          <cx:pt idx="152">3.4447583716187995</cx:pt>
          <cx:pt idx="153">3.4611699383337835</cx:pt>
          <cx:pt idx="154">3.4734233348893202</cx:pt>
          <cx:pt idx="155">3.4742279438862003</cx:pt>
          <cx:pt idx="156">3.4767891801587116</cx:pt>
          <cx:pt idx="157">3.4731653686460464</cx:pt>
          <cx:pt idx="158">3.4549111859076733</cx:pt>
          <cx:pt idx="159">3.4698609439107688</cx:pt>
          <cx:pt idx="160">3.4687553742967356</cx:pt>
          <cx:pt idx="161">3.4490762351669413</cx:pt>
          <cx:pt idx="162">3.4444512689482347</cx:pt>
          <cx:pt idx="163">3.4434194039751373</cx:pt>
          <cx:pt idx="164">3.4345011424219347</cx:pt>
          <cx:pt idx="165">3.4253371987322803</cx:pt>
          <cx:pt idx="166">3.4228619512075276</cx:pt>
          <cx:pt idx="167">3.4434316880819598</cx:pt>
          <cx:pt idx="168">3.4535415079969538</cx:pt>
          <cx:pt idx="169">3.4311537233127778</cx:pt>
          <cx:pt idx="170">3.4309387514433825</cx:pt>
          <cx:pt idx="171">3.459364174630863</cx:pt>
          <cx:pt idx="172">3.4266208878952411</cx:pt>
          <cx:pt idx="173">3.44509004250301</cx:pt>
          <cx:pt idx="174">3.4745596147704103</cx:pt>
          <cx:pt idx="175">3.4658993194604828</cx:pt>
          <cx:pt idx="176">3.4599046753310576</cx:pt>
          <cx:pt idx="177">3.454382969314302</cx:pt>
          <cx:pt idx="178">3.4683622828784122</cx:pt>
          <cx:pt idx="179">3.4656597793774417</cx:pt>
          <cx:pt idx="180">3.4710647863793831</cx:pt>
          <cx:pt idx="181">3.463940004422279</cx:pt>
          <cx:pt idx="182">3.4469326585263991</cx:pt>
          <cx:pt idx="183">3.4195022479915487</cx:pt>
          <cx:pt idx="184">3.3914822003292149</cx:pt>
          <cx:pt idx="185">3.3883313269292192</cx:pt>
          <cx:pt idx="186">3.3872748937424757</cx:pt>
          <cx:pt idx="187">3.3716986462914287</cx:pt>
          <cx:pt idx="188">3.3684126477163843</cx:pt>
          <cx:pt idx="189">3.3651696435152201</cx:pt>
          <cx:pt idx="190">3.3744195759526328</cx:pt>
          <cx:pt idx="191">3.3647151315627846</cx:pt>
          <cx:pt idx="192">3.3598014888337482</cx:pt>
          <cx:pt idx="193">3.3439427069257808</cx:pt>
          <cx:pt idx="194">3.342063238581924</cx:pt>
          <cx:pt idx="195">3.3376409601257904</cx:pt>
          <cx:pt idx="196">3.3456870500945883</cx:pt>
          <cx:pt idx="197">3.3311488096700503</cx:pt>
          <cx:pt idx="198">3.3321376802692684</cx:pt>
          <cx:pt idx="199">3.3237844876299047</cx:pt>
          <cx:pt idx="200">3.3410682259292934</cx:pt>
          <cx:pt idx="201">3.3488870599218732</cx:pt>
          <cx:pt idx="202">3.3467803356017987</cx:pt>
          <cx:pt idx="203">3.3683205169152153</cx:pt>
          <cx:pt idx="204">3.3596295113382304</cx:pt>
          <cx:pt idx="205">3.3396555536446946</cx:pt>
          <cx:pt idx="206">3.3399135198879693</cx:pt>
          <cx:pt idx="207">3.3535857307815151</cx:pt>
          <cx:pt idx="208">3.3595988010711739</cx:pt>
          <cx:pt idx="209">3.3458713116969263</cx:pt>
          <cx:pt idx="210">3.3384824214431368</cx:pt>
          <cx:pt idx="211">3.3378436478883624</cx:pt>
          <cx:pt idx="212">3.3544517603125081</cx:pt>
          <cx:pt idx="213">3.3950384492543555</cx:pt>
          <cx:pt idx="214">3.4334139989681356</cx:pt>
          <cx:pt idx="215">3.4834594501633798</cx:pt>
          <cx:pt idx="216">3.5233520870697497</cx:pt>
          <cx:pt idx="217">3.5625138196201762</cx:pt>
          <cx:pt idx="218">3.6083089698548023</cx:pt>
          <cx:pt idx="219">3.6432265434980224</cx:pt>
          <cx:pt idx="220">3.6723153084539217</cx:pt>
          <cx:pt idx="221">3.6861226445225159</cx:pt>
          <cx:pt idx="222">3.7171952927302652</cx:pt>
          <cx:pt idx="223">3.761663759428052</cx:pt>
          <cx:pt idx="224">3.8068569884283709</cx:pt>
          <cx:pt idx="225">3.8374566985234502</cx:pt>
          <cx:pt idx="226">3.8766921357148116</cx:pt>
          <cx:pt idx="227">3.9000565068913846</cx:pt>
          <cx:pt idx="228">3.9575829791415869</cx:pt>
          <cx:pt idx="229">3.9680060437805564</cx:pt>
          <cx:pt idx="230">4.0144522516767802</cx:pt>
          <cx:pt idx="231">4.0432277719087049</cx:pt>
          <cx:pt idx="232">4.0529076480849078</cx:pt>
          <cx:pt idx="233">4.0656401248065253</cx:pt>
          <cx:pt idx="234">4.0871925902267652</cx:pt>
          <cx:pt idx="235">4.1219013340540016</cx:pt>
          <cx:pt idx="236">4.1549701496204223</cx:pt>
          <cx:pt idx="237">4.1916013561653935</cx:pt>
          <cx:pt idx="238">4.2202540353290923</cx:pt>
          <cx:pt idx="239">4.2365366189224387</cx:pt>
          <cx:pt idx="240">4.2670503402697584</cx:pt>
          <cx:pt idx="241">4.3120900179347963</cx:pt>
          <cx:pt idx="242">4.357639486032971</cx:pt>
          <cx:pt idx="243">4.378952411370169</cx:pt>
          <cx:pt idx="244">4.3912488022995841</cx:pt>
          <cx:pt idx="245">4.3832027123307853</cx:pt>
          <cx:pt idx="246">4.3722944254723233</cx:pt>
          <cx:pt idx="247">4.3606490922045058</cx:pt>
          <cx:pt idx="248">4.359174999385794</cx:pt>
          <cx:pt idx="249">4.3429599783799713</cx:pt>
          <cx:pt idx="250">4.3369407660368999</cx:pt>
          <cx:pt idx="251">4.3343918138712123</cx:pt>
          <cx:pt idx="252">4.3264071444365273</cx:pt>
          <cx:pt idx="253">4.3328440164115651</cx:pt>
          <cx:pt idx="254">4.3257438026681072</cx:pt>
          <cx:pt idx="255">4.3265115593445191</cx:pt>
          <cx:pt idx="256">4.322218264010024</cx:pt>
          <cx:pt idx="257">4.2889467606810312</cx:pt>
          <cx:pt idx="258">4.2635002333980294</cx:pt>
          <cx:pt idx="259">4.2230548116846425</cx:pt>
          <cx:pt idx="260">4.2039345994152759</cx:pt>
          <cx:pt idx="261">4.1674630862589979</cx:pt>
          <cx:pt idx="262">4.1310529936368328</cx:pt>
          <cx:pt idx="263">4.1098997616883279</cx:pt>
          <cx:pt idx="264">4.0801722231776525</cx:pt>
          <cx:pt idx="265">4.069356067120359</cx:pt>
          <cx:pt idx="266">4.0498059111122036</cx:pt>
          <cx:pt idx="267">4.0229282853843698</cx:pt>
          <cx:pt idx="268">3.9798049283836572</cx:pt>
          <cx:pt idx="269">3.9519998525907183</cx:pt>
          <cx:pt idx="270">3.9239613787681504</cx:pt>
          <cx:pt idx="271">3.9080411763260692</cx:pt>
          <cx:pt idx="272">3.8691926884996195</cx:pt>
          <cx:pt idx="273">3.8279672260029978</cx:pt>
          <cx:pt idx="274">3.7910903373215739</cx:pt>
          <cx:pt idx="275">3.7593604893988162</cx:pt>
          <cx:pt idx="276">3.7390855710881268</cx:pt>
          <cx:pt idx="277">3.7254747807286939</cx:pt>
          <cx:pt idx="278">3.7010539763653791</cx:pt>
          <cx:pt idx="279">3.6704665503771232</cx:pt>
          <cx:pt idx="280">3.6566960666289963</cx:pt>
          <cx:pt idx="281">3.6181239712060544</cx:pt>
          <cx:pt idx="282">3.5861054467729656</cx:pt>
          <cx:pt idx="283">3.5747672161757125</cx:pt>
          <cx:pt idx="284">3.5495233766552841</cx:pt>
          <cx:pt idx="285">3.5391310222833696</cx:pt>
          <cx:pt idx="286">3.4963516202736895</cx:pt>
          <cx:pt idx="287">3.4868191533793578</cx:pt>
          <cx:pt idx="288">3.4912475738889022</cx:pt>
          <cx:pt idx="289">3.4954548804756405</cx:pt>
          <cx:pt idx="290">3.5008537454241702</cx:pt>
          <cx:pt idx="291">3.4830172223177653</cx:pt>
          <cx:pt idx="292">3.49242070609046</cx:pt>
          <cx:pt idx="293">3.4959216765348988</cx:pt>
          <cx:pt idx="294">3.5086971476303961</cx:pt>
          <cx:pt idx="295">3.5000859887477578</cx:pt>
          <cx:pt idx="296">3.4754563545684594</cx:pt>
          <cx:pt idx="297">3.4602240621084439</cx:pt>
          <cx:pt idx="298">3.4580497752008452</cx:pt>
          <cx:pt idx="299">3.4804375598850208</cx:pt>
          <cx:pt idx="300">3.4939807876569291</cx:pt>
          <cx:pt idx="301">3.4845834459376461</cx:pt>
          <cx:pt idx="302">3.4595607203400243</cx:pt>
          <cx:pt idx="303">3.4612375009213081</cx:pt>
          <cx:pt idx="304">3.4629941281969394</cx:pt>
          <cx:pt idx="305">3.4499361226445227</cx:pt>
          <cx:pt idx="306">3.4351092057096531</cx:pt>
          <cx:pt idx="307">3.4291698400609301</cx:pt>
          <cx:pt idx="308">3.4371422253887927</cx:pt>
          <cx:pt idx="309">3.4355084391813877</cx:pt>
          <cx:pt idx="310">3.4336412549443533</cx:pt>
          <cx:pt idx="311">3.4218546544480763</cx:pt>
          <cx:pt idx="312">3.4260558189814017</cx:pt>
          <cx:pt idx="313">3.4141525194703086</cx:pt>
          <cx:pt idx="314">3.3977593789155582</cx:pt>
          <cx:pt idx="315">3.413882269120212</cx:pt>
          <cx:pt idx="316">3.3919919907623517</cx:pt>
          <cx:pt idx="317">3.4161671129892146</cx:pt>
          <cx:pt idx="318">3.3965555364469444</cx:pt>
          <cx:pt idx="319">3.3949893128270645</cx:pt>
          <cx:pt idx="320">3.3950998697884676</cx:pt>
          <cx:pt idx="321">3.3775335970321598</cx:pt>
          <cx:pt idx="322">3.3863535857307818</cx:pt>
          <cx:pt idx="323">3.397894504090607</cx:pt>
          <cx:pt idx="324">3.4000687909982066</cx:pt>
          <cx:pt idx="325">3.374757388890254</cx:pt>
          <cx:pt idx="326">3.3882576222882834</cx:pt>
          <cx:pt idx="327">3.3932081173377888</cx:pt>
          <cx:pt idx="328">3.4019912537159431</cx:pt>
          <cx:pt idx="329">3.4236051396702956</cx:pt>
          <cx:pt idx="330">3.412610864064074</cx:pt>
          <cx:pt idx="331">3.3913716433678109</cx:pt>
          <cx:pt idx="332">3.400554013217699</cx:pt>
          <cx:pt idx="333">3.3973847136574702</cx:pt>
          <cx:pt idx="334">3.4001793479596096</cx:pt>
          <cx:pt idx="335">3.4012480652531751</cx:pt>
          <cx:pt idx="336">3.4272658035034271</cx:pt>
          <cx:pt idx="337">3.439427069257794</cx:pt>
          <cx:pt idx="338">3.438075817507309</cx:pt>
          <cx:pt idx="339">3.4392919440827456</cx:pt>
          <cx:pt idx="340">3.4492297865022237</cx:pt>
          <cx:pt idx="341">3.4582278947497724</cx:pt>
          <cx:pt idx="342">3.4707883939758735</cx:pt>
          <cx:pt idx="343">3.468227157703363</cx:pt>
          <cx:pt idx="344">3.4898656118713611</cx:pt>
          <cx:pt idx="345">3.4864936245485589</cx:pt>
          <cx:pt idx="346">3.4609611085177998</cx:pt>
          <cx:pt idx="347">3.4426086529248465</cx:pt>
          <cx:pt idx="348">3.4202761467213723</cx:pt>
          <cx:pt idx="349">3.4104365771564753</cx:pt>
          <cx:pt idx="350">3.4289180158710666</cx:pt>
          <cx:pt idx="351">3.4361656388963961</cx:pt>
          <cx:pt idx="352">3.4535599341571874</cx:pt>
          <cx:pt idx="353">3.4597818342628308</cx:pt>
          <cx:pt idx="354">3.4287030440016708</cx:pt>
          <cx:pt idx="355">3.4213080116944696</cx:pt>
          <cx:pt idx="356">3.4415399356312806</cx:pt>
          <cx:pt idx="357">3.425251209984522</cx:pt>
          <cx:pt idx="358">3.412156352111638</cx:pt>
          <cx:pt idx="359">3.418851190329951</cx:pt>
          <cx:pt idx="360">3.3971451735744296</cx:pt>
          <cx:pt idx="361">3.3868879443775644</cx:pt>
          <cx:pt idx="362">3.371532810849323</cx:pt>
          <cx:pt idx="363">3.3708203326536128</cx:pt>
          <cx:pt idx="364">3.3686460457460141</cx:pt>
          <cx:pt idx="365">3.3712564184458147</cx:pt>
          <cx:pt idx="366">3.3694138024224256</cx:pt>
          <cx:pt idx="367">3.3704518094489346</cx:pt>
          <cx:pt idx="368">3.379185809399798</cx:pt>
          <cx:pt idx="369">3.40885192737636</cx:pt>
          <cx:pt idx="370">3.3911566714984152</cx:pt>
          <cx:pt idx="371">3.3764648797385934</cx:pt>
          <cx:pt idx="372">3.3730191877748563</cx:pt>
          <cx:pt idx="373">3.3521116379628029</cx:pt>
          <cx:pt idx="374">3.3859727784192808</cx:pt>
          <cx:pt idx="375">3.3763113284033115</cx:pt>
          <cx:pt idx="376">3.3714591062083872</cx:pt>
          <cx:pt idx="377">3.3704026730216445</cx:pt>
          <cx:pt idx="378">3.3860157727931601</cx:pt>
          <cx:pt idx="379">3.4012603493599984</cx:pt>
          <cx:pt idx="380">3.4169594378792718</cx:pt>
          <cx:pt idx="381">3.4084219836375698</cx:pt>
          <cx:pt idx="382">3.3975259808859306</cx:pt>
          <cx:pt idx="383">3.386077193327274</cx:pt>
          <cx:pt idx="384">3.4037355968847516</cx:pt>
          <cx:pt idx="385">3.422911087634819</cx:pt>
          <cx:pt idx="386">3.4184765250718629</cx:pt>
          <cx:pt idx="387">3.4038338697393318</cx:pt>
          <cx:pt idx="388">3.415995135493699</cx:pt>
          <cx:pt idx="389">3.4440520354765014</cx:pt>
          <cx:pt idx="390">3.4183782522172819</cx:pt>
          <cx:pt idx="391">3.4197417880745893</cx:pt>
          <cx:pt idx="392">3.4274807753728234</cx:pt>
          <cx:pt idx="393">3.4513119426086534</cx:pt>
          <cx:pt idx="394">3.4682087315431298</cx:pt>
          <cx:pt idx="395">3.4939685035501071</cx:pt>
          <cx:pt idx="396">3.5109881335528095</cx:pt>
          <cx:pt idx="397">3.5146242291722971</cx:pt>
          <cx:pt idx="398">3.5119647200452051</cx:pt>
          <cx:pt idx="399">3.4846571505785811</cx:pt>
          <cx:pt idx="400">3.459253617669459</cx:pt>
          <cx:pt idx="401">3.4518892956293143</cx:pt>
          <cx:pt idx="402">3.4538977470948087</cx:pt>
          <cx:pt idx="403">3.4466194138024222</cx:pt>
          <cx:pt idx="404">3.4475775741345842</cx:pt>
          <cx:pt idx="405">3.433942215561506</cx:pt>
          <cx:pt idx="406">3.4532036950593317</cx:pt>
          <cx:pt idx="407">3.4736444488121263</cx:pt>
          <cx:pt idx="408">3.4931270422327594</cx:pt>
          <cx:pt idx="409">3.497168513377392</cx:pt>
          <cx:pt idx="410">3.4940852025649214</cx:pt>
          <cx:pt idx="411">3.4805419747930131</cx:pt>
          <cx:pt idx="412">3.4815738397661109</cx:pt>
          <cx:pt idx="413">3.4765987765029602</cx:pt>
          <cx:pt idx="414">3.508365476746186</cx:pt>
          <cx:pt idx="415">3.4795285359801493</cx:pt>
          <cx:pt idx="416">3.4834840183770241</cx:pt>
          <cx:pt idx="417">3.4727231408004324</cx:pt>
          <cx:pt idx="418">3.4866103235633741</cx:pt>
          <cx:pt idx="419">3.482409159030047</cx:pt>
          <cx:pt idx="420">3.4588298159840796</cx:pt>
          <cx:pt idx="421">3.4869727047146406</cx:pt>
          <cx:pt idx="422">3.4754932068889275</cx:pt>
          <cx:pt idx="423">3.4566985234503602</cx:pt>
          <cx:pt idx="424">3.444070461636735</cx:pt>
          <cx:pt idx="425">3.4180281551728378</cx:pt>
          <cx:pt idx="426">3.4073286981303599</cx:pt>
          <cx:pt idx="427">3.3992457558410933</cx:pt>
          <cx:pt idx="428">3.3880242242586549</cx:pt>
          <cx:pt idx="429">3.387459155344815</cx:pt>
          <cx:pt idx="430">3.4029616981549271</cx:pt>
          <cx:pt idx="431">3.3831597179569068</cx:pt>
          <cx:pt idx="432">3.3868940864309756</cx:pt>
          <cx:pt idx="433">3.402924845834459</cx:pt>
          <cx:pt idx="434">3.419729503967766</cx:pt>
          <cx:pt idx="435">3.427873866791145</cx:pt>
          <cx:pt idx="436">3.4021079527307565</cx:pt>
          <cx:pt idx="437">3.3798982875955081</cx:pt>
          <cx:pt idx="438">3.3750337812937614</cx:pt>
          <cx:pt idx="439">3.3578667420091883</cx:pt>
          <cx:pt idx="440">3.3641930570228231</cx:pt>
          <cx:pt idx="441">3.3653968994914378</cx:pt>
          <cx:pt idx="442">3.366723583028278</cx:pt>
          <cx:pt idx="443">3.3543473454045154</cx:pt>
          <cx:pt idx="444">3.3500970444438982</cx:pt>
          <cx:pt idx="445">3.3123848364985382</cx:pt>
          <cx:pt idx="446">3.3300678082696606</cx:pt>
          <cx:pt idx="447">3.3195648969363436</cx:pt>
          <cx:pt idx="448">3.3486413777854218</cx:pt>
          <cx:pt idx="449">3.3403188954131147</cx:pt>
          <cx:pt idx="450">3.3689408643097574</cx:pt>
          <cx:pt idx="451">3.3741186153354796</cx:pt>
          <cx:pt idx="452">3.3553976365378482</cx:pt>
          <cx:pt idx="453">3.3510859150431176</cx:pt>
          <cx:pt idx="454">3.388798122988478</cx:pt>
          <cx:pt idx="455">3.3995835687787146</cx:pt>
          <cx:pt idx="456">3.4303368302090758</cx:pt>
          <cx:pt idx="457">3.4416873449131513</cx:pt>
          <cx:pt idx="458">3.4223153084539222</cx:pt>
          <cx:pt idx="459">3.4286723337346143</cx:pt>
          <cx:pt idx="460">3.4135628823428252</cx:pt>
          <cx:pt idx="461">3.40600815664693</cx:pt>
          <cx:pt idx="462">3.4055167923740264</cx:pt>
          <cx:pt idx="463">3.4131329386040337</cx:pt>
          <cx:pt idx="464">3.3974522762449939</cx:pt>
          <cx:pt idx="465">3.386543989386531</cx:pt>
          <cx:pt idx="466">3.379394639215783</cx:pt>
          <cx:pt idx="467">3.4016718669385546</cx:pt>
          <cx:pt idx="468">3.3920042748691741</cx:pt>
          <cx:pt idx="469">3.3762560499226093</cx:pt>
          <cx:pt idx="470">3.3857148121760066</cx:pt>
          <cx:pt idx="471">3.3701877011522483</cx:pt>
          <cx:pt idx="472">3.3903582045549459</cx:pt>
          <cx:pt idx="473">3.4158538682652373</cx:pt>
          <cx:pt idx="474">3.4199997543178631</cx:pt>
          <cx:pt idx="475">3.4231444856644471</cx:pt>
          <cx:pt idx="476">3.4320688892710609</cx:pt>
          <cx:pt idx="477">3.43045352922389</cx:pt>
          <cx:pt idx="478">3.4278370144706778</cx:pt>
          <cx:pt idx="479">3.4282423899958236</cx:pt>
          <cx:pt idx="480">3.4237279807385197</cx:pt>
          <cx:pt idx="481">3.3960887403876856</cx:pt>
          <cx:pt idx="482">3.413163648871091</cx:pt>
          <cx:pt idx="483">3.4280888386605408</cx:pt>
          <cx:pt idx="484">3.4442670073458963</cx:pt>
          <cx:pt idx="485">3.4349065179470806</cx:pt>
          <cx:pt idx="486">3.4441748765447264</cx:pt>
          <cx:pt idx="487">3.4287030440016708</cx:pt>
          <cx:pt idx="488">3.421050045451195</cx:pt>
          <cx:pt idx="489">3.4466071296955993</cx:pt>
          <cx:pt idx="490">3.4582770311770625</cx:pt>
          <cx:pt idx="491">3.4590325037466525</cx:pt>
          <cx:pt idx="492">3.4780175908409694</cx:pt>
          <cx:pt idx="493">3.4935262757044936</cx:pt>
          <cx:pt idx="494">3.5058533769009661</cx:pt>
          <cx:pt idx="495">3.4986303220892809</cx:pt>
          <cx:pt idx="496">3.4877158931774064</cx:pt>
          <cx:pt idx="497">3.4962656315259317</cx:pt>
          <cx:pt idx="498">3.4996928973294352</cx:pt>
          <cx:pt idx="499">3.5062157580522326</cx:pt>
          <cx:pt idx="500">3.5086234429894607</cx:pt>
          <cx:pt idx="501">3.5192491953910032</cx:pt>
          <cx:pt idx="502">3.5288922192467389</cx:pt>
          <cx:pt idx="503">3.5071002137434588</cx:pt>
          <cx:pt idx="504">3.5072721912389744</cx:pt>
          <cx:pt idx="505">3.4933113038350978</cx:pt>
          <cx:pt idx="506">3.509710586443259</cx:pt>
          <cx:pt idx="507">3.5284315652408904</cx:pt>
          <cx:pt idx="508">3.5171240449106933</cx:pt>
          <cx:pt idx="509">3.5413851558853149</cx:pt>
          <cx:pt idx="510">3.5350281306046232</cx:pt>
          <cx:pt idx="511">3.5309928015134009</cx:pt>
          <cx:pt idx="512">3.5373068324202142</cx:pt>
          <cx:pt idx="513">3.5438174090361878</cx:pt>
          <cx:pt idx="514">3.548337960346903</cx:pt>
          <cx:pt idx="515">3.5551310714197966</cx:pt>
          <cx:pt idx="516">3.5307716875905952</cx:pt>
          <cx:pt idx="517">3.503003464118124</cx:pt>
          <cx:pt idx="518">3.4931024740191146</cx:pt>
          <cx:pt idx="519">3.4815676977126997</cx:pt>
          <cx:pt idx="520">3.4713596049431241</cx:pt>
          <cx:pt idx="521">3.4429341817556449</cx:pt>
          <cx:pt idx="522">3.4597449819423631</cx:pt>
          <cx:pt idx="523">3.4685711126943959</cx:pt>
          <cx:pt idx="524">3.4696029776674941</cx:pt>
          <cx:pt idx="525">3.4544013954745356</cx:pt>
          <cx:pt idx="526">3.4699837849789943</cx:pt>
          <cx:pt idx="527">3.4808982138908684</cx:pt>
          <cx:pt idx="528">3.4908176301501124</cx:pt>
          <cx:pt idx="529">3.4762548215119282</cx:pt>
          <cx:pt idx="530">3.4849519691423239</cx:pt>
          <cx:pt idx="531">3.5015600815664696</cx:pt>
          <cx:pt idx="532">3.4941957595263253</cx:pt>
          <cx:pt idx="533">3.4839753826499282</cx:pt>
          <cx:pt idx="534">3.485160798958308</cx:pt>
          <cx:pt idx="535">3.4676927990565805</cx:pt>
          <cx:pt idx="536">3.4925619733189199</cx:pt>
          <cx:pt idx="537">3.4931884627668723</cx:pt>
          <cx:pt idx="538">3.4846080141512914</cx:pt>
          <cx:pt idx="539">3.467287423531435</cx:pt>
          <cx:pt idx="540">3.436110360415694</cx:pt>
          <cx:pt idx="541">3.4280949807139516</cx:pt>
          <cx:pt idx="542">3.4403913716433676</cx:pt>
          <cx:pt idx="543">3.4454032872269851</cx:pt>
          <cx:pt idx="544">3.4275790482274031</cx:pt>
          <cx:pt idx="545">3.4192627079085076</cx:pt>
          <cx:pt idx="546">3.406794339483576</cx:pt>
          <cx:pt idx="547">3.3997739724344647</cx:pt>
          <cx:pt idx="548">3.4260742451416357</cx:pt>
          <cx:pt idx="549">3.4354470186472748</cx:pt>
          <cx:pt idx="550">3.4348205291993228</cx:pt>
          <cx:pt idx="551">3.4442731493993075</cx:pt>
          <cx:pt idx="552">3.4672874235314355</cx:pt>
          <cx:pt idx="553">3.4408765938628609</cx:pt>
          <cx:pt idx="554">3.4278677247377347</cx:pt>
          <cx:pt idx="555">3.4355698597155002</cx:pt>
          <cx:pt idx="556">3.4197049357541216</cx:pt>
          <cx:pt idx="557">3.4058546053116476</cx:pt>
          <cx:pt idx="558">3.3851251750485227</cx:pt>
          <cx:pt idx="559">3.3592978404540208</cx:pt>
          <cx:pt idx="560">3.3680134142446501</cx:pt>
          <cx:pt idx="561">3.376956244011498</cx:pt>
          <cx:pt idx="562">3.3720241751222266</cx:pt>
          <cx:pt idx="563">3.363578851681694</cx:pt>
          <cx:pt idx="564">3.3682590963811019</cx:pt>
          <cx:pt idx="565">3.3752610372699805</cx:pt>
          <cx:pt idx="566">3.3775458811389831</cx:pt>
          <cx:pt idx="567">3.355483625285606</cx:pt>
          <cx:pt idx="568">3.3464425226641774</cx:pt>
          <cx:pt idx="569">3.3495504016902933</cx:pt>
          <cx:pt idx="570">3.3731297447362603</cx:pt>
          <cx:pt idx="571">3.3733017222317767</cx:pt>
          <cx:pt idx="572">3.3662813551826649</cx:pt>
          <cx:pt idx="573">3.3709186055081939</cx:pt>
          <cx:pt idx="574">3.3760042257327472</cx:pt>
          <cx:pt idx="575">3.36213546913004</cx:pt>
          <cx:pt idx="576">3.358093997985407</cx:pt>
          <cx:pt idx="577">3.3656978601085923</cx:pt>
          <cx:pt idx="578">3.3859543522590485</cx:pt>
          <cx:pt idx="579">3.3692356828734988</cx:pt>
          <cx:pt idx="580">3.3707650541729115</cx:pt>
          <cx:pt idx="581">3.370150848831782</cx:pt>
          <cx:pt idx="582">3.3537515662236204</cx:pt>
          <cx:pt idx="583">3.3379296366361197</cx:pt>
          <cx:pt idx="584">3.356472495884824</cx:pt>
          <cx:pt idx="585">3.3409392428076545</cx:pt>
          <cx:pt idx="586">3.3334029432719943</cx:pt>
          <cx:pt idx="587">3.3460002948185634</cx:pt>
          <cx:pt idx="588">3.3415165958283164</cx:pt>
          <cx:pt idx="589">3.3621538952902732</cx:pt>
          <cx:pt idx="590">3.3888104070953</cx:pt>
          <cx:pt idx="591">3.3750644915608188</cx:pt>
          <cx:pt idx="592">3.3830491609955038</cx:pt>
          <cx:pt idx="593">3.3861140456477412</cx:pt>
          <cx:pt idx="594">3.3654398938653167</cx:pt>
          <cx:pt idx="595">3.3702675478465962</cx:pt>
          <cx:pt idx="596">3.3645492961206793</cx:pt>
          <cx:pt idx="597">3.3534198953394103</cx:pt>
          <cx:pt idx="598">3.3430521091811416</cx:pt>
          <cx:pt idx="599">3.3587143453799477</cx:pt>
          <cx:pt idx="600">3.3551396702945735</cx:pt>
          <cx:pt idx="601">3.3698007517873383</cx:pt>
          <cx:pt idx="602">3.4099022185096923</cx:pt>
          <cx:pt idx="603">3.4496228779205471</cx:pt>
          <cx:pt idx="604">3.4701373363142771</cx:pt>
          <cx:pt idx="605">3.4782018524433091</cx:pt>
          <cx:pt idx="606">3.5266258015379699</cx:pt>
          <cx:pt idx="607">3.5517590840969957</cx:pt>
          <cx:pt idx="608">3.5835380684470435</cx:pt>
          <cx:pt idx="609">3.6125347026017747</cx:pt>
          <cx:pt idx="610">3.6500135125175053</cx:pt>
          <cx:pt idx="611">3.6902992408421991</cx:pt>
          <cx:pt idx="612">3.7292705697368751</cx:pt>
          <cx:pt idx="613">3.7632606933149897</cx:pt>
          <cx:pt idx="614">3.8084047858880186</cx:pt>
          <cx:pt idx="615">3.8228754637250328</cx:pt>
          <cx:pt idx="616">3.8576640542466163</cx:pt>
          <cx:pt idx="617">3.8828157629658753</cx:pt>
          <cx:pt idx="618">3.9164373633393126</cx:pt>
          <cx:pt idx="619">3.9669189003267582</cx:pt>
          <cx:pt idx="620">3.9878018819251655</cx:pt>
          <cx:pt idx="621">4.0004545119524364</cx:pt>
          <cx:pt idx="622">4.0384861066751849</cx:pt>
          <cx:pt idx="623">4.055683856226814</cx:pt>
          <cx:pt idx="624">4.0832493919367128</cx:pt>
          <cx:pt idx="625">4.142114831830578</cx:pt>
          <cx:pt idx="626">4.1826155320246672</cx:pt>
          <cx:pt idx="627">4.2227845613345449</cx:pt>
          <cx:pt idx="628">4.2599255583126547</cx:pt>
          <cx:pt idx="629">4.3101675552170597</cx:pt>
          <cx:pt idx="630">4.322562219001056</cx:pt>
          <cx:pt idx="631">4.3526644227698208</cx:pt>
          <cx:pt idx="632">4.3560978306267355</cx:pt>
          <cx:pt idx="633">4.3520686435889244</cx:pt>
          <cx:pt idx="634">4.3463135395425398</cx:pt>
          <cx:pt idx="635">4.3476832174532589</cx:pt>
          <cx:pt idx="636">4.3618037982458295</cx:pt>
          <cx:pt idx="637">4.3499680613222615</cx:pt>
          <cx:pt idx="638">4.3459143060708056</cx:pt>
          <cx:pt idx="639">4.3416885733238333</cx:pt>
          <cx:pt idx="640">4.3328563005183893</cx:pt>
          <cx:pt idx="641">4.3313085030587422</cx:pt>
          <cx:pt idx="642">4.324859346976881</cx:pt>
          <cx:pt idx="643">4.3354236788443101</cx:pt>
          <cx:pt idx="644">4.3324140726727753</cx:pt>
          <cx:pt idx="645">4.3280839250178111</cx:pt>
          <cx:pt idx="646">4.3214812176006685</cx:pt>
          <cx:pt idx="647">4.3004938210942685</cx:pt>
          <cx:pt idx="648">4.2877859125862949</cx:pt>
          <cx:pt idx="649">4.2418802053902667</cx:pt>
          <cx:pt idx="650">4.1940766036901467</cx:pt>
          <cx:pt idx="651">4.1616465616785003</cx:pt>
          <cx:pt idx="652">4.1272633466820627</cx:pt>
          <cx:pt idx="653">4.0770704862049483</cx:pt>
          <cx:pt idx="654">4.0507210770704862</cx:pt>
          <cx:pt idx="655">4.0176522615040664</cx:pt>
          <cx:pt idx="656">3.9719308159103748</cx:pt>
          <cx:pt idx="657">3.9225118541630839</cx:pt>
          <cx:pt idx="658">3.8867405350956932</cx:pt>
          <cx:pt idx="659">3.8471550008598872</cx:pt>
          <cx:pt idx="660">3.8151794708006777</cx:pt>
          <cx:pt idx="661">3.7975886298307246</cx:pt>
          <cx:pt idx="662">3.7655332530771681</cx:pt>
          <cx:pt idx="663">3.7392759747438755</cx:pt>
          <cx:pt idx="664">3.7285580915411631</cx:pt>
          <cx:pt idx="665">3.7125580424047362</cx:pt>
          <cx:pt idx="666">3.6871729356558478</cx:pt>
          <cx:pt idx="667">3.6695513844188383</cx:pt>
          <cx:pt idx="668">3.6365562734933543</cx:pt>
          <cx:pt idx="669">3.6108333538068447</cx:pt>
          <cx:pt idx="670">3.5857737758887556</cx:pt>
          <cx:pt idx="671">3.5751111711667445</cx:pt>
          <cx:pt idx="672">3.536692627079085</cx:pt>
          <cx:pt idx="673">3.5097597228705495</cx:pt>
          <cx:pt idx="674">3.460746136648404</cx:pt>
          <cx:pt idx="675">3.4474363069061242</cx:pt>
          <cx:pt idx="676">3.4333832887010782</cx:pt>
          <cx:pt idx="677">3.427056973687443</cx:pt>
          <cx:pt idx="678">3.4334569933420145</cx:pt>
          <cx:pt idx="679">3.4251222268628854</cx:pt>
          <cx:pt idx="680">3.4432904208534998</cx:pt>
          <cx:pt idx="681">3.4666547920300714</cx:pt>
          <cx:pt idx="682">3.4642716753064886</cx:pt>
          <cx:pt idx="683">3.4858487089403729</cx:pt>
          <cx:pt idx="684">3.4927278087610252</cx:pt>
          <cx:pt idx="685">3.4727354249072548</cx:pt>
          <cx:pt idx="686">3.4865673291894947</cx:pt>
          <cx:pt idx="687">3.4930533375918236</cx:pt>
          <cx:pt idx="688">3.5108407242709379</cx:pt>
          <cx:pt idx="689">3.5052268874530133</cx:pt>
          <cx:pt idx="690">3.5078188339925798</cx:pt>
          <cx:pt idx="691">3.5131194260865293</cx:pt>
          <cx:pt idx="692">3.5044529887231901</cx:pt>
          <cx:pt idx="693">3.4851055204776062</cx:pt>
          <cx:pt idx="694">3.4913335626366608</cx:pt>
          <cx:pt idx="695">3.4822433235879422</cx:pt>
          <cx:pt idx="696">3.4894295260791597</cx:pt>
          <cx:pt idx="697">3.4748360071739195</cx:pt>
          <cx:pt idx="698">3.4666670761368947</cx:pt>
          <cx:pt idx="699">3.4968061322261264</cx:pt>
          <cx:pt idx="700">3.4873596540795524</cx:pt>
          <cx:pt idx="701">3.4659853082082406</cx:pt>
          <cx:pt idx="702">3.4579883546667327</cx:pt>
          <cx:pt idx="703">3.4647507554725694</cx:pt>
          <cx:pt idx="704">3.4445925361766951</cx:pt>
          <cx:pt idx="705">3.4545610888632288</cx:pt>
          <cx:pt idx="706">3.4367061395965903</cx:pt>
          <cx:pt idx="707">3.4169164435053934</cx:pt>
          <cx:pt idx="708">3.4105164238508228</cx:pt>
          <cx:pt idx="709">3.3888226912021233</cx:pt>
          <cx:pt idx="710">3.3995221482446016</cx:pt>
          <cx:pt idx="711">3.3954868191533794</cx:pt>
          <cx:pt idx="712">3.3727857897452282</cx:pt>
          <cx:pt idx="713">3.385211163796281</cx:pt>
          <cx:pt idx="714">3.3718521976267106</cx:pt>
          <cx:pt idx="715">3.37236813011326</cx:pt>
          <cx:pt idx="716">3.3728472102793412</cx:pt>
          <cx:pt idx="717">3.3637631132840333</cx:pt>
          <cx:pt idx="718">3.346663636586984</cx:pt>
          <cx:pt idx="719">3.3246505171608978</cx:pt>
          <cx:pt idx="720">3.3177468491266007</cx:pt>
          <cx:pt idx="721">3.3340847112006489</cx:pt>
          <cx:pt idx="722">3.3302582119254112</cx:pt>
          <cx:pt idx="723">3.3298712625604998</cx:pt>
          <cx:pt idx="724">3.3570437068520751</cx:pt>
          <cx:pt idx="725">3.3555143355526633</cx:pt>
          <cx:pt idx="726">3.3377883694076607</cx:pt>
          <cx:pt idx="727">3.3095594919293427</cx:pt>
          <cx:pt idx="728">3.325682382133996</cx:pt>
          <cx:pt idx="729">3.320995995381177</cx:pt>
          <cx:pt idx="730">3.308392501781197</cx:pt>
          <cx:pt idx="731">3.3244294032380926</cx:pt>
          <cx:pt idx="732">3.3411050782497616</cx:pt>
          <cx:pt idx="733">3.3336240571948026</cx:pt>
          <cx:pt idx="734">3.3347296268088358</cx:pt>
          <cx:pt idx="735">3.3417745620715928</cx:pt>
          <cx:pt idx="736">3.3356202245534741</cx:pt>
          <cx:pt idx="737">3.3352271331351506</cx:pt>
          <cx:pt idx="738">3.3579957251308268</cx:pt>
          <cx:pt idx="739">3.3481930078863971</cx:pt>
          <cx:pt idx="740">3.3447104636021927</cx:pt>
          <cx:pt idx="741">3.3207625973515467</cx:pt>
          <cx:pt idx="742">3.3139019236911289</cx:pt>
          <cx:pt idx="743">3.3241345846743489</cx:pt>
          <cx:pt idx="744">3.3106834877036095</cx:pt>
          <cx:pt idx="745">3.3154742893644209</cx:pt>
          <cx:pt idx="746">3.3498452202540361</cx:pt>
          <cx:pt idx="747">3.3655074564528418</cx:pt>
          <cx:pt idx="748">3.3573876618431084</cx:pt>
          <cx:pt idx="749">3.3827543424317623</cx:pt>
          <cx:pt idx="750">3.3940372945483137</cx:pt>
          <cx:pt idx="751">3.4189003267572415</cx:pt>
          <cx:pt idx="752">3.4157003169299567</cx:pt>
          <cx:pt idx="753">3.4222600299732213</cx:pt>
          <cx:pt idx="754">3.4139989681350276</cx:pt>
          <cx:pt idx="755">3.4129179667346397</cx:pt>
          <cx:pt idx="756">3.4230707810235126</cx:pt>
          <cx:pt idx="757">3.4363744687123812</cx:pt>
          <cx:pt idx="758">3.4454217133872205</cx:pt>
          <cx:pt idx="759">3.436239343537332</cx:pt>
          <cx:pt idx="760">3.4315713829447465</cx:pt>
          <cx:pt idx="761">3.4323452816745701</cx:pt>
          <cx:pt idx="762">3.4420190157973618</cx:pt>
          <cx:pt idx="763">3.4384811930324557</cx:pt>
          <cx:pt idx="764">3.4443284278800097</cx:pt>
          <cx:pt idx="765">3.45266933641255</cx:pt>
          <cx:pt idx="766">3.4510724025256128</cx:pt>
          <cx:pt idx="767">3.4595115839127337</cx:pt>
          <cx:pt idx="768">3.4514286416234672</cx:pt>
          <cx:pt idx="769">3.427923003218436</cx:pt>
          <cx:pt idx="770">3.4215844040979784</cx:pt>
          <cx:pt idx="771">3.4385917499938579</cx:pt>
          <cx:pt idx="772">3.4696889664152515</cx:pt>
          <cx:pt idx="773">3.4765680662359033</cx:pt>
          <cx:pt idx="774">3.4752905191263532</cx:pt>
          <cx:pt idx="775">3.4786809326093899</cx:pt>
          <cx:pt idx="776">3.4757941675060802</cx:pt>
          <cx:pt idx="777">3.4726002997322056</cx:pt>
          <cx:pt idx="778">3.480615679433948</cx:pt>
          <cx:pt idx="779">3.4894970886666825</cx:pt>
          <cx:pt idx="780">3.4771208510429203</cx:pt>
          <cx:pt idx="781">3.5037098002604226</cx:pt>
          <cx:pt idx="782">3.4799769058791723</cx:pt>
          <cx:pt idx="783">3.4645173574429395</cx:pt>
          <cx:pt idx="784">3.46451735744294</cx:pt>
          <cx:pt idx="785">3.4664766724811442</cx:pt>
          <cx:pt idx="786">3.4583691619782324</cx:pt>
          <cx:pt idx="787">3.4690071984865987</cx:pt>
          <cx:pt idx="788">3.4658133307127241</cx:pt>
          <cx:pt idx="789">3.4797005134756649</cx:pt>
          <cx:pt idx="790">3.4815676977126997</cx:pt>
          <cx:pt idx="791">3.480756946662408</cx:pt>
          <cx:pt idx="792">3.4649964376090212</cx:pt>
          <cx:pt idx="793">3.4582033265361276</cx:pt>
          <cx:pt idx="794">3.4661204333832889</cx:pt>
          <cx:pt idx="795">3.4661142913298777</cx:pt>
          <cx:pt idx="796">3.466875905952878</cx:pt>
          <cx:pt idx="797">3.4660037343684742</cx:pt>
          <cx:pt idx="798">3.4733189199813279</cx:pt>
          <cx:pt idx="799">3.4822617497481763</cx:pt>
          <cx:pt idx="800">3.4952337665528339</cx:pt>
          <cx:pt idx="801">3.5043547158686095</cx:pt>
          <cx:pt idx="802">3.5128491757364322</cx:pt>
          <cx:pt idx="803">3.5050426258506748</cx:pt>
          <cx:pt idx="804">3.4861005331302368</cx:pt>
          <cx:pt idx="805">3.4949573741493261</cx:pt>
          <cx:pt idx="806">3.4867454487384228</cx:pt>
          <cx:pt idx="807">3.4997051814362585</cx:pt>
          <cx:pt idx="808">3.4856767314448578</cx:pt>
          <cx:pt idx="809">3.4836498538191298</cx:pt>
          <cx:pt idx="810">3.4867638748986569</cx:pt>
          <cx:pt idx="811">3.4937105373068338</cx:pt>
          <cx:pt idx="812">3.480308576763385</cx:pt>
          <cx:pt idx="813">3.4915239662924127</cx:pt>
          <cx:pt idx="814">3.4972606441785632</cx:pt>
          <cx:pt idx="815">3.4930779058054697</cx:pt>
          <cx:pt idx="816">3.4922548706483556</cx:pt>
          <cx:pt idx="817">3.4940114979239865</cx:pt>
          <cx:pt idx="818">3.4737672898803531</cx:pt>
          <cx:pt idx="819">3.4777473404908736</cx:pt>
          <cx:pt idx="820">3.446944942633221</cx:pt>
          <cx:pt idx="821">3.4653219664398196</cx:pt>
          <cx:pt idx="822">3.4514532098371129</cx:pt>
          <cx:pt idx="823">3.480112031054222</cx:pt>
          <cx:pt idx="824">3.4641795445053187</cx:pt>
          <cx:pt idx="825">3.4562624376581574</cx:pt>
          <cx:pt idx="826">3.4665442350686675</cx:pt>
          <cx:pt idx="827">3.4608259833427506</cx:pt>
          <cx:pt idx="828">3.4624106331228659</cx:pt>
          <cx:pt idx="829">3.4624659116035676</cx:pt>
          <cx:pt idx="830">3.4865427609758495</cx:pt>
          <cx:pt idx="831">3.4819116527037322</cx:pt>
          <cx:pt idx="832">3.4690133405400099</cx:pt>
          <cx:pt idx="833">3.4625826106183824</cx:pt>
          <cx:pt idx="834">3.450372208436725</cx:pt>
          <cx:pt idx="835">3.4585411394737493</cx:pt>
          <cx:pt idx="836">3.4539223153084544</cx:pt>
          <cx:pt idx="837">3.4680367540476134</cx:pt>
          <cx:pt idx="838">3.4613910522565905</cx:pt>
          <cx:pt idx="839">3.4615998820725746</cx:pt>
          <cx:pt idx="840">3.45835687787141</cx:pt>
          <cx:pt idx="841">3.4674041225462497</cx:pt>
          <cx:pt idx="842">3.4552735670589394</cx:pt>
          <cx:pt idx="843">3.444082745743557</cx:pt>
          <cx:pt idx="844">3.4483944672382871</cx:pt>
          <cx:pt idx="845">3.4664459622140869</cx:pt>
          <cx:pt idx="846">3.479829496597302</cx:pt>
          <cx:pt idx="847">3.483791121047588</cx:pt>
          <cx:pt idx="848">3.4953443235142365</cx:pt>
          <cx:pt idx="849">3.4953197553005917</cx:pt>
          <cx:pt idx="850">3.4910326020195068</cx:pt>
          <cx:pt idx="851">3.5079171068471608</cx:pt>
          <cx:pt idx="852">3.4904491069454342</cx:pt>
          <cx:pt idx="853">3.5186534162101073</cx:pt>
          <cx:pt idx="854">3.5089735400339044</cx:pt>
          <cx:pt idx="855">3.5032307200943413</cx:pt>
          <cx:pt idx="856">3.5030157482249469</cx:pt>
          <cx:pt idx="857">3.488661769402746</cx:pt>
          <cx:pt idx="858">3.4735216077439008</cx:pt>
          <cx:pt idx="859">3.4903754023044984</cx:pt>
          <cx:pt idx="860">3.4828943812495394</cx:pt>
          <cx:pt idx="861">3.4577365304768692</cx:pt>
          <cx:pt idx="862">3.4489841043657714</cx:pt>
          <cx:pt idx="863">3.4853143502935904</cx:pt>
          <cx:pt idx="864">3.4892944009041105</cx:pt>
          <cx:pt idx="865">3.5034395499103259</cx:pt>
          <cx:pt idx="866">3.528124462570327</cx:pt>
          <cx:pt idx="867">3.5106687467754223</cx:pt>
          <cx:pt idx="868">3.5166511067980251</cx:pt>
          <cx:pt idx="869">3.5120814190600207</cx:pt>
          <cx:pt idx="870">3.5121735498611897</cx:pt>
          <cx:pt idx="871">3.4866840282043099</cx:pt>
          <cx:pt idx="872">3.4870955457828665</cx:pt>
          <cx:pt idx="873">3.5072721912389757</cx:pt>
          <cx:pt idx="874">3.5100606834877044</cx:pt>
          <cx:pt idx="875">3.4922487285949444</cx:pt>
          <cx:pt idx="876">3.4745104783431202</cx:pt>
          <cx:pt idx="877">3.4493894798909177</cx:pt>
          <cx:pt idx="878">3.4535230818367206</cx:pt>
          <cx:pt idx="879">3.4499422646979347</cx:pt>
          <cx:pt idx="880">3.4380512492936646</cx:pt>
          <cx:pt idx="881">3.4405449229786509</cx:pt>
          <cx:pt idx="882">3.4464351522000842</cx:pt>
          <cx:pt idx="883">3.4439107682480419</cx:pt>
          <cx:pt idx="884">3.4195636685256621</cx:pt>
          <cx:pt idx="885">3.3907574380266814</cx:pt>
          <cx:pt idx="886">3.4184888091786845</cx:pt>
          <cx:pt idx="887">3.4271859568090806</cx:pt>
          <cx:pt idx="888">3.4174937965260552</cx:pt>
          <cx:pt idx="889">3.4462570326511561</cx:pt>
          <cx:pt idx="890">3.4603837554971379</cx:pt>
          <cx:pt idx="891">3.4690809031275336</cx:pt>
          <cx:pt idx="892">3.4715008721715845</cx:pt>
          <cx:pt idx="893">3.4861742377711717</cx:pt>
          <cx:pt idx="894">3.4614831830577599</cx:pt>
          <cx:pt idx="895">3.4675392477212976</cx:pt>
          <cx:pt idx="896">3.4685526865341623</cx:pt>
          <cx:pt idx="897">3.4565572562219002</cx:pt>
          <cx:pt idx="898">3.4688782153649611</cx:pt>
          <cx:pt idx="899">3.4527000466796061</cx:pt>
          <cx:pt idx="900">3.4475284377072946</cx:pt>
          <cx:pt idx="901">3.4413556740289422</cx:pt>
          <cx:pt idx="902">3.4661265754367006</cx:pt>
          <cx:pt idx="903">3.4487937007100218</cx:pt>
          <cx:pt idx="904">3.45821561064295</cx:pt>
          <cx:pt idx="905">3.4698670859641805</cx:pt>
          <cx:pt idx="906">3.4963516202736904</cx:pt>
          <cx:pt idx="907">3.4983477876323614</cx:pt>
          <cx:pt idx="908">3.5158833501216131</cx:pt>
          <cx:pt idx="909">3.500393091418323</cx:pt>
          <cx:pt idx="910">3.4872736653317937</cx:pt>
          <cx:pt idx="911">3.4835208706974923</cx:pt>
          <cx:pt idx="912">3.4920706090460167</cx:pt>
          <cx:pt idx="913">3.4937842419477683</cx:pt>
          <cx:pt idx="914">3.5064552981352732</cx:pt>
          <cx:pt idx="915">3.5071862024912175</cx:pt>
          <cx:pt idx="916">3.5247831855145821</cx:pt>
          <cx:pt idx="917">3.4910018917524512</cx:pt>
          <cx:pt idx="918">3.4846878608456384</cx:pt>
          <cx:pt idx="919">3.4926602461735015</cx:pt>
          <cx:pt idx="920">3.4821327666265391</cx:pt>
          <cx:pt idx="921">3.4506240326265885</cx:pt>
          <cx:pt idx="922">3.4445741100164615</cx:pt>
          <cx:pt idx="923">3.4375353168071157</cx:pt>
          <cx:pt idx="924">3.4211483183057765</cx:pt>
          <cx:pt idx="925">3.422941797901875</cx:pt>
          <cx:pt idx="926">3.3978146573962618</cx:pt>
          <cx:pt idx="927">3.3883190428223968</cx:pt>
          <cx:pt idx="928">3.389111367712454</cx:pt>
          <cx:pt idx="929">3.385573544947547</cx:pt>
          <cx:pt idx="930">3.4023167825467415</cx:pt>
          <cx:pt idx="931">3.4242684814387148</cx:pt>
          <cx:pt idx="932">3.4309694617104389</cx:pt>
          <cx:pt idx="933">3.4428543350612979</cx:pt>
          <cx:pt idx="934">3.4542785544063097</cx:pt>
          <cx:pt idx="935">3.4292558288086883</cx:pt>
          <cx:pt idx="936">3.4304043927966004</cx:pt>
          <cx:pt idx="937">3.4152212367638755</cx:pt>
          <cx:pt idx="938">3.4295076529985509</cx:pt>
          <cx:pt idx="939">3.4315161044640443</cx:pt>
          <cx:pt idx="940">3.439746456035182</cx:pt>
          <cx:pt idx="941">3.4494754686386755</cx:pt>
          <cx:pt idx="942">3.4515576247451052</cx:pt>
          <cx:pt idx="943">3.4363007640714445</cx:pt>
          <cx:pt idx="944">3.4316942240129715</cx:pt>
          <cx:pt idx="945">3.4172665405498357</cx:pt>
          <cx:pt idx="946">3.4451637471439449</cx:pt>
          <cx:pt idx="947">3.4301464265533248</cx:pt>
          <cx:pt idx="948">3.4612129327076624</cx:pt>
          <cx:pt idx="949">3.4724467483969232</cx:pt>
          <cx:pt idx="950">3.4812913053091901</cx:pt>
          <cx:pt idx="951">3.4641611183450847</cx:pt>
          <cx:pt idx="952">3.4624413433899215</cx:pt>
          <cx:pt idx="953">3.474074392550917</cx:pt>
          <cx:pt idx="954">3.4827838242881359</cx:pt>
          <cx:pt idx="955">3.4872245289045027</cx:pt>
          <cx:pt idx="956">3.4840368031840407</cx:pt>
          <cx:pt idx="957">3.4898901800850064</cx:pt>
          <cx:pt idx="958">3.4805665430066588</cx:pt>
          <cx:pt idx="959">3.4767277596245987</cx:pt>
          <cx:pt idx="960">3.4860084023290678</cx:pt>
          <cx:pt idx="961">3.4718079748421502</cx:pt>
          <cx:pt idx="962">3.4590263616932426</cx:pt>
          <cx:pt idx="963">3.451963000270251</cx:pt>
          <cx:pt idx="964">3.4325663955973771</cx:pt>
          <cx:pt idx="965">3.4275913323342269</cx:pt>
          <cx:pt idx="966">3.4370500945876228</cx:pt>
          <cx:pt idx="967">3.4345564209026369</cx:pt>
          <cx:pt idx="968">3.4295383632656069</cx:pt>
          <cx:pt idx="969">3.3956465125420729</cx:pt>
          <cx:pt idx="970">3.3874775815050491</cx:pt>
          <cx:pt idx="971">3.3953148416578629</cx:pt>
          <cx:pt idx="972">3.3795911849249443</cx:pt>
          <cx:pt idx="973">3.3927474633319412</cx:pt>
          <cx:pt idx="974">3.4007567009802719</cx:pt>
          <cx:pt idx="975">3.3848487826450144</cx:pt>
          <cx:pt idx="976">3.3916418937179085</cx:pt>
          <cx:pt idx="977">3.3686337616391921</cx:pt>
          <cx:pt idx="978">3.3814706532688019</cx:pt>
          <cx:pt idx="979">3.3556371766208892</cx:pt>
          <cx:pt idx="980">3.3399442301550266</cx:pt>
          <cx:pt idx="981">3.341700857430657</cx:pt>
          <cx:pt idx="982">3.3675589022922154</cx:pt>
          <cx:pt idx="983">3.388466452104268</cx:pt>
          <cx:pt idx="984">3.3598506252610378</cx:pt>
          <cx:pt idx="985">3.3448025944033613</cx:pt>
          <cx:pt idx="986">3.3336301992482134</cx:pt>
          <cx:pt idx="987">3.3625654128688307</cx:pt>
          <cx:pt idx="988">3.3584379529764394</cx:pt>
          <cx:pt idx="989">3.3700710021374345</cx:pt>
          <cx:pt idx="990">3.3772879148957071</cx:pt>
          <cx:pt idx="991">3.3701569908851923</cx:pt>
          <cx:pt idx="992">3.3622091737709745</cx:pt>
          <cx:pt idx="993">3.3633515957054754</cx:pt>
          <cx:pt idx="994">3.3754452988723185</cx:pt>
          <cx:pt idx="995">3.3877662580153789</cx:pt>
          <cx:pt idx="996">3.3895597376114779</cx:pt>
          <cx:pt idx="997">3.3831781441171405</cx:pt>
          <cx:pt idx="998">3.3775888755128602</cx:pt>
          <cx:pt idx="999">3.379296366361201</cx:pt>
          <cx:pt idx="1000">3.4038215856325085</cx:pt>
          <cx:pt idx="1001">3.4027651524457658</cx:pt>
          <cx:pt idx="1002">3.3964142692184849</cx:pt>
          <cx:pt idx="1003">3.4044726432941057</cx:pt>
          <cx:pt idx="1004">3.4205525391248806</cx:pt>
          <cx:pt idx="1005">3.4185133773923297</cx:pt>
          <cx:pt idx="1006">3.4395437682726087</cx:pt>
          <cx:pt idx="1007">3.4208412156352113</cx:pt>
          <cx:pt idx="1008">3.432904208534997</cx:pt>
          <cx:pt idx="1009">3.441662776699506</cx:pt>
          <cx:pt idx="1010">3.4530992801513398</cx:pt>
          <cx:pt idx="1011">3.4441503083310812</cx:pt>
          <cx:pt idx="1012">3.4387882957030191</cx:pt>
          <cx:pt idx="1013">3.434488858315111</cx:pt>
          <cx:pt idx="1014">3.43296562906911</cx:pt>
          <cx:pt idx="1015">3.4587131169692644</cx:pt>
          <cx:pt idx="1016">3.4558570621330116</cx:pt>
          <cx:pt idx="1017">3.4772006977372674</cx:pt>
          <cx:pt idx="1018">3.4619376950101959</cx:pt>
          <cx:pt idx="1019">3.478951182959487</cx:pt>
          <cx:pt idx="1020">3.4889381618062552</cx:pt>
          <cx:pt idx="1021">3.5036422376728984</cx:pt>
          <cx:pt idx="1022">3.5037957890081808</cx:pt>
          <cx:pt idx="1023">3.5287263838046332</cx:pt>
          <cx:pt idx="1024">3.5236837579539588</cx:pt>
          <cx:pt idx="1025">3.5065105766159741</cx:pt>
          <cx:pt idx="1026">3.4967815640124802</cx:pt>
          <cx:pt idx="1027">3.4873228017590838</cx:pt>
          <cx:pt idx="1028">3.494263322113849</cx:pt>
          <cx:pt idx="1029">3.4993182320713463</cx:pt>
          <cx:pt idx="1030">3.4907377834557654</cx:pt>
          <cx:pt idx="1031">3.4732390732869809</cx:pt>
          <cx:pt idx="1032">3.467035599341572</cx:pt>
          <cx:pt idx="1033">3.4641856865587308</cx:pt>
          <cx:pt idx="1034">3.4657703363388452</cx:pt>
          <cx:pt idx="1035">3.4410424293049657</cx:pt>
          <cx:pt idx="1036">3.4405756332457065</cx:pt>
          <cx:pt idx="1037">3.4359138147065327</cx:pt>
          <cx:pt idx="1038">3.440704616367344</cx:pt>
          <cx:pt idx="1039">3.4504152028106043</cx:pt>
          <cx:pt idx="1040">3.4725634474117397</cx:pt>
          <cx:pt idx="1041">3.5086480112031069</cx:pt>
          <cx:pt idx="1042">3.5544001670638545</cx:pt>
          <cx:pt idx="1043">3.5885929784045421</cx:pt>
          <cx:pt idx="1044">3.6054590570719616</cx:pt>
          <cx:pt idx="1045">3.6303589416013575</cx:pt>
          <cx:pt idx="1046">3.6524703338820244</cx:pt>
          <cx:pt idx="1047">3.7008819988698636</cx:pt>
          <cx:pt idx="1048">3.7244674839692413</cx:pt>
          <cx:pt idx="1049">3.7515969338869386</cx:pt>
          <cx:pt idx="1050">3.77188413630445</cx:pt>
          <cx:pt idx="1051">3.7937007100213753</cx:pt>
          <cx:pt idx="1052">3.8039947915387082</cx:pt>
          <cx:pt idx="1053">3.8377576591406051</cx:pt>
          <cx:pt idx="1054">3.8576517701397934</cx:pt>
          <cx:pt idx="1055">3.8920104169225862</cx:pt>
          <cx:pt idx="1056">3.933174458885095</cx:pt>
          <cx:pt idx="1057">3.9652052674250058</cx:pt>
          <cx:pt idx="1058">3.9967631378522461</cx:pt>
          <cx:pt idx="1059">4.0185858536225831</cx:pt>
          <cx:pt idx="1060">4.0371041446576417</cx:pt>
          <cx:pt idx="1061">4.0788578237476356</cx:pt>
          <cx:pt idx="1062">4.1203166842738863</cx:pt>
          <cx:pt idx="1063">4.1536066137631131</cx:pt>
          <cx:pt idx="1064">4.191171412426602</cx:pt>
          <cx:pt idx="1065">4.2189089256320171</cx:pt>
          <cx:pt idx="1066">4.2663378620740486</cx:pt>
          <cx:pt idx="1067">4.3018512148981642</cx:pt>
          <cx:pt idx="1068">4.3373829938825157</cx:pt>
          <cx:pt idx="1069">4.3835958037491105</cx:pt>
          <cx:pt idx="1070">4.407660369014569</cx:pt>
          <cx:pt idx="1071">4.4101417585927329</cx:pt>
          <cx:pt idx="1072">4.3986622607670203</cx:pt>
          <cx:pt idx="1073">4.4073041299167146</cx:pt>
          <cx:pt idx="1074">4.4146438837432127</cx:pt>
          <cx:pt idx="1075">4.4110446404441941</cx:pt>
          <cx:pt idx="1076">4.4118799597081306</cx:pt>
          <cx:pt idx="1077">4.411652703731912</cx:pt>
          <cx:pt idx="1078">4.4175429329533449</cx:pt>
          <cx:pt idx="1079">4.4230769230769234</cx:pt>
          <cx:pt idx="1080">4.4191460088936934</cx:pt>
          <cx:pt idx="1081">4.4312274279537123</cx:pt>
          <cx:pt idx="1082">4.4381556642016546</cx:pt>
          <cx:pt idx="1083">4.4385856079404453</cx:pt>
          <cx:pt idx="1084">4.3889148220032927</cx:pt>
          <cx:pt idx="1085">4.3463749600766519</cx:pt>
          <cx:pt idx="1086">4.3060585214849034</cx:pt>
          <cx:pt idx="1087">4.2682480406849619</cx:pt>
          <cx:pt idx="1088">4.2442019015797365</cx:pt>
          <cx:pt idx="1089">4.2070424784413927</cx:pt>
          <cx:pt idx="1090">4.1590607571923446</cx:pt>
          <cx:pt idx="1091">4.1211458614844121</cx:pt>
          <cx:pt idx="1092">4.0820455494680985</cx:pt>
          <cx:pt idx="1093">4.0381544357909736</cx:pt>
          <cx:pt idx="1094">3.9970026779352876</cx:pt>
          <cx:pt idx="1095">3.9443714222538886</cx:pt>
          <cx:pt idx="1096">3.9151229639092953</cx:pt>
          <cx:pt idx="1097">3.8675097658649249</cx:pt>
          <cx:pt idx="1098">3.8315787534088401</cx:pt>
          <cx:pt idx="1099">3.7977606073262424</cx:pt>
          <cx:pt idx="1100">3.7616330491609959</cx:pt>
          <cx:pt idx="1101">3.7152912561727645</cx:pt>
          <cx:pt idx="1102">3.6990455248998848</cx:pt>
          <cx:pt idx="1103">3.6896727513942458</cx:pt>
          <cx:pt idx="1104">3.6569540328722696</cx:pt>
          <cx:pt idx="1105">3.6070744171191307</cx:pt>
          <cx:pt idx="1106">3.5749760459916953</cx:pt>
          <cx:pt idx="1107">3.5294634302139887</cx:pt>
          <cx:pt idx="1108">3.4985504753949335</cx:pt>
          <cx:pt idx="1109">3.4659545979411828</cx:pt>
          <cx:pt idx="1110">3.436300764071444</cx:pt>
          <cx:pt idx="1111">3.4136734393042283</cx:pt>
          <cx:pt idx="1112">3.3775827334594508</cx:pt>
          <cx:pt idx="1113">3.3459880107117419</cx:pt>
          <cx:pt idx="1114">3.3201238237967723</cx:pt>
          <cx:pt idx="1115">3.325964916590916</cx:pt>
          <cx:pt idx="1116">3.3332678180969477</cx:pt>
          <cx:pt idx="1117">3.3463872441834766</cx:pt>
          <cx:pt idx="1118">3.3307864285187834</cx:pt>
          <cx:pt idx="1119">3.3367442203277404</cx:pt>
          <cx:pt idx="1120">3.3664717588384154</cx:pt>
          <cx:pt idx="1121">3.3792165196668549</cx:pt>
          <cx:pt idx="1122">3.3983490160430434</cx:pt>
          <cx:pt idx="1123">3.3925324914625454</cx:pt>
          <cx:pt idx="1124">3.4014753212293933</cx:pt>
          <cx:pt idx="1125">3.426018966660934</cx:pt>
          <cx:pt idx="1126">3.4309018991229148</cx:pt>
          <cx:pt idx="1127">3.4282731002628801</cx:pt>
          <cx:pt idx="1128">3.4423261184679266</cx:pt>
          <cx:pt idx="1129">3.4282485320492349</cx:pt>
          <cx:pt idx="1130">3.4124388865685575</cx:pt>
          <cx:pt idx="1131">3.4166953295825868</cx:pt>
          <cx:pt idx="1132">3.4065977937744152</cx:pt>
          <cx:pt idx="1133">3.3865378473331211</cx:pt>
          <cx:pt idx="1134">3.3727857897452282</cx:pt>
          <cx:pt idx="1135">3.3702184114193066</cx:pt>
          <cx:pt idx="1136">3.3845355379210389</cx:pt>
          <cx:pt idx="1137">3.3921271159374009</cx:pt>
          <cx:pt idx="1138">3.3875451440925732</cx:pt>
          <cx:pt idx="1139">3.3666191681202866</cx:pt>
          <cx:pt idx="1140">3.3723619880598488</cx:pt>
          <cx:pt idx="1141">3.3681485394196988</cx:pt>
          <cx:pt idx="1142">3.3549369825320006</cx:pt>
          <cx:pt idx="1143">3.3588433285015848</cx:pt>
          <cx:pt idx="1144">3.3255779672260037</cx:pt>
          <cx:pt idx="1145">3.3175687295776726</cx:pt>
          <cx:pt idx="1146">3.3387956661671132</cx:pt>
          <cx:pt idx="1147">3.3541692258555877</cx:pt>
          <cx:pt idx="1148">3.354193794069233</cx:pt>
          <cx:pt idx="1149">3.3592609881335522</cx:pt>
          <cx:pt idx="1150">3.3629707883939752</cx:pt>
          <cx:pt idx="1151">3.3372048743335871</cx:pt>
          <cx:pt idx="1152">3.3271626170061173</cx:pt>
          <cx:pt idx="1153">3.3113775397390852</cx:pt>
          <cx:pt idx="1154">3.3362282878411906</cx:pt>
          <cx:pt idx="1155">3.3276048448517308</cx:pt>
          <cx:pt idx="1156">3.3319288504532829</cx:pt>
          <cx:pt idx="1157">3.3683389430754485</cx:pt>
          <cx:pt idx="1158">3.3797385942068146</cx:pt>
          <cx:pt idx="1159">3.3558091541164039</cx:pt>
          <cx:pt idx="1160">3.3530022357074412</cx:pt>
          <cx:pt idx="1161">3.3710967250571207</cx:pt>
          <cx:pt idx="1162">3.3718890499471779</cx:pt>
          <cx:pt idx="1163">3.4010023831167233</cx:pt>
          <cx:pt idx="1164">3.39179544505319</cx:pt>
          <cx:pt idx="1165">3.388589293172493</cx:pt>
          <cx:pt idx="1166">3.379173525292976</cx:pt>
          <cx:pt idx="1167">3.3586283566321895</cx:pt>
          <cx:pt idx="1168">3.3652372061027447</cx:pt>
          <cx:pt idx="1169">3.3798552932216301</cx:pt>
          <cx:pt idx="1170">3.408870353536595</cx:pt>
          <cx:pt idx="1171">3.3877478318551466</cx:pt>
          <cx:pt idx="1172">3.3731420288430836</cx:pt>
          <cx:pt idx="1173">3.3760595042134494</cx:pt>
          <cx:pt idx="1174">3.3789155590497026</cx:pt>
          <cx:pt idx="1175">3.382287546372504</cx:pt>
          <cx:pt idx="1176">3.3805677714173412</cx:pt>
          <cx:pt idx="1177">3.3676326069331508</cx:pt>
          <cx:pt idx="1178">3.3608886322875464</cx:pt>
          <cx:pt idx="1179">3.342788000884457</cx:pt>
          <cx:pt idx="1180">3.3533953271257664</cx:pt>
          <cx:pt idx="1181">3.3220340024076864</cx:pt>
          <cx:pt idx="1182">3.3277031177063123</cx:pt>
          <cx:pt idx="1183">3.3340662850404161</cx:pt>
          <cx:pt idx="1184">3.3447288897624263</cx:pt>
          <cx:pt idx="1185">3.3171940643195841</cx:pt>
          <cx:pt idx="1186">3.3266589686263925</cx:pt>
          <cx:pt idx="1187">3.3168316831683176</cx:pt>
          <cx:pt idx="1188">3.3094120826474711</cx:pt>
          <cx:pt idx="1189">3.2952116551605539</cx:pt>
          <cx:pt idx="1190">3.3239318969117764</cx:pt>
          <cx:pt idx="1191">3.3484202638626153</cx:pt>
          <cx:pt idx="1192">3.3655934452006</cx:pt>
          <cx:pt idx="1193">3.3847320836301993</cx:pt>
          <cx:pt idx="1194">3.3795174802840089</cx:pt>
          <cx:pt idx="1195">3.4077954941896178</cx:pt>
          <cx:pt idx="1196">3.4249318232071349</cx:pt>
          <cx:pt idx="1197">3.4212035967864787</cx:pt>
          <cx:pt idx="1198">3.4260251087143456</cx:pt>
          <cx:pt idx="1199">3.4026484534309516</cx:pt>
          <cx:pt idx="1200">3.3923298036999734</cx:pt>
          <cx:pt idx="1201">3.3695489275974748</cx:pt>
          <cx:pt idx="1202">3.3859789204726933</cx:pt>
          <cx:pt idx="1203">3.3958799105717028</cx:pt>
          <cx:pt idx="1204">3.3898852664422776</cx:pt>
          <cx:pt idx="1205">3.3792103776134441</cx:pt>
          <cx:pt idx="1206">3.3865255632262987</cx:pt>
          <cx:pt idx="1207">3.4081455912340619</cx:pt>
          <cx:pt idx="1208">3.4104304351030645</cx:pt>
          <cx:pt idx="1209">3.405332530771688</cx:pt>
          <cx:pt idx="1210">3.4375598850207609</cx:pt>
          <cx:pt idx="1211">3.4209026361693251</cx:pt>
          <cx:pt idx="1212">3.4209026361693247</cx:pt>
          <cx:pt idx="1213">3.4176289217011036</cx:pt>
          <cx:pt idx="1214">3.4230093604893987</cx:pt>
          <cx:pt idx="1215">3.4267805812839347</cx:pt>
          <cx:pt idx="1216">3.4589956514261848</cx:pt>
          <cx:pt idx="1217">3.4668144854187655</cx:pt>
          <cx:pt idx="1218">3.4573864334324251</cx:pt>
          <cx:pt idx="1219">3.4556543743704395</cx:pt>
          <cx:pt idx="1220">3.4788959044787853</cx:pt>
          <cx:pt idx="1221">3.4648613124339724</cx:pt>
          <cx:pt idx="1222">3.4495675994398449</cx:pt>
          <cx:pt idx="1223">3.4103690145689507</cx:pt>
          <cx:pt idx="1224">3.3909601257892539</cx:pt>
          <cx:pt idx="1225">3.4037847333120408</cx:pt>
          <cx:pt idx="1226">3.3877846841756138</cx:pt>
          <cx:pt idx="1227">3.3706483551580964</cx:pt>
          <cx:pt idx="1228">3.3881409232734687</cx:pt>
          <cx:pt idx="1229">3.4094231383436107</cx:pt>
          <cx:pt idx="1230">3.4221617571186398</cx:pt>
          <cx:pt idx="1231">3.43708694690809</cx:pt>
          <cx:pt idx="1232">3.4830417905314106</cx:pt>
          <cx:pt idx="1233">3.509053386728251</cx:pt>
          <cx:pt idx="1234">3.5396101024494504</cx:pt>
          <cx:pt idx="1235">3.5849384566248186</cx:pt>
          <cx:pt idx="1236">3.6186890401198921</cx:pt>
          <cx:pt idx="1237">3.6609770778566681</cx:pt>
          <cx:pt idx="1238">3.6687897697958376</cx:pt>
          <cx:pt idx="1239">3.7022148244601132</cx:pt>
          <cx:pt idx="1240">3.7278947497727439</cx:pt>
          <cx:pt idx="1241">3.7401542883816914</cx:pt>
          <cx:pt idx="1242">3.7863548141414629</cx:pt>
          <cx:pt idx="1243">3.8336179151413896</cx:pt>
          <cx:pt idx="1244">3.8775765914060383</cx:pt>
          <cx:pt idx="1245">3.9115175785568632</cx:pt>
          <cx:pt idx="1246">3.9288136009630725</cx:pt>
          <cx:pt idx="1247">3.9441994447583713</cx:pt>
          <cx:pt idx="1248">3.9767891801587094</cx:pt>
          <cx:pt idx="1249">4.0149006215758041</cx:pt>
          <cx:pt idx="1250">4.0393091418322973</cx:pt>
          <cx:pt idx="1251">4.046532196643982</cx:pt>
          <cx:pt idx="1252">4.06864973097806</cx:pt>
          <cx:pt idx="1253">4.1154337518119055</cx:pt>
          <cx:pt idx="1254">4.157199715008721</cx:pt>
          <cx:pt idx="1255">4.1930201705034014</cx:pt>
          <cx:pt idx="1256">4.1927253519396599</cx:pt>
          <cx:pt idx="1257">4.2366717440974861</cx:pt>
          <cx:pt idx="1258">4.2854826425570591</cx:pt>
          <cx:pt idx="1259">4.3070228238704757</cx:pt>
          <cx:pt idx="1260">4.3272301795936414</cx:pt>
          <cx:pt idx="1261">4.3633823059725323</cx:pt>
          <cx:pt idx="1262">4.3897317151069934</cx:pt>
          <cx:pt idx="1263">4.3916664619315533</cx:pt>
          <cx:pt idx="1264">4.405344814878509</cx:pt>
          <cx:pt idx="1265">4.407420828931528</cx:pt>
          <cx:pt idx="1266">4.4087720806820139</cx:pt>
          <cx:pt idx="1267">4.3991167727194549</cx:pt>
          <cx:pt idx="1268">4.4042576714247108</cx:pt>
          <cx:pt idx="1269">4.4198830553030488</cx:pt>
          <cx:pt idx="1270">4.4137410018917524</cx:pt>
          <cx:pt idx="1271">4.4263015011178535</cx:pt>
          <cx:pt idx="1272">4.4328366459474733</cx:pt>
          <cx:pt idx="1273">4.4386531705279717</cx:pt>
          <cx:pt idx="1274">4.4443468540402433</cx:pt>
          <cx:pt idx="1275">4.4313994054492296</cx:pt>
          <cx:pt idx="1276">4.4214861312433973</cx:pt>
          <cx:pt idx="1277">4.3979006461440191</cx:pt>
          <cx:pt idx="1278">4.3615826843230225</cx:pt>
          <cx:pt idx="1279">4.3256393877601154</cx:pt>
          <cx:pt idx="1280">4.3109721642139398</cx:pt>
          <cx:pt idx="1281">4.2722772277227721</cx:pt>
          <cx:pt idx="1282">4.2460875119770041</cx:pt>
          <cx:pt idx="1283">4.2263100999926291</cx:pt>
          <cx:pt idx="1284">4.1899122914772873</cx:pt>
          <cx:pt idx="1285">4.1529371299412814</cx:pt>
          <cx:pt idx="1286">4.1287865759280642</cx:pt>
          <cx:pt idx="1287">4.1018843819865864</cx:pt>
          <cx:pt idx="1288">4.0621207282018528</cx:pt>
          <cx:pt idx="1289">4.0232415301083462</cx:pt>
          <cx:pt idx="1290">4.0137643416947162</cx:pt>
          <cx:pt idx="1291">3.978607227968455</cx:pt>
          <cx:pt idx="1292">3.9622386556273494</cx:pt>
          <cx:pt idx="1293">3.9376950101958088</cx:pt>
          <cx:pt idx="1294">3.9137041495712848</cx:pt>
          <cx:pt idx="1295">3.8788787067292345</cx:pt>
          <cx:pt idx="1296">3.8384517111760812</cx:pt>
          <cx:pt idx="1297">3.8053460432891932</cx:pt>
          <cx:pt idx="1298">3.7769451883153584</cx:pt>
          <cx:pt idx="1299">3.7447485443333424</cx:pt>
          <cx:pt idx="1300">3.7156597793774431</cx:pt>
          <cx:pt idx="1301">3.6796673463872454</cx:pt>
          <cx:pt idx="1302">3.6344249809596345</cx:pt>
          <cx:pt idx="1303">3.5942190993292877</cx:pt>
          <cx:pt idx="1304">3.5699272780876106</cx:pt>
          <cx:pt idx="1305">3.5478036017001209</cx:pt>
          <cx:pt idx="1306">3.5122104021816578</cx:pt>
          <cx:pt idx="1307">3.4886924796698038</cx:pt>
          <cx:pt idx="1308">3.4874272166670761</cx:pt>
          <cx:pt idx="1309">3.4834164557894995</cx:pt>
          <cx:pt idx="1310">3.4722993391150525</cx:pt>
          <cx:pt idx="1311">3.4716912758273346</cx:pt>
          <cx:pt idx="1312">3.4625641844581483</cx:pt>
          <cx:pt idx="1313">3.4747008819988698</cx:pt>
          <cx:pt idx="1314">3.4825872785789751</cx:pt>
          <cx:pt idx="1315">3.4965604500896745</cx:pt>
          <cx:pt idx="1316">3.495110925484608</cx:pt>
          <cx:pt idx="1317">3.4778149030783974</cx:pt>
          <cx:pt idx="1318">3.4634424980959642</cx:pt>
          <cx:pt idx="1319">3.4683807090386458</cx:pt>
          <cx:pt idx="1320">3.4740928187111519</cx:pt>
          <cx:pt idx="1321">3.4519691423236614</cx:pt>
          <cx:pt idx="1322">3.4471046360219146</cx:pt>
          <cx:pt idx="1323">3.4522332506203481</cx:pt>
          <cx:pt idx="1324">3.4638785838881656</cx:pt>
          <cx:pt idx="1325">3.4582217526963612</cx:pt>
          <cx:pt idx="1326">3.464756897525981</cx:pt>
          <cx:pt idx="1327">3.4606847161142906</cx:pt>
          <cx:pt idx="1328">3.460162641574331</cx:pt>
          <cx:pt idx="1329">3.4572083138834975</cx:pt>
          <cx:pt idx="1330">3.4528106036410091</cx:pt>
          <cx:pt idx="1331">3.434709972237918</cx:pt>
          <cx:pt idx="1332">3.4360366557747586</cx:pt>
          <cx:pt idx="1333">3.4510539763653787</cx:pt>
          <cx:pt idx="1334">3.4411407021595459</cx:pt>
          <cx:pt idx="1335">3.4243606122398837</cx:pt>
          <cx:pt idx="1336">3.4110630666044268</cx:pt>
          <cx:pt idx="1337">3.4161609709358025</cx:pt>
          <cx:pt idx="1338">3.4072119991155438</cx:pt>
          <cx:pt idx="1339">3.4026300272707166</cx:pt>
          <cx:pt idx="1340">3.394700636316732</cx:pt>
          <cx:pt idx="1341">3.4052772522909849</cx:pt>
          <cx:pt idx="1342">3.3647212736161949</cx:pt>
          <cx:pt idx="1343">3.3761332088543838</cx:pt>
          <cx:pt idx="1344">3.3723865562734932</cx:pt>
          <cx:pt idx="1345">3.3548571358376527</cx:pt>
          <cx:pt idx="1346">3.3378067955678943</cx:pt>
          <cx:pt idx="1347">3.3422720683979068</cx:pt>
          <cx:pt idx="1348">3.3510429206692383</cx:pt>
          <cx:pt idx="1349">3.3635911357885164</cx:pt>
          <cx:pt idx="1350">3.3579281625433013</cx:pt>
          <cx:pt idx="1351">3.3702368375795393</cx:pt>
          <cx:pt idx="1352">3.3894123283296076</cx:pt>
          <cx:pt idx="1353">3.4153072255116337</cx:pt>
          <cx:pt idx="1354">3.3857270962828299</cx:pt>
          <cx:pt idx="1355">3.3540341006805399</cx:pt>
          <cx:pt idx="1356">3.3595250964302386</cx:pt>
          <cx:pt idx="1357">3.3475358081713877</cx:pt>
          <cx:pt idx="1358">3.3652249219959214</cx:pt>
          <cx:pt idx="1359">3.3647028474559608</cx:pt>
          <cx:pt idx="1360">3.3619450654742895</cx:pt>
          <cx:pt idx="1361">3.3653968994914383</cx:pt>
          <cx:pt idx="1362">3.3558951428641621</cx:pt>
          <cx:pt idx="1363">3.3534935999803461</cx:pt>
          <cx:pt idx="1364">3.3509999262953594</cx:pt>
          <cx:pt idx="1365">3.3502874480996492</cx:pt>
          <cx:pt idx="1366">3.3598506252610378</cx:pt>
          <cx:pt idx="1367">3.3749293663857705</cx:pt>
          <cx:pt idx="1368">3.3822998304793264</cx:pt>
          <cx:pt idx="1369">3.3760472201066269</cx:pt>
          <cx:pt idx="1370">3.3698560302680405</cx:pt>
          <cx:pt idx="1371">3.3997801144878772</cx:pt>
          <cx:pt idx="1372">3.408716802201313</cx:pt>
          <cx:pt idx="1373">3.4126538584379538</cx:pt>
          <cx:pt idx="1374">3.4295506473724298</cx:pt>
          <cx:pt idx="1375">3.4494386163182078</cx:pt>
          <cx:pt idx="1376">3.4551814362577704</cx:pt>
          <cx:pt idx="1377">3.4448873547404371</cx:pt>
          <cx:pt idx="1378">3.4370808048546793</cx:pt>
          <cx:pt idx="1379">3.4231874800383268</cx:pt>
          <cx:pt idx="1380">3.4356558484632584</cx:pt>
          <cx:pt idx="1381">3.4212957275876477</cx:pt>
          <cx:pt idx="1382">3.3916664619315537</cx:pt>
          <cx:pt idx="1383">3.3783627742426856</cx:pt>
          <cx:pt idx="1384">3.3636218460555738</cx:pt>
          <cx:pt idx="1385">3.3642483355035262</cx:pt>
          <cx:pt idx="1386">3.3781048079994109</cx:pt>
          <cx:pt idx="1387">3.3480333144977035</cx:pt>
          <cx:pt idx="1388">3.3383534383215001</cx:pt>
          <cx:pt idx="1389">3.3473822568361067</cx:pt>
          <cx:pt idx="1390">3.3403803159472285</cx:pt>
          <cx:pt idx="1391">3.3472532737144687</cx:pt>
          <cx:pt idx="1392">3.341258629585043</cx:pt>
          <cx:pt idx="1393">3.3499680613222611</cx:pt>
          <cx:pt idx="1394">3.3604095521214652</cx:pt>
          <cx:pt idx="1395">3.3589538854629875</cx:pt>
          <cx:pt idx="1396">3.3697638994668702</cx:pt>
          <cx:pt idx="1397">3.3822998304793259</cx:pt>
          <cx:pt idx="1398">3.3713546913003958</cx:pt>
          <cx:pt idx="1399">3.360059455077022</cx:pt>
          <cx:pt idx="1400">3.3834422524138277</cx:pt>
          <cx:pt idx="1401">3.4011006559713048</cx:pt>
          <cx:pt idx="1402">3.3751566223619882</cx:pt>
          <cx:pt idx="1403">3.3606920865783851</cx:pt>
          <cx:pt idx="1404">3.3675834705058603</cx:pt>
          <cx:pt idx="1405">3.3520133651082236</cx:pt>
          <cx:pt idx="1406">3.3301046605901288</cx:pt>
          <cx:pt idx="1407">3.3404171682676953</cx:pt>
          <cx:pt idx="1408">3.3493599980345432</cx:pt>
          <cx:pt idx="1409">3.3548571358376535</cx:pt>
          <cx:pt idx="1410">3.3610483256762405</cx:pt>
          <cx:pt idx="1411">3.3510736309362943</cx:pt>
          <cx:pt idx="1412">3.3591811414392061</cx:pt>
          <cx:pt idx="1413">3.3771650738274821</cx:pt>
          <cx:pt idx="1414">3.3604464044419324</cx:pt>
          <cx:pt idx="1415">3.3630506350883227</cx:pt>
          <cx:pt idx="1416">3.3810837039038888</cx:pt>
          <cx:pt idx="1417">3.3975444070461638</cx:pt>
          <cx:pt idx="1418">3.4342861705525385</cx:pt>
          <cx:pt idx="1419">3.4432044321057407</cx:pt>
          <cx:pt idx="1420">3.4336228287841184</cx:pt>
          <cx:pt idx="1421">3.4225425644301399</cx:pt>
          <cx:pt idx="1422">3.4190661621993459</cx:pt>
          <cx:pt idx="1423">3.4017087192590223</cx:pt>
          <cx:pt idx="1424">3.4297349089747677</cx:pt>
          <cx:pt idx="1425">3.4284573618652181</cx:pt>
          <cx:pt idx="1426">3.4263199272780871</cx:pt>
          <cx:pt idx="1427">3.4097363830675862</cx:pt>
          <cx:pt idx="1428">3.3932019752843763</cx:pt>
          <cx:pt idx="1429">3.4084035574773348</cx:pt>
          <cx:pt idx="1430">3.4043498022258802</cx:pt>
          <cx:pt idx="1431">3.404577058202098</cx:pt>
          <cx:pt idx="1432">3.383528241161585</cx:pt>
          <cx:pt idx="1433">3.3797017418863469</cx:pt>
          <cx:pt idx="1434">3.3891912144068006</cx:pt>
          <cx:pt idx="1435">3.3797508783136379</cx:pt>
          <cx:pt idx="1436">3.3772633466820623</cx:pt>
          <cx:pt idx="1437">3.3626882539370557</cx:pt>
          <cx:pt idx="1438">3.3516325577967225</cx:pt>
          <cx:pt idx="1439">3.3639289487261381</cx:pt>
          <cx:pt idx="1440">3.3690329951109255</cx:pt>
          <cx:pt idx="1441">3.3799781342898561</cx:pt>
          <cx:pt idx="1442">3.3794744859101291</cx:pt>
          <cx:pt idx="1443">3.3820050119155836</cx:pt>
          <cx:pt idx="1444">3.3518598137729407</cx:pt>
          <cx:pt idx="1445">3.3764157433113033</cx:pt>
          <cx:pt idx="1446">3.3715512370095571</cx:pt>
          <cx:pt idx="1447">3.3650652286072273</cx:pt>
          <cx:pt idx="1448">3.3692786772473777</cx:pt>
          <cx:pt idx="1449">3.3383780065351449</cx:pt>
          <cx:pt idx="1450">3.3402451907721789</cx:pt>
          <cx:pt idx="1451">3.32272191238975</cx:pt>
          <cx:pt idx="1452">3.3540709530010075</cx:pt>
          <cx:pt idx="1453">3.3586836351128908</cx:pt>
          <cx:pt idx="1454">3.3782890696017494</cx:pt>
          <cx:pt idx="1455">3.3547097265557824</cx:pt>
          <cx:pt idx="1456">3.3476340810259688</cx:pt>
          <cx:pt idx="1457">3.3445630543203202</cx:pt>
          <cx:pt idx="1458">3.360077881237256</cx:pt>
          <cx:pt idx="1459">3.3628110950052825</cx:pt>
          <cx:pt idx="1460">3.3266773947866257</cx:pt>
          <cx:pt idx="1461">3.332549197847825</cx:pt>
          <cx:pt idx="1462">3.3247979264427689</cx:pt>
          <cx:pt idx="1463">3.3531987814166047</cx:pt>
          <cx:pt idx="1464">3.3806291919514546</cx:pt>
          <cx:pt idx="1465">3.3704210991818795</cx:pt>
          <cx:pt idx="1466">3.3854691300395556</cx:pt>
          <cx:pt idx="1467">3.379928997862566</cx:pt>
          <cx:pt idx="1468">3.3861570400216205</cx:pt>
          <cx:pt idx="1469">3.3894184703830188</cx:pt>
          <cx:pt idx="1470">3.3833992580399479</cx:pt>
          <cx:pt idx="1471">3.3722207208313892</cx:pt>
          <cx:pt idx="1472">3.3768641132103285</cx:pt>
          <cx:pt idx="1473">3.3876741272142108</cx:pt>
          <cx:pt idx="1474">3.3794806279635421</cx:pt>
          <cx:pt idx="1475">3.4119843746161225</cx:pt>
          <cx:pt idx="1476">3.4005417291108775</cx:pt>
          <cx:pt idx="1477">3.3999398078765695</cx:pt>
          <cx:pt idx="1478">3.4065118050266574</cx:pt>
          <cx:pt idx="1479">3.3717969191460098</cx:pt>
          <cx:pt idx="1480">3.38056162936393</cx:pt>
          <cx:pt idx="1481">3.3736333931159881</cx:pt>
          <cx:pt idx="1482">3.3860464830602175</cx:pt>
          <cx:pt idx="1483">3.3614291329877415</cx:pt>
          <cx:pt idx="1484">3.373614966955754</cx:pt>
          <cx:pt idx="1485">3.3951367221089361</cx:pt>
          <cx:pt idx="1486">3.4058361791514149</cx:pt>
          <cx:pt idx="1487">3.4090546151389334</cx:pt>
          <cx:pt idx="1488">3.3983920104169232</cx:pt>
          <cx:pt idx="1489">3.3897071468933491</cx:pt>
          <cx:pt idx="1490">3.3917401665724882</cx:pt>
          <cx:pt idx="1491">3.3987666756750117</cx:pt>
          <cx:pt idx="1492">3.3968196447436307</cx:pt>
          <cx:pt idx="1493">3.4186423605139677</cx:pt>
          <cx:pt idx="1494">3.4020588163034664</cx:pt>
          <cx:pt idx="1495">3.3885462987986141</cx:pt>
          <cx:pt idx="1496">3.3988956587966488</cx:pt>
          <cx:pt idx="1497">3.4043498022258798</cx:pt>
          <cx:pt idx="1498">3.3992518978945041</cx:pt>
          <cx:pt idx="1499">3.4063521116379629</cx:pt>
          <cx:pt idx="1500">3.4064810947595996</cx:pt>
          <cx:pt idx="1501">3.3962484337763796</cx:pt>
          <cx:pt idx="1502">3.4136857234110507</cx:pt>
          <cx:pt idx="1503">3.4082008697147632</cx:pt>
          <cx:pt idx="1504">3.3927290371717076</cx:pt>
          <cx:pt idx="1505">3.3899159767093336</cx:pt>
          <cx:pt idx="1506">3.3774844606048702</cx:pt>
          <cx:pt idx="1507">3.3815443579097368</cx:pt>
          <cx:pt idx="1508">3.3832518487580776</cx:pt>
          <cx:pt idx="1509">3.3772940569491201</cx:pt>
          <cx:pt idx="1510">3.3802422425865424</cx:pt>
          <cx:pt idx="1511">3.388607719332728</cx:pt>
          <cx:pt idx="1512">3.3851988796894581</cx:pt>
          <cx:pt idx="1513">3.4085509667592073</cx:pt>
          <cx:pt idx="1514">3.4213755742819942</cx:pt>
          <cx:pt idx="1515">3.4191890032675727</cx:pt>
          <cx:pt idx="1516">3.4006645701791025</cx:pt>
          <cx:pt idx="1517">3.3846338107756191</cx:pt>
          <cx:pt idx="1518">3.403385499840307</cx:pt>
          <cx:pt idx="1519">3.4135198879689459</cx:pt>
          <cx:pt idx="1520">3.4055106503206152</cx:pt>
          <cx:pt idx="1521">3.4089502002309411</cx:pt>
          <cx:pt idx="1522">3.4176227796476915</cx:pt>
          <cx:pt idx="1523">3.4164619315529565</cx:pt>
          <cx:pt idx="1524">3.4068189076972208</cx:pt>
          <cx:pt idx="1525">3.4187344913151358</cx:pt>
          <cx:pt idx="1526">3.4279475714320813</cx:pt>
          <cx:pt idx="1527">3.4348450974129667</cx:pt>
          <cx:pt idx="1528">3.4305886543989379</cx:pt>
          <cx:pt idx="1529">3.4518155909883785</cx:pt>
          <cx:pt idx="1530">3.4501326683536835</cx:pt>
          <cx:pt idx="1531">3.4333280102203765</cx:pt>
          <cx:pt idx="1532">3.4423629707883934</cx:pt>
          <cx:pt idx="1533">3.4488428371373114</cx:pt>
          <cx:pt idx="1534">3.4503722084367241</cx:pt>
          <cx:pt idx="1535">3.4492420706090456</cx:pt>
          <cx:pt idx="1536">3.4537871901334047</cx:pt>
          <cx:pt idx="1537">3.4542724123528972</cx:pt>
          <cx:pt idx="1538">3.444739945458565</cx:pt>
          <cx:pt idx="1539">3.4468282436184059</cx:pt>
          <cx:pt idx="1540">3.4532589735400334</cx:pt>
          <cx:pt idx="1541">3.4694125740117432</cx:pt>
          <cx:pt idx="1542">3.4650762843033682</cx:pt>
          <cx:pt idx="1543">3.4727784192811337</cx:pt>
          <cx:pt idx="1544">3.462459769550156</cx:pt>
          <cx:pt idx="1545">3.4644252266417705</cx:pt>
          <cx:pt idx="1546">3.4508021521755152</cx:pt>
          <cx:pt idx="1547">3.4539960199493898</cx:pt>
          <cx:pt idx="1548">3.4660098764218854</cx:pt>
          <cx:pt idx="1549">3.4534370930889624</cx:pt>
          <cx:pt idx="1550">3.4766847652507198</cx:pt>
          <cx:pt idx="1551">3.4925066948382186</cx:pt>
          <cx:pt idx="1552">3.4798786330245939</cx:pt>
          <cx:pt idx="1553">3.479706655529077</cx:pt>
          <cx:pt idx="1554">3.4958479718939639</cx:pt>
          <cx:pt idx="1555">3.4983416455789498</cx:pt>
          <cx:pt idx="1556">3.4771331351497423</cx:pt>
          <cx:pt idx="1557">3.4695415571333807</cx:pt>
          <cx:pt idx="1558">3.4592597597228703</cx:pt>
          <cx:pt idx="1559">3.4756836105446771</cx:pt>
          <cx:pt idx="1560">3.483760410780532</cx:pt>
          <cx:pt idx="1561">3.4854310493084046</cx:pt>
          <cx:pt idx="1562">3.4990418396678376</cx:pt>
          <cx:pt idx="1563">3.4963577623271003</cx:pt>
          <cx:pt idx="1564">3.4898164754440701</cx:pt>
          <cx:pt idx="1565">3.4725695894651492</cx:pt>
          <cx:pt idx="1566">3.4853819128811137</cx:pt>
          <cx:pt idx="1567">3.5012591209493156</cx:pt>
          <cx:pt idx="1568">3.5094464781465735</cx:pt>
          <cx:pt idx="1569">3.529346731199174</cx:pt>
          <cx:pt idx="1570">3.542460015232292</cx:pt>
          <cx:pt idx="1571">3.5448984104365771</cx:pt>
          <cx:pt idx="1572">3.5409060757192345</cx:pt>
          <cx:pt idx="1573">3.5284745596147706</cx:pt>
          <cx:pt idx="1574">3.5326818662015089</cx:pt>
          <cx:pt idx="1575">3.5143048423949095</cx:pt>
          <cx:pt idx="1576">3.5137643416947157</cx:pt>
          <cx:pt idx="1577">3.513487949291207</cx:pt>
          <cx:pt idx="1578">3.4972790703387959</cx:pt>
          <cx:pt idx="1579">3.5020145935189055</cx:pt>
          <cx:pt idx="1580">3.5231985357344664</cx:pt>
          <cx:pt idx="1581">3.5099378424194776</cx:pt>
          <cx:pt idx="1582">3.528314866226077</cx:pt>
          <cx:pt idx="1583">3.5391678746038377</cx:pt>
          <cx:pt idx="1584">3.555917254256443</cx:pt>
          <cx:pt idx="1585">3.552932216298553</cx:pt>
          <cx:pt idx="1586">3.5422327592560747</cx:pt>
          <cx:pt idx="1587">3.5446711544603597</cx:pt>
          <cx:pt idx="1588">3.5463786453086987</cx:pt>
          <cx:pt idx="1589">3.5457337297005131</cx:pt>
          <cx:pt idx="1590">3.5316254330147649</cx:pt>
          <cx:pt idx="1591">3.516552833943444</cx:pt>
          <cx:pt idx="1592">3.5372638380463366</cx:pt>
          <cx:pt idx="1593">3.5444930349114321</cx:pt>
          <cx:pt idx="1594">3.5341129646463414</cx:pt>
          <cx:pt idx="1595">3.5469314301157175</cx:pt>
          <cx:pt idx="1596">3.5568385622681387</cx:pt>
          <cx:pt idx="1597">3.561076579121933</cx:pt>
          <cx:pt idx="1598">3.5438726875168918</cx:pt>
          <cx:pt idx="1599">3.5412745989239132</cx:pt>
          <cx:pt idx="1600">3.5312139154362092</cx:pt>
          <cx:pt idx="1601">3.5245252192713075</cx:pt>
          <cx:pt idx="1602">3.5012836891629617</cx:pt>
          <cx:pt idx="1603">3.4913458467434846</cx:pt>
          <cx:pt idx="1604">3.5145873768518308</cx:pt>
          <cx:pt idx="1605">3.5072291968650973</cx:pt>
          <cx:pt idx="1606">3.5047478072869334</cx:pt>
          <cx:pt idx="1607">3.4953136132471814</cx:pt>
          <cx:pt idx="1608">3.5092130801169459</cx:pt>
          <cx:pt idx="1609">3.5219578409453858</cx:pt>
          <cx:pt idx="1610">3.4966402967840216</cx:pt>
          <cx:pt idx="1611">3.4905965162273054</cx:pt>
          <cx:pt idx="1612">3.4937228214136553</cx:pt>
          <cx:pt idx="1613">3.4556666584772624</cx:pt>
          <cx:pt idx="1614">3.4636636120187707</cx:pt>
          <cx:pt idx="1615">3.4278431565240894</cx:pt>
          <cx:pt idx="1616">3.4152089526570526</cx:pt>
          <cx:pt idx="1617">3.4088887796968281</cx:pt>
          <cx:pt idx="1618">3.409202024420805</cx:pt>
          <cx:pt idx="1619">3.3947681989042584</cx:pt>
          <cx:pt idx="1620">3.3881839176473485</cx:pt>
          <cx:pt idx="1621">3.3978392256099061</cx:pt>
          <cx:pt idx="1622">3.4008979682087324</cx:pt>
          <cx:pt idx="1623">3.3766245731272884</cx:pt>
          <cx:pt idx="1624">3.3675036238115132</cx:pt>
          <cx:pt idx="1625">3.3787435815541857</cx:pt>
          <cx:pt idx="1626">3.3614045647740953</cx:pt>
          <cx:pt idx="1627">3.3503672947939962</cx:pt>
          <cx:pt idx="1628">3.3344470923519149</cx:pt>
          <cx:pt idx="1629">3.3558828587573397</cx:pt>
          <cx:pt idx="1630">3.3557538756357026</cx:pt>
          <cx:pt idx="1631">3.3675281920251581</cx:pt>
          <cx:pt idx="1632">3.3549431245854118</cx:pt>
          <cx:pt idx="1633">3.3595373805370614</cx:pt>
          <cx:pt idx="1634">3.3702736899000074</cx:pt>
          <cx:pt idx="1635">3.3697209050929913</cx:pt>
          <cx:pt idx="1636">3.3821339950372211</cx:pt>
          <cx:pt idx="1637">3.399251897894505</cx:pt>
          <cx:pt idx="1638">3.4050499963147685</cx:pt>
          <cx:pt idx="1639">3.4063521116379629</cx:pt>
          <cx:pt idx="1640">3.4010208092769578</cx:pt>
          <cx:pt idx="1641">3.4210131931307282</cx:pt>
          <cx:pt idx="1642">3.3930054295752154</cx:pt>
          <cx:pt idx="1643">3.3763911750976585</cx:pt>
          <cx:pt idx="1644">3.3963712748446064</cx:pt>
          <cx:pt idx="1645">3.4020833845171121</cx:pt>
          <cx:pt idx="1646">3.4165909146745945</cx:pt>
          <cx:pt idx="1647">3.4285863449868565</cx:pt>
          <cx:pt idx="1648">3.4450470481291307</cx:pt>
          <cx:pt idx="1649">3.4629634179298825</cx:pt>
          <cx:pt idx="1650">3.4766356288234279</cx:pt>
          <cx:pt idx="1651">3.490221850969216</cx:pt>
          <cx:pt idx="1652">3.4889381618062556</cx:pt>
          <cx:pt idx="1653">3.4752168144854192</cx:pt>
          <cx:pt idx="1654">3.4952214824460119</cx:pt>
          <cx:pt idx="1655">3.4894909466132722</cx:pt>
          <cx:pt idx="1656">3.4868375795395918</cx:pt>
          <cx:pt idx="1657">3.4810333390659172</cx:pt>
          <cx:pt idx="1658">3.4966955752647224</cx:pt>
          <cx:pt idx="1659">3.5126157777068023</cx:pt>
          <cx:pt idx="1660">3.4850502419969045</cx:pt>
          <cx:pt idx="1661">3.4862295162518735</cx:pt>
          <cx:pt idx="1662">3.4628098665946005</cx:pt>
          <cx:pt idx="1663">3.4711446330737301</cx:pt>
          <cx:pt idx="1664">3.4901481463282811</cx:pt>
          <cx:pt idx="1665">3.4773603911259614</cx:pt>
          <cx:pt idx="1666">3.4729995332039416</cx:pt>
          <cx:pt idx="1667">3.4750202687762584</cx:pt>
          <cx:pt idx="1668">3.4598064024764765</cx:pt>
          <cx:pt idx="1669">3.4596589931946053</cx:pt>
          <cx:pt idx="1670">3.4526570523057272</cx:pt>
          <cx:pt idx="1671">3.4661695698105799</cx:pt>
          <cx:pt idx="1672">3.4685035501068722</cx:pt>
          <cx:pt idx="1673">3.4692221703559936</cx:pt>
          <cx:pt idx="1674">3.4637434587131168</cx:pt>
          <cx:pt idx="1675">3.4596589931946053</cx:pt>
          <cx:pt idx="1676">3.4434255460285486</cx:pt>
          <cx:pt idx="1677">3.4384504827653988</cx:pt>
          <cx:pt idx="1678">3.4216212564184461</cx:pt>
          <cx:pt idx="1679">3.4161855391494487</cx:pt>
          <cx:pt idx="1680">3.4009041102621431</cx:pt>
          <cx:pt idx="1681">3.4079797557919567</cx:pt>
          <cx:pt idx="1682">3.3956526545954842</cx:pt>
          <cx:pt idx="1683">3.3884664521042676</cx:pt>
          <cx:pt idx="1684">3.3983920104169223</cx:pt>
          <cx:pt idx="1685">3.3892280667272683</cx:pt>
          <cx:pt idx="1686">3.4029801243151612</cx:pt>
          <cx:pt idx="1687">3.3991597670933351</cx:pt>
          <cx:pt idx="1688">3.4021693732648695</cx:pt>
          <cx:pt idx="1689">3.3803343733877114</cx:pt>
          <cx:pt idx="1690">3.3941847038301849</cx:pt>
          <cx:pt idx="1691">3.4065547994005363</cx:pt>
          <cx:pt idx="1692">3.4089870525514097</cx:pt>
          <cx:pt idx="1693">3.4383829201778742</cx:pt>
          <cx:pt idx="1694">3.4214799891899861</cx:pt>
          <cx:pt idx="1695">3.3979067881974303</cx:pt>
          <cx:pt idx="1696">3.4170638527872645</cx:pt>
          <cx:pt idx="1697">3.3943382551654673</cx:pt>
          <cx:pt idx="1698">3.3897439992138172</cx:pt>
          <cx:pt idx="1699">3.4329287767486423</cx:pt>
          <cx:pt idx="1700">3.466390683733386</cx:pt>
          <cx:pt idx="1701">3.4957005626120927</cx:pt>
          <cx:pt idx="1702">3.5101835245559294</cx:pt>
          <cx:pt idx="1703">3.536987445642827</cx:pt>
          <cx:pt idx="1704">3.57982826818662</cx:pt>
          <cx:pt idx="1705">3.6308011694469693</cx:pt>
          <cx:pt idx="1706">3.6677026263420385</cx:pt>
          <cx:pt idx="1707">3.7000405375525145</cx:pt>
          <cx:pt idx="1708">3.7330663587450554</cx:pt>
          <cx:pt idx="1709">3.7699616735867134</cx:pt>
          <cx:pt idx="1710">3.7903840011792744</cx:pt>
          <cx:pt idx="1711">3.830626735130088</cx:pt>
          <cx:pt idx="1712">3.8539603960396032</cx:pt>
          <cx:pt idx="1713">3.8969240596516226</cx:pt>
          <cx:pt idx="1714">3.9147053042773252</cx:pt>
          <cx:pt idx="1715">3.944021325209444</cx:pt>
          <cx:pt idx="1716">3.9578532294916831</cx:pt>
          <cx:pt idx="1717">3.9767339016780086</cx:pt>
          <cx:pt idx="1718">4.0249551630100973</cx:pt>
          <cx:pt idx="1719">4.072377957398718</cx:pt>
          <cx:pt idx="1720">4.1219443284278796</cx:pt>
          <cx:pt idx="1721">4.1302053902660729</cx:pt>
          <cx:pt idx="1722">4.1747844139252637</cx:pt>
          <cx:pt idx="1723">4.1985787288406256</cx:pt>
          <cx:pt idx="1724">4.2003660663833129</cx:pt>
          <cx:pt idx="1725">4.2404982433727243</cx:pt>
          <cx:pt idx="1726">4.2790212023683765</cx:pt>
          <cx:pt idx="1727">4.3015195440139555</cx:pt>
          <cx:pt idx="1728">4.3539419698793713</cx:pt>
          <cx:pt idx="1729">4.3759059528781661</cx:pt>
          <cx:pt idx="1730">4.3577561850477853</cx:pt>
          <cx:pt idx="1731">4.3536778615826845</cx:pt>
          <cx:pt idx="1732">4.3517124044910691</cx:pt>
          <cx:pt idx="1733">4.3522037687639727</cx:pt>
          <cx:pt idx="1734">4.3549554086922333</cx:pt>
          <cx:pt idx="1735">4.3584686632434932</cx:pt>
          <cx:pt idx="1736">4.3553116477900895</cx:pt>
          <cx:pt idx="1737">4.3572463946146467</cx:pt>
          <cx:pt idx="1738">4.3483097069012109</cx:pt>
          <cx:pt idx="1739">4.3535181681939896</cx:pt>
          <cx:pt idx="1740">4.3555941822470077</cx:pt>
          <cx:pt idx="1741">4.3602621428395931</cx:pt>
          <cx:pt idx="1742">4.3645370120138569</cx:pt>
          <cx:pt idx="1743">4.3296562906911022</cx:pt>
          <cx:pt idx="1744">4.2767425005527837</cx:pt>
          <cx:pt idx="1745">4.2532061518806952</cx:pt>
          <cx:pt idx="1746">4.2114954671645819</cx:pt>
          <cx:pt idx="1747">4.1873879075252427</cx:pt>
          <cx:pt idx="1748">4.1676842001818049</cx:pt>
          <cx:pt idx="1749">4.1456158022750165</cx:pt>
          <cx:pt idx="1750">4.1067795985553888</cx:pt>
          <cx:pt idx="1751">4.0777215438665442</cx:pt>
          <cx:pt idx="1752">4.0417966734638719</cx:pt>
          <cx:pt idx="1753">3.9988452939586758</cx:pt>
          <cx:pt idx="1754">3.9583445937645871</cx:pt>
          <cx:pt idx="1755">3.9385856079404458</cx:pt>
          <cx:pt idx="1756">3.8968135026902191</cx:pt>
          <cx:pt idx="1757">3.8775458811389822</cx:pt>
          <cx:pt idx="1758">3.8413016239589219</cx:pt>
          <cx:pt idx="1759">3.806248925140653</cx:pt>
          <cx:pt idx="1760">3.7823194850502415</cx:pt>
          <cx:pt idx="1761">3.7533658452693901</cx:pt>
          <cx:pt idx="1762">3.7246087511977004</cx:pt>
          <cx:pt idx="1763">3.692430533375918</cx:pt>
          <cx:pt idx="1764">3.6606699751861043</cx:pt>
          <cx:pt idx="1765">3.6494177333366089</cx:pt>
          <cx:pt idx="1766">3.6105139670294579</cx:pt>
          <cx:pt idx="1767">3.5891089108910896</cx:pt>
          <cx:pt idx="1768">3.5494926663882276</cx:pt>
          <cx:pt idx="1769">3.5237328943812503</cx:pt>
          <cx:pt idx="1770">3.4881028425423199</cx:pt>
          <cx:pt idx="1771">3.4523560916885745</cx:pt>
          <cx:pt idx="1772">3.406499520919835</cx:pt>
          <cx:pt idx="1773">3.3694875070633623</cx:pt>
          <cx:pt idx="1774">3.3798184409011633</cx:pt>
          <cx:pt idx="1775">3.387870672923373</cx:pt>
          <cx:pt idx="1776">3.4054123774660354</cx:pt>
          <cx:pt idx="1777">3.4147114463307391</cx:pt>
          <cx:pt idx="1778">3.4365771564749541</cx:pt>
          <cx:pt idx="1779">3.4342431761786618</cx:pt>
          <cx:pt idx="1780">3.4162592437903858</cx:pt>
          <cx:pt idx="1781">3.4145026165147545</cx:pt>
          <cx:pt idx="1782">3.403717170724518</cx:pt>
          <cx:pt idx="1783">3.4243851804535304</cx:pt>
          <cx:pt idx="1784">3.4082622902488771</cx:pt>
          <cx:pt idx="1785">3.4202147261872597</cx:pt>
          <cx:pt idx="1786">3.4381863744687129</cx:pt>
          <cx:pt idx="1787">3.4567292337174167</cx:pt>
          <cx:pt idx="1788">3.4499545488047567</cx:pt>
          <cx:pt idx="1789">3.4751431098444834</cx:pt>
          <cx:pt idx="1790">3.4533511043412033</cx:pt>
          <cx:pt idx="1791">3.4341387612706678</cx:pt>
          <cx:pt idx="1792">3.4593580325774509</cx:pt>
          <cx:pt idx="1793">3.4455629806156791</cx:pt>
          <cx:pt idx="1794">3.4434562562956046</cx:pt>
          <cx:pt idx="1795">3.4444205586811782</cx:pt>
          <cx:pt idx="1796">3.4422278456133455</cx:pt>
          <cx:pt idx="1797">3.4470309313809793</cx:pt>
          <cx:pt idx="1798">3.4368351227182274</cx:pt>
          <cx:pt idx="1799">3.4431552956784515</cx:pt>
          <cx:pt idx="1800">3.4416689187529181</cx:pt>
          <cx:pt idx="1801">3.442276982040636</cx:pt>
          <cx:pt idx="1802">3.4380205390266076</cx:pt>
          <cx:pt idx="1803">3.4506178905731764</cx:pt>
          <cx:pt idx="1804">3.4391322506940529</cx:pt>
          <cx:pt idx="1805">3.4289425840847114</cx:pt>
          <cx:pt idx="1806">3.4425226641770879</cx:pt>
          <cx:pt idx="1807">3.4230646389701005</cx:pt>
          <cx:pt idx="1808">3.427904577058202</cx:pt>
          <cx:pt idx="1809">3.4120089428297664</cx:pt>
          <cx:pt idx="1810">3.4115052944500404</cx:pt>
          <cx:pt idx="1811">3.4031766700243224</cx:pt>
          <cx:pt idx="1812">3.3915129105962709</cx:pt>
          <cx:pt idx="1813">3.3974522762449939</cx:pt>
          <cx:pt idx="1814">3.4037171707245171</cx:pt>
          <cx:pt idx="1815">3.4364420312999044</cx:pt>
          <cx:pt idx="1816">3.4430017443431691</cx:pt>
          <cx:pt idx="1817">3.4164066530722552</cx:pt>
          <cx:pt idx="1818">3.3995405744048357</cx:pt>
          <cx:pt idx="1819">3.4095705476254827</cx:pt>
          <cx:pt idx="1820">3.3702859740068303</cx:pt>
          <cx:pt idx="1821">3.4071382944746089</cx:pt>
          <cx:pt idx="1822">3.4302078470874391</cx:pt>
          <cx:pt idx="1823">3.4100434857381519</cx:pt>
          <cx:pt idx="1824">3.4201164533326782</cx:pt>
          <cx:pt idx="1825">3.4163329484313194</cx:pt>
          <cx:pt idx="1826">3.4118123971206051</cx:pt>
          <cx:pt idx="1827">3.3885647249588486</cx:pt>
          <cx:pt idx="1828">3.3794683438567183</cx:pt>
          <cx:pt idx="1829">3.3716310837039045</cx:pt>
          <cx:pt idx="1830">3.3720364592290499</cx:pt>
          <cx:pt idx="1831">3.383718644817336</cx:pt>
          <cx:pt idx="1832">3.3860649092204516</cx:pt>
          <cx:pt idx="1833">3.3880303663120661</cx:pt>
          <cx:pt idx="1834">3.3869247966980329</cx:pt>
          <cx:pt idx="1835">3.4051851214898172</cx:pt>
          <cx:pt idx="1836">3.4003758936687718</cx:pt>
          <cx:pt idx="1837">3.3978515097167294</cx:pt>
          <cx:pt idx="1838">3.40391985848709</cx:pt>
          <cx:pt idx="1839">3.3988772326364161</cx:pt>
          <cx:pt idx="1840">3.3782399331744593</cx:pt>
          <cx:pt idx="1841">3.3768395449966833</cx:pt>
          <cx:pt idx="1842">3.3934046630469505</cx:pt>
          <cx:pt idx="1843">3.4096381102130069</cx:pt>
          <cx:pt idx="1844">3.4249133970469012</cx:pt>
          <cx:pt idx="1845">3.395947473159227</cx:pt>
          <cx:pt idx="1846">3.3822015576247439</cx:pt>
          <cx:pt idx="1847">3.3873977348107021</cx:pt>
          <cx:pt idx="1848">3.3960825983342748</cx:pt>
          <cx:pt idx="1849">3.4202331523474925</cx:pt>
          <cx:pt idx="1850">3.4279905658059602</cx:pt>
          <cx:pt idx="1851">3.4682701520772432</cx:pt>
          <cx:pt idx="1852">3.4671277301427419</cx:pt>
          <cx:pt idx="1853">3.4416996290199751</cx:pt>
          <cx:pt idx="1854">3.4560167555217065</cx:pt>
          <cx:pt idx="1855">3.4614770410043487</cx:pt>
          <cx:pt idx="1856">3.4591062083875892</cx:pt>
          <cx:pt idx="1857">3.4887354740436827</cx:pt>
          <cx:pt idx="1858">3.473546175957547</cx:pt>
          <cx:pt idx="1859">3.4803392870304406</cx:pt>
          <cx:pt idx="1860">3.4956698523450362</cx:pt>
          <cx:pt idx="1861">3.4706102744269467</cx:pt>
          <cx:pt idx="1862">3.4555499594624477</cx:pt>
          <cx:pt idx="1863">3.460070510773162</cx:pt>
          <cx:pt idx="1864">3.4567967963049409</cx:pt>
          <cx:pt idx="1865">3.4553779819669312</cx:pt>
          <cx:pt idx="1866">3.4630002702503502</cx:pt>
          <cx:pt idx="1867">3.4657887624990789</cx:pt>
          <cx:pt idx="1868">3.4726064417856177</cx:pt>
          <cx:pt idx="1869">3.4891777018892958</cx:pt>
          <cx:pt idx="1870">3.4957189887723268</cx:pt>
          <cx:pt idx="1871">3.5253666805886548</cx:pt>
          <cx:pt idx="1872">3.5104906272264942</cx:pt>
          <cx:pt idx="1873">3.486432204014446</cx:pt>
          <cx:pt idx="1874">3.4852897820799447</cx:pt>
          <cx:pt idx="1875">3.4573557231653682</cx:pt>
          <cx:pt idx="1876">3.4768874530132909</cx:pt>
          <cx:pt idx="1877">3.4768014642655327</cx:pt>
          <cx:pt idx="1878">3.4685465444807497</cx:pt>
          <cx:pt idx="1879">3.4774402378203066</cx:pt>
          <cx:pt idx="1880">3.4633626514016154</cx:pt>
          <cx:pt idx="1881">3.4619069847431381</cx:pt>
          <cx:pt idx="1882">3.4441318821708462</cx:pt>
          <cx:pt idx="1883">3.4515391985848698</cx:pt>
          <cx:pt idx="1884">3.4539591676289203</cx:pt>
          <cx:pt idx="1885">3.463884725941575</cx:pt>
          <cx:pt idx="1886">3.4742893644203119</cx:pt>
          <cx:pt idx="1887">3.5187086946908077</cx:pt>
          <cx:pt idx="1888">3.519820406358253</cx:pt>
          <cx:pt idx="1889">3.5713890867994982</cx:pt>
          <cx:pt idx="1890">3.611281723705869</cx:pt>
          <cx:pt idx="1891">3.6260226518929803</cx:pt>
          <cx:pt idx="1892">3.6849863646414271</cx:pt>
          <cx:pt idx="1893">3.71858953885463</cx:pt>
          <cx:pt idx="1894">3.749545488047564</cx:pt>
          <cx:pt idx="1895">3.7886642262241117</cx:pt>
          <cx:pt idx="1896">3.8256762400805844</cx:pt>
          <cx:pt idx="1897">3.8354666732181908</cx:pt>
          <cx:pt idx="1898">3.8806230498980425</cx:pt>
          <cx:pt idx="1899">3.9029924084219836</cx:pt>
          <cx:pt idx="1900">3.9177824730363864</cx:pt>
          <cx:pt idx="1901">3.951490062157581</cx:pt>
          <cx:pt idx="1902">3.9673181337984924</cx:pt>
          <cx:pt idx="1903">4.0274918310689634</cx:pt>
          <cx:pt idx="1904">4.0736800727219125</cx:pt>
          <cx:pt idx="1905">4.102639854556176</cx:pt>
          <cx:pt idx="1906">4.1397132889467612</cx:pt>
          <cx:pt idx="1907">4.1636672972508171</cx:pt>
          <cx:pt idx="1908">4.1991192295408197</cx:pt>
          <cx:pt idx="1909">4.221635997346632</cx:pt>
          <cx:pt idx="1910">4.238993440286956</cx:pt>
          <cx:pt idx="1911">4.2648330589882804</cx:pt>
          <cx:pt idx="1912">4.268647274156697</cx:pt>
          <cx:pt idx="1913">4.2997629167383247</cx:pt>
          <cx:pt idx="1914">4.3184838955359552</cx:pt>
          <cx:pt idx="1915">4.3642176252364688</cx:pt>
          <cx:pt idx="1916">4.3766245731272875</cx:pt>
          <cx:pt idx="1917">4.3862000343954985</cx:pt>
          <cx:pt idx="1918">4.3966108149276462</cx:pt>
          <cx:pt idx="1919">4.4153563619389242</cx:pt>
          <cx:pt idx="1920">4.417094563054321</cx:pt>
          <cx:pt idx="1921">4.4005294450040546</cx:pt>
          <cx:pt idx="1922">4.3998169668083449</cx:pt>
          <cx:pt idx="1923">4.3886138613861405</cx:pt>
          <cx:pt idx="1924">4.399552858511659</cx:pt>
          <cx:pt idx="1925">4.4055966390683734</cx:pt>
          <cx:pt idx="1926">4.4136795813576395</cx:pt>
          <cx:pt idx="1927">4.4186914969412578</cx:pt>
          <cx:pt idx="1928">4.4167260398496424</cx:pt>
          <cx:pt idx="1929">4.4122054885389277</cx:pt>
          <cx:pt idx="1930">4.410743679827041</cx:pt>
          <cx:pt idx="1931">4.3995282902980133</cx:pt>
          <cx:pt idx="1932">4.3615458320025553</cx:pt>
          <cx:pt idx="1933">4.3413016239589215</cx:pt>
          <cx:pt idx="1934">4.2924170208584131</cx:pt>
          <cx:pt idx="1935">4.254274869174262</cx:pt>
          <cx:pt idx="1936">4.237924722993391</cx:pt>
          <cx:pt idx="1937">4.2102731985357336</cx:pt>
          <cx:pt idx="1938">4.1698093506621126</cx:pt>
          <cx:pt idx="1939">4.1327359162715265</cx:pt>
          <cx:pt idx="1940">4.1120617644891038</cx:pt>
          <cx:pt idx="1941">4.072040144461095</cx:pt>
          <cx:pt idx="1942">4.0368830307348347</cx:pt>
          <cx:pt idx="1943">4.02151561309977</cx:pt>
          <cx:pt idx="1944">3.9767830381052978</cx:pt>
          <cx:pt idx="1945">3.9433702675478455</cx:pt>
          <cx:pt idx="1946">3.9211667444660088</cx:pt>
          <cx:pt idx="1947">3.8759857995725127</cx:pt>
          <cx:pt idx="1948">3.8409515269144778</cx:pt>
          <cx:pt idx="1949">3.7890204653219657</cx:pt>
          <cx:pt idx="1950">3.7455777215438664</cx:pt>
          <cx:pt idx="1951">3.7092413335626357</cx:pt>
          <cx:pt idx="1952">3.6992420706090461</cx:pt>
          <cx:pt idx="1953">3.6754907500675627</cx:pt>
          <cx:pt idx="1954">3.6472434464290098</cx:pt>
          <cx:pt idx="1955">3.6261577770680291</cx:pt>
          <cx:pt idx="1956">3.5823526521386637</cx:pt>
          <cx:pt idx="1957">3.5433874652973985</cx:pt>
          <cx:pt idx="1958">3.493968503550108</cx:pt>
          <cx:pt idx="1959">3.4653833869739339</cx:pt>
          <cx:pt idx="1960">3.4099820652040398</cx:pt>
          <cx:pt idx="1961">3.3659435422450441</cx:pt>
          <cx:pt idx="1962">3.3426528757094078</cx:pt>
          <cx:pt idx="1963">3.3272486057538759</cx:pt>
          <cx:pt idx="1964">3.3421123750092132</cx:pt>
          <cx:pt idx="1965">3.3575534972852128</cx:pt>
          <cx:pt idx="1966">3.3691619782325635</cx:pt>
          <cx:pt idx="1967">3.3564909220450581</cx:pt>
          <cx:pt idx="1968">3.3610544677296512</cx:pt>
          <cx:pt idx="1969">3.3656180134142453</cx:pt>
          <cx:pt idx="1970">3.3851865955826352</cx:pt>
          <cx:pt idx="1971">3.3661462300076161</cx:pt>
          <cx:pt idx="1972">3.382963172247746</cx:pt>
          <cx:pt idx="1973">3.3948480455986045</cx:pt>
          <cx:pt idx="1974">3.3896150160921801</cx:pt>
          <cx:pt idx="1975">3.4082192958749973</cx:pt>
          <cx:pt idx="1976">3.3985271355919711</cx:pt>
          <cx:pt idx="1977">3.3687873129744736</cx:pt>
          <cx:pt idx="1978">3.3660233889393907</cx:pt>
          <cx:pt idx="1979">3.3623504409994354</cx:pt>
          <cx:pt idx="1980">3.3568103088224461</cx:pt>
          <cx:pt idx="1981">3.3698376041078055</cx:pt>
          <cx:pt idx="1982">3.3653661892243822</cx:pt>
          <cx:pt idx="1983">3.3565277743655266</cx:pt>
          <cx:pt idx="1984">3.360139301771369</cx:pt>
          <cx:pt idx="1985">3.3651942117288653</cx:pt>
          <cx:pt idx="1986">3.3556310345674771</cx:pt>
          <cx:pt idx="1987">3.3716495098641381</cx:pt>
          <cx:pt idx="1988">3.3716495098641386</cx:pt>
          <cx:pt idx="1989">3.3808257376606154</cx:pt>
          <cx:pt idx="1990">3.3837616391912153</cx:pt>
          <cx:pt idx="1991">3.4007567009802724</cx:pt>
          <cx:pt idx="1992">3.4336781072648219</cx:pt>
          <cx:pt idx="1993">3.4360489398815823</cx:pt>
          <cx:pt idx="1994">3.4427560622067177</cx:pt>
          <cx:pt idx="1995">3.4235621452964162</cx:pt>
          <cx:pt idx="1996">3.4380573913470758</cx:pt>
          <cx:pt idx="1997">3.4313625531287628</cx:pt>
          <cx:pt idx="1998">3.4291268456870507</cx:pt>
          <cx:pt idx="1999">3.4176719160749824</cx:pt>
          <cx:pt idx="2000">3.4226592634449551</cx:pt>
          <cx:pt idx="2001">3.4166277669950613</cx:pt>
          <cx:pt idx="2002">3.4429157555954104</cx:pt>
          <cx:pt idx="2003">3.4408520256492148</cx:pt>
          <cx:pt idx="2004">3.4339606417217401</cx:pt>
          <cx:pt idx="2005">3.4413311058152956</cx:pt>
          <cx:pt idx="2006">3.4217993759673724</cx:pt>
          <cx:pt idx="2007">3.415251947030931</cx:pt>
          <cx:pt idx="2008">3.4207245166203961</cx:pt>
          <cx:pt idx="2009">3.4227329680858909</cx:pt>
          <cx:pt idx="2010">3.425091516595828</cx:pt>
          <cx:pt idx="2011">3.430140284499914</cx:pt>
          <cx:pt idx="2012">3.421572119991156</cx:pt>
          <cx:pt idx="2013">3.4144043436601725</cx:pt>
          <cx:pt idx="2014">3.4095029850379581</cx:pt>
          <cx:pt idx="2015">3.3968380709038657</cx:pt>
          <cx:pt idx="2016">3.4128074097732362</cx:pt>
          <cx:pt idx="2017">3.3994300174434327</cx:pt>
          <cx:pt idx="2018">3.3877846841756147</cx:pt>
          <cx:pt idx="2019">3.3862368867159676</cx:pt>
          <cx:pt idx="2020">3.3802913790138325</cx:pt>
          <cx:pt idx="2021">3.3831412917966746</cx:pt>
          <cx:pt idx="2022">3.3832211384910207</cx:pt>
          <cx:pt idx="2023">3.3767535562489259</cx:pt>
          <cx:pt idx="2024">3.3949708866668304</cx:pt>
          <cx:pt idx="2025">3.4225364223767283</cx:pt>
          <cx:pt idx="2026">3.4041409724098952</cx:pt>
          <cx:pt idx="2027">3.3955420976340807</cx:pt>
          <cx:pt idx="2028">3.3849654816598282</cx:pt>
          <cx:pt idx="2029">3.3732218755374288</cx:pt>
          <cx:pt idx="2030">3.3859297840454015</cx:pt>
          <cx:pt idx="2031">3.3784426209370317</cx:pt>
          <cx:pt idx="2032">3.3666130260668745</cx:pt>
          <cx:pt idx="2033">3.3498943566813257</cx:pt>
          <cx:pt idx="2034">3.3439857012996579</cx:pt>
          <cx:pt idx="2035">3.3508893693339563</cx:pt>
          <cx:pt idx="2036">3.3404601626415751</cx:pt>
          <cx:pt idx="2037">3.3700894282976694</cx:pt>
          <cx:pt idx="2038">3.3782460752278705</cx:pt>
          <cx:pt idx="2039">3.3961194506547425</cx:pt>
          <cx:pt idx="2040">3.4211360341989536</cx:pt>
          <cx:pt idx="2041">3.4328796403213522</cx:pt>
          <cx:pt idx="2042">3.4377134363560429</cx:pt>
          <cx:pt idx="2043">3.4225118541630843</cx:pt>
          <cx:pt idx="2044">3.4269464167260399</cx:pt>
          <cx:pt idx="2045">3.4274992015330557</cx:pt>
          <cx:pt idx="2046">3.4220757683708807</cx:pt>
          <cx:pt idx="2047">3.3914822003292131</cx:pt>
          <cx:pt idx="2048">3.4075682382133987</cx:pt>
          <cx:pt idx="2049">3.4153072255116323</cx:pt>
          <cx:pt idx="2050">3.4067206348426398</cx:pt>
          <cx:pt idx="2051">3.4209947669704937</cx:pt>
          <cx:pt idx="2052">3.4102461735007243</cx:pt>
          <cx:pt idx="2053">3.3996818416332948</cx:pt>
          <cx:pt idx="2054">3.3692971034076113</cx:pt>
          <cx:pt idx="2055">3.3472102793405889</cx:pt>
          <cx:pt idx="2056">3.3184838955359557</cx:pt>
          <cx:pt idx="2057">3.3161990516669535</cx:pt>
          <cx:pt idx="2058">3.3027848070166819</cx:pt>
          <cx:pt idx="2059">3.3290298012431521</cx:pt>
          <cx:pt idx="2060">3.3442129572758765</cx:pt>
          <cx:pt idx="2061">3.3418789769795842</cx:pt>
          <cx:pt idx="2062">3.3367933567550305</cx:pt>
          <cx:pt idx="2063">3.3409576689678899</cx:pt>
          <cx:pt idx="2064">3.3483281330614458</cx:pt>
          <cx:pt idx="2065">3.3486229516251873</cx:pt>
          <cx:pt idx="2066">3.344870156990885</cx:pt>
          <cx:pt idx="2067">3.3531619290961352</cx:pt>
          <cx:pt idx="2068">3.3342198363756967</cx:pt>
          <cx:pt idx="2069">3.3356447927671176</cx:pt>
          <cx:pt idx="2070">3.3297852738127411</cx:pt>
          <cx:pt idx="2071">3.3134965481659826</cx:pt>
          <cx:pt idx="2072">3.3041114905535216</cx:pt>
          <cx:pt idx="2073">3.3143380094833303</cx:pt>
          <cx:pt idx="2074">3.3271196226322388</cx:pt>
          <cx:pt idx="2075">3.334858609930472</cx:pt>
          <cx:pt idx="2076">3.3370328968380716</cx:pt>
          <cx:pt idx="2077">3.3380647618111694</cx:pt>
          <cx:pt idx="2078">3.3394221556150661</cx:pt>
          <cx:pt idx="2079">3.3344716605655611</cx:pt>
          <cx:pt idx="2080">3.3278382428813602</cx:pt>
          <cx:pt idx="2081">3.3491327420583259</cx:pt>
          <cx:pt idx="2082">3.3539235437191373</cx:pt>
          <cx:pt idx="2083">3.3681731076333445</cx:pt>
          <cx:pt idx="2084">3.4007996953541517</cx:pt>
          <cx:pt idx="2085">3.4167076136894097</cx:pt>
          <cx:pt idx="2086">3.436018229614525</cx:pt>
          <cx:pt idx="2087">3.4644375107485943</cx:pt>
          <cx:pt idx="2088">3.4665565191754917</cx:pt>
          <cx:pt idx="2089">3.4689887723263655</cx:pt>
          <cx:pt idx="2090">3.4546409355575762</cx:pt>
          <cx:pt idx="2091">3.4562870058718036</cx:pt>
          <cx:pt idx="2092">3.4543891113677128</cx:pt>
          <cx:pt idx="2093">3.4878141660319879</cx:pt>
          <cx:pt idx="2094">3.4784291084195273</cx:pt>
          <cx:pt idx="2095">3.4658624671400147</cx:pt>
          <cx:pt idx="2096">3.4631353954253985</cx:pt>
          <cx:pt idx="2097">3.4503537822764909</cx:pt>
          <cx:pt idx="2098">3.4515699088519276</cx:pt>
          <cx:pt idx="2099">3.4369026853057516</cx:pt>
          <cx:pt idx="2100">3.4236112817237059</cx:pt>
          <cx:pt idx="2101">3.4182124167751762</cx:pt>
          <cx:pt idx="2102">3.4026853057514188</cx:pt>
          <cx:pt idx="2103">3.4240596516227306</cx:pt>
          <cx:pt idx="2104">3.4236911284180533</cx:pt>
          <cx:pt idx="2105">3.4381802324153021</cx:pt>
          <cx:pt idx="2106">3.4437633589661698</cx:pt>
          <cx:pt idx="2107">3.4270201213669758</cx:pt>
          <cx:pt idx="2108">3.4349925066948384</cx:pt>
          <cx:pt idx="2109">3.4415153674176358</cx:pt>
          <cx:pt idx="2110">3.4481794953688922</cx:pt>
          <cx:pt idx="2111">3.4523315234749283</cx:pt>
          <cx:pt idx="2112">3.4362147753236862</cx:pt>
          <cx:pt idx="2113">3.4212588752671795</cx:pt>
          <cx:pt idx="2114">3.4069478908188584</cx:pt>
          <cx:pt idx="2115">3.3999275237697466</cx:pt>
          <cx:pt idx="2116">3.4014016165884575</cx:pt>
          <cx:pt idx="2117">3.3929071567206344</cx:pt>
          <cx:pt idx="2118">3.3937056236641028</cx:pt>
          <cx:pt idx="2119">3.4180711495467158</cx:pt>
          <cx:pt idx="2120">3.4110692086578376</cx:pt>
          <cx:pt idx="2121">3.4139928260816146</cx:pt>
          <cx:pt idx="2122">3.4049148711397188</cx:pt>
          <cx:pt idx="2123">3.4179851607989575</cx:pt>
          <cx:pt idx="2124">3.3999766601970367</cx:pt>
          <cx:pt idx="2125">3.4116465616784999</cx:pt>
          <cx:pt idx="2126">3.4104672874235313</cx:pt>
          <cx:pt idx="2127">3.4213632901751714</cx:pt>
          <cx:pt idx="2128">3.4343844434071205</cx:pt>
          <cx:pt idx="2129">3.4481119327813681</cx:pt>
          <cx:pt idx="2130">3.471642139400045</cx:pt>
          <cx:pt idx="2131">3.4956698523450367</cx:pt>
          <cx:pt idx="2132">3.5010687172935655</cx:pt>
          <cx:pt idx="2133">3.5341375328599862</cx:pt>
          <cx:pt idx="2134">3.5127631869886744</cx:pt>
          <cx:pt idx="2135">3.4906702208682407</cx:pt>
          <cx:pt idx="2136">3.4736997272928285</cx:pt>
          <cx:pt idx="2137">3.4663538314129179</cx:pt>
          <cx:pt idx="2138">3.4890302926074246</cx:pt>
          <cx:pt idx="2139">3.4915731027197014</cx:pt>
          <cx:pt idx="2140">3.4984583445937649</cx:pt>
          <cx:pt idx="2141">3.4898594698179495</cx:pt>
          <cx:pt idx="2142">3.4779684544136802</cx:pt>
          <cx:pt idx="2143">3.497137803110336</cx:pt>
          <cx:pt idx="2144">3.5002518241898635</cx:pt>
          <cx:pt idx="2145">3.4972790703387964</cx:pt>
          <cx:pt idx="2146">3.4876176203228271</cx:pt>
          <cx:pt idx="2147">3.4972606441785627</cx:pt>
          <cx:pt idx="2148">3.5140591602584581</cx:pt>
          <cx:pt idx="2149">3.4971685133773929</cx:pt>
          <cx:pt idx="2150">3.4741542392452649</cx:pt>
          <cx:pt idx="2151">3.481764243421861</cx:pt>
          <cx:pt idx="2152">3.4758310198265483</cx:pt>
          <cx:pt idx="2153">3.4751553939513058</cx:pt>
          <cx:pt idx="2154">3.4830110802643537</cx:pt>
          <cx:pt idx="2155">3.4942019015797352</cx:pt>
          <cx:pt idx="2156">3.4914011252241846</cx:pt>
          <cx:pt idx="2157">3.4988882883325552</cx:pt>
          <cx:pt idx="2158">3.4771208510429208</cx:pt>
          <cx:pt idx="2159">3.4627852983809544</cx:pt>
          <cx:pt idx="2160">3.4514163575166452</cx:pt>
          <cx:pt idx="2161">3.4514163575166457</cx:pt>
          <cx:pt idx="2162">3.4509004250300968</cx:pt>
          <cx:pt idx="2163">3.4639829987961583</cx:pt>
          <cx:pt idx="2164">3.4430385966636377</cx:pt>
          <cx:pt idx="2165">3.4610962336928499</cx:pt>
          <cx:pt idx="2166">3.4896260717883214</cx:pt>
          <cx:pt idx="2167">3.4781527160160191</cx:pt>
          <cx:pt idx="2168">3.4689150676854288</cx:pt>
          <cx:pt idx="2169">3.4465579932683097</cx:pt>
          <cx:pt idx="2170">3.4406984743139324</cx:pt>
          <cx:pt idx="2171">3.4446416726039844</cx:pt>
          <cx:pt idx="2172">3.4275974743876367</cx:pt>
          <cx:pt idx="2173">3.4259084096995305</cx:pt>
          <cx:pt idx="2174">3.4082315799818192</cx:pt>
          <cx:pt idx="2175">3.4006338599120456</cx:pt>
          <cx:pt idx="2176">3.4130530919096866</cx:pt>
          <cx:pt idx="2177">3.4284082254379276</cx:pt>
          <cx:pt idx="2178">3.4152150947104629</cx:pt>
          <cx:pt idx="2179">3.388116355059823</cx:pt>
          <cx:pt idx="2180">3.3669631231113177</cx:pt>
          <cx:pt idx="2181">3.3642790457705818</cx:pt>
          <cx:pt idx="2182">3.3613861386138608</cx:pt>
          <cx:pt idx="2183">3.3546237378080237</cx:pt>
          <cx:pt idx="2184">3.3773001990025309</cx:pt>
          <cx:pt idx="2185">3.3649239613787678</cx:pt>
          <cx:pt idx="2186">3.3590767265312143</cx:pt>
          <cx:pt idx="2187">3.3485615310910752</cx:pt>
          <cx:pt idx="2188">3.3520747856423365</cx:pt>
          <cx:pt idx="2189">3.3752426111097469</cx:pt>
          <cx:pt idx="2190">3.3846952313097325</cx:pt>
          <cx:pt idx="2191">3.3793700710021386</cx:pt>
          <cx:pt idx="2192">3.3729024887600429</cx:pt>
          <cx:pt idx="2193">3.3648686828980674</cx:pt>
          <cx:pt idx="2194">3.3438628602314338</cx:pt>
          <cx:pt idx="2195">3.3380279094907013</cx:pt>
          <cx:pt idx="2196">3.3371004594255953</cx:pt>
          <cx:pt idx="2197">3.3438567181780212</cx:pt>
          <cx:pt idx="2198">3.3558091541164039</cx:pt>
          <cx:pt idx="2199">3.3494337026754786</cx:pt>
          <cx:pt idx="2200">3.3687381765471831</cx:pt>
          <cx:pt idx="2201">3.3866484042945233</cx:pt>
          <cx:pt idx="2202">3.3942584084711198</cx:pt>
          <cx:pt idx="2203">3.4044787853475169</cx:pt>
          <cx:pt idx="2204">3.4106638331326922</cx:pt>
          <cx:pt idx="2205">3.4080718865931252</cx:pt>
          <cx:pt idx="2206">3.4401763997739723</cx:pt>
          <cx:pt idx="2207">3.4424980959634421</cx:pt>
          <cx:pt idx="2208">3.4277203154558631</cx:pt>
          <cx:pt idx="2209">3.4258039947915391</cx:pt>
          <cx:pt idx="2210">3.4344274377809993</cx:pt>
          <cx:pt idx="2211">3.4607522787018161</cx:pt>
          <cx:pt idx="2212">3.4632705206004473</cx:pt>
          <cx:pt idx="2213">3.4551015895634234</cx:pt>
          <cx:pt idx="2214">3.4613050635088332</cx:pt>
          <cx:pt idx="2215">3.4351890524040005</cx:pt>
          <cx:pt idx="2216">3.4389111367712455</cx:pt>
          <cx:pt idx="2217">3.451096970739258</cx:pt>
          <cx:pt idx="2218">3.4762793897255735</cx:pt>
          <cx:pt idx="2219">3.4898963221384176</cx:pt>
          <cx:pt idx="2220">3.4883239564651256</cx:pt>
          <cx:pt idx="2221">3.5061789057317641</cx:pt>
          <cx:pt idx="2222">3.5046126821118837</cx:pt>
          <cx:pt idx="2223">3.5472508168931038</cx:pt>
          <cx:pt idx="2224">3.5871311696926518</cx:pt>
          <cx:pt idx="2225">3.6523106404933294</cx:pt>
          <cx:pt idx="2226">3.709407169004741</cx:pt>
          <cx:pt idx="2227">3.7485873277154012</cx:pt>
          <cx:pt idx="2228">3.7778419281134066</cx:pt>
          <cx:pt idx="2229">3.8374198462029825</cx:pt>
          <cx:pt idx="2230">3.897237304375599</cx:pt>
          <cx:pt idx="2231">3.9299805911112204</cx:pt>
          <cx:pt idx="2232">3.9687860845637917</cx:pt>
          <cx:pt idx="2233">3.9933788664226224</cx:pt>
          <cx:pt idx="2234">4.0330872417266548</cx:pt>
          <cx:pt idx="2235">4.0816340318895419</cx:pt>
          <cx:pt idx="2236">4.1313600963073975</cx:pt>
          <cx:pt idx="2237">4.1717870918605513</cx:pt>
          <cx:pt idx="2238">4.2211262069134952</cx:pt>
          <cx:pt idx="2239">4.2667493796526053</cx:pt>
          <cx:pt idx="2240">4.309092695870083</cx:pt>
          <cx:pt idx="2241">4.3477139277203154</cx:pt>
          <cx:pt idx="2242">4.376372748937424</cx:pt>
          <cx:pt idx="2243">4.4155221973810272</cx:pt>
          <cx:pt idx="2244">4.4641242660246165</cx:pt>
          <cx:pt idx="2245">4.5198388325184862</cx:pt>
          <cx:pt idx="2246">4.5620961599882071</cx:pt>
          <cx:pt idx="2247">4.6132226125838383</cx:pt>
          <cx:pt idx="2248">4.6295236223374188</cx:pt>
          <cx:pt idx="2249">4.6484902832715029</cx:pt>
          <cx:pt idx="2250">4.6584035574773353</cx:pt>
          <cx:pt idx="2251">4.6872220720831388</cx:pt>
          <cx:pt idx="2252">4.6983883251848759</cx:pt>
          <cx:pt idx="2253">1.656769771269931</cx:pt>
          <cx:pt idx="2254">1.7900523302950642</cx:pt>
          <cx:pt idx="2255">1.8991536250399232</cx:pt>
          <cx:pt idx="2256">2.0166818170650811</cx:pt>
          <cx:pt idx="2257">2.1331167235830284</cx:pt>
          <cx:pt idx="2258">2.2473589170331425</cx:pt>
          <cx:pt idx="2259">2.3635174311475815</cx:pt>
          <cx:pt idx="2260">2.4740743925509179</cx:pt>
          <cx:pt idx="2261">2.5723963835589516</cx:pt>
          <cx:pt idx="2262">2.6831498906714493</cx:pt>
          <cx:pt idx="2263">2.7987310517652264</cx:pt>
          <cx:pt idx="2264">2.9136980075178736</cx:pt>
          <cx:pt idx="2265">3.0488231825663954</cx:pt>
          <cx:pt idx="2266">3.1530783971697414</cx:pt>
          <cx:pt idx="2267">3.2792607424514162</cx:pt>
          <cx:pt idx="2268">3.3832395646512539</cx:pt>
          <cx:pt idx="2269">3.4946809817458169</cx:pt>
          <cx:pt idx="2270">3.4998648748249512</cx:pt>
          <cx:pt idx="2271">3.5131501363535858</cx:pt>
          <cx:pt idx="2272">3.4895646512542076</cx:pt>
          <cx:pt idx="2273">3.4810026287988598</cx:pt>
          <cx:pt idx="2274">3.4669741788074586</cx:pt>
          <cx:pt idx="2275">3.473730437559885</cx:pt>
          <cx:pt idx="2276">3.4682824361840652</cx:pt>
          <cx:pt idx="2277">3.4892268383165868</cx:pt>
          <cx:pt idx="2278">3.4967999901727151</cx:pt>
          <cx:pt idx="2279">3.4879370071002143</cx:pt>
          <cx:pt idx="2280">3.4754747807286934</cx:pt>
          <cx:pt idx="2281">3.4650455740363126</cx:pt>
          <cx:pt idx="2282">3.4622693658944059</cx:pt>
          <cx:pt idx="2283">3.457005626120925</cx:pt>
          <cx:pt idx="2284">3.4354347345404519</cx:pt>
          <cx:pt idx="2285">3.3941908458835957</cx:pt>
          <cx:pt idx="2286">3.394184703830184</cx:pt>
          <cx:pt idx="2287">3.39605803012063</cx:pt>
          <cx:pt idx="2288">3.3745547011276806</cx:pt>
          <cx:pt idx="2289">3.3498636464142693</cx:pt>
          <cx:pt idx="2290">3.3429968307004398</cx:pt>
          <cx:pt idx="2291">3.3356755030341736</cx:pt>
          <cx:pt idx="2292">3.3393423089207181</cx:pt>
          <cx:pt idx="2293">3.3455703510797727</cx:pt>
          <cx:pt idx="2294">3.3411235044099952</cx:pt>
          <cx:pt idx="2295">3.3289745227624503</cx:pt>
          <cx:pt idx="2296">3.3194420558681186</cx:pt>
          <cx:pt idx="2297">3.319595607203401</cx:pt>
          <cx:pt idx="2298">3.3197184482716264</cx:pt>
          <cx:pt idx="2299">3.3323649362454857</cx:pt>
          <cx:pt idx="2300">3.3407181288848489</cx:pt>
          <cx:pt idx="2301">3.3191595214111986</cx:pt>
          <cx:pt idx="2302">3.3244601135051477</cx:pt>
          <cx:pt idx="2303">3.3330098518536726</cx:pt>
          <cx:pt idx="2304">3.3440901162076511</cx:pt>
          <cx:pt idx="2305">3.361410706827507</cx:pt>
          <cx:pt idx="2306">3.3523204677787874</cx:pt>
          <cx:pt idx="2307">3.3665086111588822</cx:pt>
          <cx:pt idx="2308">3.3369039137164331</cx:pt>
          <cx:pt idx="2309">3.3511043412033508</cx:pt>
          <cx:pt idx="2310">3.3397538264992748</cx:pt>
          <cx:pt idx="2311">3.3353622583101981</cx:pt>
          <cx:pt idx="2312">3.327752254133602</cx:pt>
          <cx:pt idx="2313">3.3458958799105716</cx:pt>
          <cx:pt idx="2314">3.3665331793725275</cx:pt>
          <cx:pt idx="2315">3.3712748446060492</cx:pt>
          <cx:pt idx="2316">3.4073286981303594</cx:pt>
          <cx:pt idx="2317">3.4047367515907925</cx:pt>
          <cx:pt idx="2318">3.4063951060118427</cx:pt>
          <cx:pt idx="2319">3.4217379554332616</cx:pt>
          <cx:pt idx="2320">3.4384566248188113</cx:pt>
          <cx:pt idx="2321">3.4416566346460966</cx:pt>
          <cx:pt idx="2322">3.4515207724246388</cx:pt>
          <cx:pt idx="2323">3.4760091393754773</cx:pt>
          <cx:pt idx="2324">3.4523868019556314</cx:pt>
          <cx:pt idx="2325">3.4472213350367307</cx:pt>
          <cx:pt idx="2326">3.4419146008893704</cx:pt>
          <cx:pt idx="2327">3.4123836080878571</cx:pt>
          <cx:pt idx="2328">3.4096135419993625</cx:pt>
          <cx:pt idx="2329">3.4044050807065833</cx:pt>
          <cx:pt idx="2330">3.3978883620371967</cx:pt>
          <cx:pt idx="2331">3.3800518389307923</cx:pt>
          <cx:pt idx="2332">3.3855919711077811</cx:pt>
          <cx:pt idx="2333">3.3883620371962762</cx:pt>
          <cx:pt idx="2334">3.4026177431638955</cx:pt>
          <cx:pt idx="2335">3.4056027811217855</cx:pt>
          <cx:pt idx="2336">3.4029924084219845</cx:pt>
          <cx:pt idx="2337">3.3956833648625415</cx:pt>
          <cx:pt idx="2338">3.3906775913323353</cx:pt>
          <cx:pt idx="2339">3.3978453676633178</cx:pt>
          <cx:pt idx="2340">3.3851681694224021</cx:pt>
          <cx:pt idx="2341">3.3871152003537834</cx:pt>
          <cx:pt idx="2342">3.4104058668894197</cx:pt>
          <cx:pt idx="2343">3.4144043436601739</cx:pt>
          <cx:pt idx="2344">3.4203068569884296</cx:pt>
          <cx:pt idx="2345">3.4299867331646321</cx:pt>
          <cx:pt idx="2346">3.4377257204628662</cx:pt>
          <cx:pt idx="2347">3.4294278063042043</cx:pt>
          <cx:pt idx="2348">3.4123528978208002</cx:pt>
          <cx:pt idx="2349">3.4116772719455573</cx:pt>
          <cx:pt idx="2350">3.4180281551728373</cx:pt>
          <cx:pt idx="2351">3.4261848021030392</cx:pt>
          <cx:pt idx="2352">3.434617841436749</cx:pt>
          <cx:pt idx="2353">3.4220143478367686</cx:pt>
          <cx:pt idx="2354">3.3967029457288156</cx:pt>
          <cx:pt idx="2355">3.4317126501732051</cx:pt>
          <cx:pt idx="2356">3.4528843082819436</cx:pt>
          <cx:pt idx="2357">3.4702663194359129</cx:pt>
          <cx:pt idx="2358">3.4862356583052843</cx:pt>
          <cx:pt idx="2359">3.4838156892612333</cx:pt>
          <cx:pt idx="2360">3.4605495909392423</cx:pt>
          <cx:pt idx="2361">3.4465027147876079</cx:pt>
          <cx:pt idx="2362">3.4570547625482146</cx:pt>
          <cx:pt idx="2363">3.4860636808097683</cx:pt>
          <cx:pt idx="2364">3.4725450212515052</cx:pt>
          <cx:pt idx="2365">3.4668390536324107</cx:pt>
          <cx:pt idx="2366">3.4369333955728076</cx:pt>
          <cx:pt idx="2367">3.4468159595115835</cx:pt>
          <cx:pt idx="2368">3.4558939144534802</cx:pt>
          <cx:pt idx="2369">3.437308060830897</cx:pt>
          <cx:pt idx="2370">3.4461710439033975</cx:pt>
          <cx:pt idx="2371">3.4437547600913936</cx:pt>
          <cx:pt idx="2372">3.4540601938177899</cx:pt>
          <cx:pt idx="2373">3.4520794799260139</cx:pt>
          <cx:pt idx="2374">3.4576951284872073</cx:pt>
          <cx:pt idx="2375">3.4469799050911005</cx:pt>
          <cx:pt idx="2376">3.43110434120335</cx:pt>
          <cx:pt idx="2377">3.4354531607006855</cx:pt>
          <cx:pt idx="2378">3.423358389350641</cx:pt>
          <cx:pt idx="2379">3.4529529876064529</cx:pt>
          <cx:pt idx="2380">3.4396692416494394</cx:pt>
          <cx:pt idx="2381">3.4308834729626803</cx:pt>
          <cx:pt idx="2382">3.4247604922435566</cx:pt>
          <cx:pt idx="2383">3.4067656765676566</cx:pt>
          <cx:pt idx="2384">3.4239057389901895</cx:pt>
          <cx:pt idx="2385">3.4418911843107391</cx:pt>
          <cx:pt idx="2386">3.406054836252856</cx:pt>
          <cx:pt idx="2387">3.3678190621259927</cx:pt>
          <cx:pt idx="2388">3.3529058527154496</cx:pt>
          <cx:pt idx="2389">3.34290111703478</cx:pt>
          <cx:pt idx="2390">3.3671847954026166</cx:pt>
          <cx:pt idx="2391">3.4006283320639752</cx:pt>
          <cx:pt idx="2392">3.447596682745198</cx:pt>
          <cx:pt idx="2393">3.442569497334349</cx:pt>
          <cx:pt idx="2394">3.355402023718856</cx:pt>
          <cx:pt idx="2395">3.3657654226961156</cx:pt>
          <cx:pt idx="2396">3.302284843869002</cx:pt>
          <cx:pt idx="2397">3.3700019040365579</cx:pt>
          <cx:pt idx="2398">3.1414699162223916</cx:pt>
          <cx:pt idx="2399">3.1701256664127953</cx:pt>
          <cx:pt idx="2400">3.2730388423457732</cx:pt>
        </cx:lvl>
      </cx:numDim>
    </cx:data>
    <cx:data id="6">
      <cx:numDim type="val">
        <cx:f>Sheet2!$G$2461:$G$4861</cx:f>
        <cx:lvl ptCount="2401" formatCode="#,##0.00">
          <cx:pt idx="0">75.922580645161275</cx:pt>
          <cx:pt idx="1">75.892082111436963</cx:pt>
          <cx:pt idx="2">75.99061583577712</cx:pt>
          <cx:pt idx="3">76.051612903225816</cx:pt>
          <cx:pt idx="4">76.205278592375365</cx:pt>
          <cx:pt idx="5">76.185337243401747</cx:pt>
          <cx:pt idx="6">76.369501466275651</cx:pt>
          <cx:pt idx="7">76.316129032258047</cx:pt>
          <cx:pt idx="8">76.373020527859225</cx:pt>
          <cx:pt idx="9">76.34134897360704</cx:pt>
          <cx:pt idx="10">76.394134897360715</cx:pt>
          <cx:pt idx="11">76.500879765395908</cx:pt>
          <cx:pt idx="12">76.357184750733168</cx:pt>
          <cx:pt idx="13">76.23929618768328</cx:pt>
          <cx:pt idx="14">76.143695014662768</cx:pt>
          <cx:pt idx="15">76.073313782991221</cx:pt>
          <cx:pt idx="16">76.167155425219946</cx:pt>
          <cx:pt idx="17">76.169501466275662</cx:pt>
          <cx:pt idx="18">76.158357771260995</cx:pt>
          <cx:pt idx="19">76.141348973607023</cx:pt>
          <cx:pt idx="20">76.094428152492668</cx:pt>
          <cx:pt idx="21">76.202932551319648</cx:pt>
          <cx:pt idx="22">76.089149560117292</cx:pt>
          <cx:pt idx="23">76.219354838709663</cx:pt>
          <cx:pt idx="24">76.250439882697933</cx:pt>
          <cx:pt idx="25">76.247507331378287</cx:pt>
          <cx:pt idx="26">76.414662756598247</cx:pt>
          <cx:pt idx="27">76.40351906158358</cx:pt>
          <cx:pt idx="28">76.500293255131965</cx:pt>
          <cx:pt idx="29">76.419941348973595</cx:pt>
          <cx:pt idx="30">76.394134897360715</cx:pt>
          <cx:pt idx="31">76.55542521994137</cx:pt>
          <cx:pt idx="32">76.531378299120249</cx:pt>
          <cx:pt idx="33">76.391202346041069</cx:pt>
          <cx:pt idx="34">76.3777126099707</cx:pt>
          <cx:pt idx="35">76.31319648093843</cx:pt>
          <cx:pt idx="36">76.219354838709677</cx:pt>
          <cx:pt idx="37">76.049853372434029</cx:pt>
          <cx:pt idx="38">76.224633431085053</cx:pt>
          <cx:pt idx="39">76.201173020527847</cx:pt>
          <cx:pt idx="40">76.327272727272728</cx:pt>
          <cx:pt idx="41">76.366568914956019</cx:pt>
          <cx:pt idx="42">76.226979472140755</cx:pt>
          <cx:pt idx="43">76.269794721407621</cx:pt>
          <cx:pt idx="44">76.290322580645139</cx:pt>
          <cx:pt idx="45">76.380058651026388</cx:pt>
          <cx:pt idx="46">76.32903225806453</cx:pt>
          <cx:pt idx="47">76.321994134897366</cx:pt>
          <cx:pt idx="48">76.26686217008799</cx:pt>
          <cx:pt idx="49">76.205278592375365</cx:pt>
          <cx:pt idx="50">76.408211143695013</cx:pt>
          <cx:pt idx="51">76.348973607038133</cx:pt>
          <cx:pt idx="52">76.187096774193549</cx:pt>
          <cx:pt idx="53">76.35953079178887</cx:pt>
          <cx:pt idx="54">76.373020527859254</cx:pt>
          <cx:pt idx="55">76.425219941348985</cx:pt>
          <cx:pt idx="56">76.401173020527864</cx:pt>
          <cx:pt idx="57">76.27976539589443</cx:pt>
          <cx:pt idx="58">76.149560117302059</cx:pt>
          <cx:pt idx="59">76.159530791788853</cx:pt>
          <cx:pt idx="60">76.319061583577735</cx:pt>
          <cx:pt idx="61">76.335483870967749</cx:pt>
          <cx:pt idx="62">76.26686217008799</cx:pt>
          <cx:pt idx="63">76.265102639296188</cx:pt>
          <cx:pt idx="64">76.400586510263921</cx:pt>
          <cx:pt idx="65">76.336656891495608</cx:pt>
          <cx:pt idx="66">76.273313782991195</cx:pt>
          <cx:pt idx="67">76.385337243401764</cx:pt>
          <cx:pt idx="68">76.405865102639297</cx:pt>
          <cx:pt idx="69">76.32903225806453</cx:pt>
          <cx:pt idx="70">76.236950146627564</cx:pt>
          <cx:pt idx="71">76.23284457478006</cx:pt>
          <cx:pt idx="72">76.147214076246328</cx:pt>
          <cx:pt idx="73">76.310850439882699</cx:pt>
          <cx:pt idx="74">76.315542521994146</cx:pt>
          <cx:pt idx="75">76.430498533724361</cx:pt>
          <cx:pt idx="76">76.405865102639325</cx:pt>
          <cx:pt idx="77">76.432258064516148</cx:pt>
          <cx:pt idx="78">76.295601173020543</cx:pt>
          <cx:pt idx="79">76.243401759530784</cx:pt>
          <cx:pt idx="80">76.40351906158358</cx:pt>
          <cx:pt idx="81">76.27976539589443</cx:pt>
          <cx:pt idx="82">76.28328445747799</cx:pt>
          <cx:pt idx="83">76.453372434017567</cx:pt>
          <cx:pt idx="84">76.287976539589422</cx:pt>
          <cx:pt idx="85">76.21818181818179</cx:pt>
          <cx:pt idx="86">76.112023460410541</cx:pt>
          <cx:pt idx="87">76.113782991202328</cx:pt>
          <cx:pt idx="88">76.140762463343094</cx:pt>
          <cx:pt idx="89">76.171847507331364</cx:pt>
          <cx:pt idx="90">76.160117302052768</cx:pt>
          <cx:pt idx="91">75.992375366568893</cx:pt>
          <cx:pt idx="92">76.130791788856271</cx:pt>
          <cx:pt idx="93">76.086803519061561</cx:pt>
          <cx:pt idx="94">76.221114369501436</cx:pt>
          <cx:pt idx="95">76.253958944281493</cx:pt>
          <cx:pt idx="96">76.206451612903209</cx:pt>
          <cx:pt idx="97">76.217595307917875</cx:pt>
          <cx:pt idx="98">76.060410557184738</cx:pt>
          <cx:pt idx="99">76.149560117302045</cx:pt>
          <cx:pt idx="100">76.059237536656894</cx:pt>
          <cx:pt idx="101">76.074486803519079</cx:pt>
          <cx:pt idx="102">76.086217008797647</cx:pt>
          <cx:pt idx="103">76.062756598240483</cx:pt>
          <cx:pt idx="104">76.065689149560114</cx:pt>
          <cx:pt idx="105">76.003519061583589</cx:pt>
          <cx:pt idx="106">75.969501466275659</cx:pt>
          <cx:pt idx="107">75.893841642228736</cx:pt>
          <cx:pt idx="108">75.927272727272722</cx:pt>
          <cx:pt idx="109">76.02463343108505</cx:pt>
          <cx:pt idx="110">76.066862170087973</cx:pt>
          <cx:pt idx="111">76.119648093841633</cx:pt>
          <cx:pt idx="112">76.055131964809377</cx:pt>
          <cx:pt idx="113">76.23401759530789</cx:pt>
          <cx:pt idx="114">76.137829912023435</cx:pt>
          <cx:pt idx="115">76.128445747800555</cx:pt>
          <cx:pt idx="116">76.078592375366568</cx:pt>
          <cx:pt idx="117">76.091495601173008</cx:pt>
          <cx:pt idx="118">76.009970674486794</cx:pt>
          <cx:pt idx="119">75.956011730205276</cx:pt>
          <cx:pt idx="120">75.921994134897346</cx:pt>
          <cx:pt idx="121">75.878005865102637</cx:pt>
          <cx:pt idx="122">76.035777126099703</cx:pt>
          <cx:pt idx="123">75.887390029325502</cx:pt>
          <cx:pt idx="124">75.897360703812311</cx:pt>
          <cx:pt idx="125">75.864516129032253</cx:pt>
          <cx:pt idx="126">75.758357771260975</cx:pt>
          <cx:pt idx="127">75.969501466275659</cx:pt>
          <cx:pt idx="128">75.948973607038127</cx:pt>
          <cx:pt idx="129">76.071554252199405</cx:pt>
          <cx:pt idx="130">75.995307917888553</cx:pt>
          <cx:pt idx="131">76.076832844574767</cx:pt>
          <cx:pt idx="132">76.205865102639279</cx:pt>
          <cx:pt idx="133">76.0815249266862</cx:pt>
          <cx:pt idx="134">76.196480938416428</cx:pt>
          <cx:pt idx="135">76.138416422287392</cx:pt>
          <cx:pt idx="136">76.18651026392962</cx:pt>
          <cx:pt idx="137">76.187683284457492</cx:pt>
          <cx:pt idx="138">76.229325513196486</cx:pt>
          <cx:pt idx="139">76.190029325513194</cx:pt>
          <cx:pt idx="140">76.048093841642228</cx:pt>
          <cx:pt idx="141">75.905571847507332</cx:pt>
          <cx:pt idx="142">75.874486803519062</cx:pt>
          <cx:pt idx="143">76.022287390029334</cx:pt>
          <cx:pt idx="144">75.929618768328453</cx:pt>
          <cx:pt idx="145">75.975953079178893</cx:pt>
          <cx:pt idx="146">75.950733137829928</cx:pt>
          <cx:pt idx="147">76.033431085043986</cx:pt>
          <cx:pt idx="148">76.171847507331393</cx:pt>
          <cx:pt idx="149">76.306158357771281</cx:pt>
          <cx:pt idx="150">76.46217008797656</cx:pt>
          <cx:pt idx="151">76.456304985337241</cx:pt>
          <cx:pt idx="152">76.488563049853369</cx:pt>
          <cx:pt idx="153">76.439882697947212</cx:pt>
          <cx:pt idx="154">76.572434017595285</cx:pt>
          <cx:pt idx="155">76.664516129032236</cx:pt>
          <cx:pt idx="156">76.628739002932534</cx:pt>
          <cx:pt idx="157">76.693255131964804</cx:pt>
          <cx:pt idx="158">76.652785923753655</cx:pt>
          <cx:pt idx="159">76.608797653958931</cx:pt>
          <cx:pt idx="160">76.653958944281513</cx:pt>
          <cx:pt idx="161">76.764809384164224</cx:pt>
          <cx:pt idx="162">76.733137829912025</cx:pt>
          <cx:pt idx="163">76.703812316715542</cx:pt>
          <cx:pt idx="164">76.684457478005854</cx:pt>
          <cx:pt idx="165">76.679765395894407</cx:pt>
          <cx:pt idx="166">76.69325513196479</cx:pt>
          <cx:pt idx="167">76.688563049853357</cx:pt>
          <cx:pt idx="168">76.638709677419328</cx:pt>
          <cx:pt idx="169">76.689149560117286</cx:pt>
          <cx:pt idx="170">76.808211143695033</cx:pt>
          <cx:pt idx="171">76.957184750733134</cx:pt>
          <cx:pt idx="172">77.143108504398811</cx:pt>
          <cx:pt idx="173">76.952492668621687</cx:pt>
          <cx:pt idx="174">76.889736070381218</cx:pt>
          <cx:pt idx="175">76.924926686216992</cx:pt>
          <cx:pt idx="176">76.754838709677401</cx:pt>
          <cx:pt idx="177">76.756011730205287</cx:pt>
          <cx:pt idx="178">76.641642228739002</cx:pt>
          <cx:pt idx="179">76.639296187683286</cx:pt>
          <cx:pt idx="180">76.551319648093838</cx:pt>
          <cx:pt idx="181">76.4258064516129</cx:pt>
          <cx:pt idx="182">76.437536656891496</cx:pt>
          <cx:pt idx="183">76.472727272727283</cx:pt>
          <cx:pt idx="184">76.50322580645161</cx:pt>
          <cx:pt idx="185">76.336070381231679</cx:pt>
          <cx:pt idx="186">76.22346041055718</cx:pt>
          <cx:pt idx="187">76.306158357771253</cx:pt>
          <cx:pt idx="188">76.171260997067421</cx:pt>
          <cx:pt idx="189">76.007624633431064</cx:pt>
          <cx:pt idx="190">76.095601173020512</cx:pt>
          <cx:pt idx="191">75.957771260997049</cx:pt>
          <cx:pt idx="192">75.946627565982411</cx:pt>
          <cx:pt idx="193">76.031671554252199</cx:pt>
          <cx:pt idx="194">75.90674486803519</cx:pt>
          <cx:pt idx="195">76.026392961876823</cx:pt>
          <cx:pt idx="196">76.076246334310838</cx:pt>
          <cx:pt idx="197">75.978299120234595</cx:pt>
          <cx:pt idx="198">76.043401759530781</cx:pt>
          <cx:pt idx="199">75.950146627565985</cx:pt>
          <cx:pt idx="200">75.9841642228739</cx:pt>
          <cx:pt idx="201">75.910263929618765</cx:pt>
          <cx:pt idx="202">75.845161290322579</cx:pt>
          <cx:pt idx="203">75.652199413489726</cx:pt>
          <cx:pt idx="204">75.794134897360706</cx:pt>
          <cx:pt idx="205">75.817008797653969</cx:pt>
          <cx:pt idx="206">75.68328445747801</cx:pt>
          <cx:pt idx="207">75.700879765395896</cx:pt>
          <cx:pt idx="208">75.737243401759528</cx:pt>
          <cx:pt idx="209">75.906158357771261</cx:pt>
          <cx:pt idx="210">75.807624633431075</cx:pt>
          <cx:pt idx="211">75.700293255131953</cx:pt>
          <cx:pt idx="212">75.634604105571839</cx:pt>
          <cx:pt idx="213">75.76715542521994</cx:pt>
          <cx:pt idx="214">75.765982404692082</cx:pt>
          <cx:pt idx="215">75.700879765395882</cx:pt>
          <cx:pt idx="216">75.825219941348976</cx:pt>
          <cx:pt idx="217">76.013489736070383</cx:pt>
          <cx:pt idx="218">76.123753665689151</cx:pt>
          <cx:pt idx="219">76.276246334310855</cx:pt>
          <cx:pt idx="220">76.385337243401764</cx:pt>
          <cx:pt idx="221">76.43753665689151</cx:pt>
          <cx:pt idx="222">76.576539589442817</cx:pt>
          <cx:pt idx="223">76.694428152492662</cx:pt>
          <cx:pt idx="224">76.744281524926677</cx:pt>
          <cx:pt idx="225">76.899120234604098</cx:pt>
          <cx:pt idx="226">76.860997067448693</cx:pt>
          <cx:pt idx="227">76.924926686216992</cx:pt>
          <cx:pt idx="228">76.966568914956042</cx:pt>
          <cx:pt idx="229">77.073900293255136</cx:pt>
          <cx:pt idx="230">77.302639296187692</cx:pt>
          <cx:pt idx="231">77.222287390029308</cx:pt>
          <cx:pt idx="232">77.364222873900289</cx:pt>
          <cx:pt idx="233">77.354252199413509</cx:pt>
          <cx:pt idx="234">77.555425219941355</cx:pt>
          <cx:pt idx="235">77.557184750733143</cx:pt>
          <cx:pt idx="236">77.546041055718462</cx:pt>
          <cx:pt idx="237">77.720821114369485</cx:pt>
          <cx:pt idx="238">77.974193548387078</cx:pt>
          <cx:pt idx="239">78.076832844574767</cx:pt>
          <cx:pt idx="240">78.04398826979471</cx:pt>
          <cx:pt idx="241">78.142521994134881</cx:pt>
          <cx:pt idx="242">78.306158357771253</cx:pt>
          <cx:pt idx="243">78.547800586510277</cx:pt>
          <cx:pt idx="244">78.678592375366563</cx:pt>
          <cx:pt idx="245">78.707331378299116</cx:pt>
          <cx:pt idx="246">78.871554252199402</cx:pt>
          <cx:pt idx="247">78.937243401759517</cx:pt>
          <cx:pt idx="248">78.913782991202339</cx:pt>
          <cx:pt idx="249">78.918475073313772</cx:pt>
          <cx:pt idx="250">78.959530791788822</cx:pt>
          <cx:pt idx="251">78.998826979472113</cx:pt>
          <cx:pt idx="252">79.043988269794696</cx:pt>
          <cx:pt idx="253">78.990029325513177</cx:pt>
          <cx:pt idx="254">78.852785923753643</cx:pt>
          <cx:pt idx="255">78.840469208211132</cx:pt>
          <cx:pt idx="256">78.792375366568905</cx:pt>
          <cx:pt idx="257">78.64692082111435</cx:pt>
          <cx:pt idx="258">78.463929618768319</cx:pt>
          <cx:pt idx="259">78.392961876832828</cx:pt>
          <cx:pt idx="260">78.26686217008799</cx:pt>
          <cx:pt idx="261">78.076832844574781</cx:pt>
          <cx:pt idx="262">78.110263929618768</cx:pt>
          <cx:pt idx="263">77.953079178885631</cx:pt>
          <cx:pt idx="264">77.839296187683303</cx:pt>
          <cx:pt idx="265">77.735483870967769</cx:pt>
          <cx:pt idx="266">77.588269794721413</cx:pt>
          <cx:pt idx="267">77.490322580645184</cx:pt>
          <cx:pt idx="268">77.340175953079196</cx:pt>
          <cx:pt idx="269">77.074486803519065</cx:pt>
          <cx:pt idx="270">76.956598240469205</cx:pt>
          <cx:pt idx="271">76.948973607038127</cx:pt>
          <cx:pt idx="272">76.834017595307913</cx:pt>
          <cx:pt idx="273">76.733137829911996</cx:pt>
          <cx:pt idx="274">76.699120234604081</cx:pt>
          <cx:pt idx="275">76.647507331378279</cx:pt>
          <cx:pt idx="276">76.583577712609952</cx:pt>
          <cx:pt idx="277">76.320821114369494</cx:pt>
          <cx:pt idx="278">76.22346041055718</cx:pt>
          <cx:pt idx="279">76.022873900293249</cx:pt>
          <cx:pt idx="280">75.860997067448679</cx:pt>
          <cx:pt idx="281">75.675659824046917</cx:pt>
          <cx:pt idx="282">75.713196480938421</cx:pt>
          <cx:pt idx="283">75.51260997067449</cx:pt>
          <cx:pt idx="284">75.374780058651027</cx:pt>
          <cx:pt idx="285">75.341935483870969</cx:pt>
          <cx:pt idx="286">75.244574780058642</cx:pt>
          <cx:pt idx="287">75.147214076246328</cx:pt>
          <cx:pt idx="288">75.2457478005865</cx:pt>
          <cx:pt idx="289">75.194721407624641</cx:pt>
          <cx:pt idx="290">75.251612903225819</cx:pt>
          <cx:pt idx="291">75.364222873900303</cx:pt>
          <cx:pt idx="292">75.524926686217015</cx:pt>
          <cx:pt idx="293">75.401759530791793</cx:pt>
          <cx:pt idx="294">75.406451612903226</cx:pt>
          <cx:pt idx="295">75.609970674486789</cx:pt>
          <cx:pt idx="296">75.59999999999998</cx:pt>
          <cx:pt idx="297">75.604105571847484</cx:pt>
          <cx:pt idx="298">75.787096774193543</cx:pt>
          <cx:pt idx="299">75.987096774193546</cx:pt>
          <cx:pt idx="300">76.007038123167163</cx:pt>
          <cx:pt idx="301">76.005865102639305</cx:pt>
          <cx:pt idx="302">75.873900293255133</cx:pt>
          <cx:pt idx="303">76.017595307917887</cx:pt>
          <cx:pt idx="304">76.026392961876851</cx:pt>
          <cx:pt idx="305">76.026392961876837</cx:pt>
          <cx:pt idx="306">75.985923753665702</cx:pt>
          <cx:pt idx="307">75.814662756598267</cx:pt>
          <cx:pt idx="308">75.980645161290326</cx:pt>
          <cx:pt idx="309">76.045747800586511</cx:pt>
          <cx:pt idx="310">76.158944281524924</cx:pt>
          <cx:pt idx="311">76.101466275659831</cx:pt>
          <cx:pt idx="312">76.14897360703813</cx:pt>
          <cx:pt idx="313">76.001173020527858</cx:pt>
          <cx:pt idx="314">76.212316715542514</cx:pt>
          <cx:pt idx="315">76.241642228738982</cx:pt>
          <cx:pt idx="316">76.148387096774172</cx:pt>
          <cx:pt idx="317">76.134310850439874</cx:pt>
          <cx:pt idx="318">76.117302052785917</cx:pt>
          <cx:pt idx="319">76.121994134897349</cx:pt>
          <cx:pt idx="320">76.288563049853366</cx:pt>
          <cx:pt idx="321">76.338416422287381</cx:pt>
          <cx:pt idx="322">76.293841642228728</cx:pt>
          <cx:pt idx="323">76.263929618768302</cx:pt>
          <cx:pt idx="324">76.307917888563054</cx:pt>
          <cx:pt idx="325">76.264516129032273</cx:pt>
          <cx:pt idx="326">76.171260997067449</cx:pt>
          <cx:pt idx="327">76.233431085044032</cx:pt>
          <cx:pt idx="328">76.386510263929637</cx:pt>
          <cx:pt idx="329">76.394134897360729</cx:pt>
          <cx:pt idx="330">76.21114369501467</cx:pt>
          <cx:pt idx="331">76.293255131964813</cx:pt>
          <cx:pt idx="332">76.261583577712614</cx:pt>
          <cx:pt idx="333">76.287390029325522</cx:pt>
          <cx:pt idx="334">76.239882697947195</cx:pt>
          <cx:pt idx="335">76.262756598240443</cx:pt>
          <cx:pt idx="336">76.119648093841633</cx:pt>
          <cx:pt idx="337">76.156011730205265</cx:pt>
          <cx:pt idx="338">76.226979472140741</cx:pt>
          <cx:pt idx="339">76.260997067448685</cx:pt>
          <cx:pt idx="340">76.231085043988259</cx:pt>
          <cx:pt idx="341">76.29208211143694</cx:pt>
          <cx:pt idx="342">76.448093841642233</cx:pt>
          <cx:pt idx="343">76.531378299120234</cx:pt>
          <cx:pt idx="344">76.620527859237527</cx:pt>
          <cx:pt idx="345">76.457478005865099</cx:pt>
          <cx:pt idx="346">76.591788856304973</cx:pt>
          <cx:pt idx="347">76.698533724340166</cx:pt>
          <cx:pt idx="348">76.770674486803514</cx:pt>
          <cx:pt idx="349">76.827565982404678</cx:pt>
          <cx:pt idx="350">76.879178885630495</cx:pt>
          <cx:pt idx="351">76.758357771261004</cx:pt>
          <cx:pt idx="352">76.718475073313769</cx:pt>
          <cx:pt idx="353">76.749560117302067</cx:pt>
          <cx:pt idx="354">76.713196480938407</cx:pt>
          <cx:pt idx="355">76.700879765395882</cx:pt>
          <cx:pt idx="356">76.832258064516125</cx:pt>
          <cx:pt idx="357">76.750733137829926</cx:pt>
          <cx:pt idx="358">76.64926686217008</cx:pt>
          <cx:pt idx="359">76.50615835777127</cx:pt>
          <cx:pt idx="360">76.425219941348985</cx:pt>
          <cx:pt idx="361">76.386510263929637</cx:pt>
          <cx:pt idx="362">76.290909090909111</cx:pt>
          <cx:pt idx="363">76.334897360703835</cx:pt>
          <cx:pt idx="364">76.472140762463368</cx:pt>
          <cx:pt idx="365">76.306158357771281</cx:pt>
          <cx:pt idx="366">76.379472140762488</cx:pt>
          <cx:pt idx="367">76.397653958944304</cx:pt>
          <cx:pt idx="368">76.314956011730231</cx:pt>
          <cx:pt idx="369">76.350733137829934</cx:pt>
          <cx:pt idx="370">76.219354838709663</cx:pt>
          <cx:pt idx="371">76.145454545454541</cx:pt>
          <cx:pt idx="372">76.131964809384158</cx:pt>
          <cx:pt idx="373">75.977126099706737</cx:pt>
          <cx:pt idx="374">75.857478005865119</cx:pt>
          <cx:pt idx="375">75.828739002932565</cx:pt>
          <cx:pt idx="376">75.77888563049855</cx:pt>
          <cx:pt idx="377">75.767741935483869</cx:pt>
          <cx:pt idx="378">75.683870967741925</cx:pt>
          <cx:pt idx="379">75.729032258064507</cx:pt>
          <cx:pt idx="380">75.754252199413472</cx:pt>
          <cx:pt idx="381">75.72023460410557</cx:pt>
          <cx:pt idx="382">75.715542521994124</cx:pt>
          <cx:pt idx="383">75.744281524926677</cx:pt>
          <cx:pt idx="384">75.750733137829897</cx:pt>
          <cx:pt idx="385">75.799999999999997</cx:pt>
          <cx:pt idx="386">75.793548387096777</cx:pt>
          <cx:pt idx="387">75.663343108504378</cx:pt>
          <cx:pt idx="388">75.714369501466265</cx:pt>
          <cx:pt idx="389">75.806451612903231</cx:pt>
          <cx:pt idx="390">75.806451612903231</cx:pt>
          <cx:pt idx="391">75.728445747800563</cx:pt>
          <cx:pt idx="392">75.853372434017587</cx:pt>
          <cx:pt idx="393">75.991788856304979</cx:pt>
          <cx:pt idx="394">76.052199413489703</cx:pt>
          <cx:pt idx="395">75.99061583577712</cx:pt>
          <cx:pt idx="396">76.005278592375348</cx:pt>
          <cx:pt idx="397">75.980058651026383</cx:pt>
          <cx:pt idx="398">76.109677419354824</cx:pt>
          <cx:pt idx="399">76.008211143694993</cx:pt>
          <cx:pt idx="400">76.120821114369477</cx:pt>
          <cx:pt idx="401">76.058064516129022</cx:pt>
          <cx:pt idx="402">76.085043988269774</cx:pt>
          <cx:pt idx="403">76.083284457477987</cx:pt>
          <cx:pt idx="404">76.25102639296189</cx:pt>
          <cx:pt idx="405">76.251612903225819</cx:pt>
          <cx:pt idx="406">76.198826979472145</cx:pt>
          <cx:pt idx="407">76.215835777126102</cx:pt>
          <cx:pt idx="408">76.137243401759548</cx:pt>
          <cx:pt idx="409">76.27331378299121</cx:pt>
          <cx:pt idx="410">76.170674486803506</cx:pt>
          <cx:pt idx="411">76.209970674486812</cx:pt>
          <cx:pt idx="412">76.278592375366557</cx:pt>
          <cx:pt idx="413">76.310263929618756</cx:pt>
          <cx:pt idx="414">76.156598240469208</cx:pt>
          <cx:pt idx="415">76.106744868035193</cx:pt>
          <cx:pt idx="416">75.972434017595333</cx:pt>
          <cx:pt idx="417">75.978885630498553</cx:pt>
          <cx:pt idx="418">76.015249266862185</cx:pt>
          <cx:pt idx="419">76.13958944281525</cx:pt>
          <cx:pt idx="420">76.018181818181816</cx:pt>
          <cx:pt idx="421">76.212316715542514</cx:pt>
          <cx:pt idx="422">76.255131964809394</cx:pt>
          <cx:pt idx="423">76.143108504398839</cx:pt>
          <cx:pt idx="424">76.061583577712625</cx:pt>
          <cx:pt idx="425">76.045161290322582</cx:pt>
          <cx:pt idx="426">76.029912023460412</cx:pt>
          <cx:pt idx="427">76.211730205278585</cx:pt>
          <cx:pt idx="428">76.268621700879763</cx:pt>
          <cx:pt idx="429">76.213489736070372</cx:pt>
          <cx:pt idx="430">76.373607038123154</cx:pt>
          <cx:pt idx="431">76.350146627565991</cx:pt>
          <cx:pt idx="432">76.519648093841639</cx:pt>
          <cx:pt idx="433">76.546627565982419</cx:pt>
          <cx:pt idx="434">76.468035190615851</cx:pt>
          <cx:pt idx="435">76.310263929618799</cx:pt>
          <cx:pt idx="436">76.485630498533752</cx:pt>
          <cx:pt idx="437">76.505571847507355</cx:pt>
          <cx:pt idx="438">76.503812316715567</cx:pt>
          <cx:pt idx="439">76.448680351906162</cx:pt>
          <cx:pt idx="440">76.383577712609977</cx:pt>
          <cx:pt idx="441">76.341935483870984</cx:pt>
          <cx:pt idx="442">76.344868035190629</cx:pt>
          <cx:pt idx="443">76.171260997067449</cx:pt>
          <cx:pt idx="444">76.269208211143706</cx:pt>
          <cx:pt idx="445">76.401759530791807</cx:pt>
          <cx:pt idx="446">76.42815249266863</cx:pt>
          <cx:pt idx="447">76.519648093841639</cx:pt>
          <cx:pt idx="448">76.548973607038107</cx:pt>
          <cx:pt idx="449">76.665689149560095</cx:pt>
          <cx:pt idx="450">76.639296187683257</cx:pt>
          <cx:pt idx="451">76.837536656891501</cx:pt>
          <cx:pt idx="452">76.80117302052787</cx:pt>
          <cx:pt idx="453">76.87565982404692</cx:pt>
          <cx:pt idx="454">77.032844574780057</cx:pt>
          <cx:pt idx="455">76.97536656891495</cx:pt>
          <cx:pt idx="456">77.082697947214072</cx:pt>
          <cx:pt idx="457">77.008211143695007</cx:pt>
          <cx:pt idx="458">76.843401759530792</cx:pt>
          <cx:pt idx="459">76.686803519061584</cx:pt>
          <cx:pt idx="460">76.604692082111455</cx:pt>
          <cx:pt idx="461">76.436950146627581</cx:pt>
          <cx:pt idx="462">76.392375366568928</cx:pt>
          <cx:pt idx="463">76.418181818181822</cx:pt>
          <cx:pt idx="464">76.37536656891497</cx:pt>
          <cx:pt idx="465">76.292668621700884</cx:pt>
          <cx:pt idx="466">76.245161290322613</cx:pt>
          <cx:pt idx="467">76.022287390029334</cx:pt>
          <cx:pt idx="468">76.080351906158384</cx:pt>
          <cx:pt idx="469">76.263929618768344</cx:pt>
          <cx:pt idx="470">76.452199413489737</cx:pt>
          <cx:pt idx="471">76.418181818181807</cx:pt>
          <cx:pt idx="472">76.482697947214049</cx:pt>
          <cx:pt idx="473">76.434017595307907</cx:pt>
          <cx:pt idx="474">76.480938416422291</cx:pt>
          <cx:pt idx="475">76.432258064516148</cx:pt>
          <cx:pt idx="476">76.378885630498544</cx:pt>
          <cx:pt idx="477">76.2950146627566</cx:pt>
          <cx:pt idx="478">76.237536656891479</cx:pt>
          <cx:pt idx="479">76.200586510263918</cx:pt>
          <cx:pt idx="480">76.087390029325505</cx:pt>
          <cx:pt idx="481">75.990615835777135</cx:pt>
          <cx:pt idx="482">75.917302052785914</cx:pt>
          <cx:pt idx="483">75.899706744868027</cx:pt>
          <cx:pt idx="484">75.799999999999983</cx:pt>
          <cx:pt idx="485">75.669794721407598</cx:pt>
          <cx:pt idx="486">75.821700879765388</cx:pt>
          <cx:pt idx="487">75.661583577712605</cx:pt>
          <cx:pt idx="488">75.72727272727272</cx:pt>
          <cx:pt idx="489">75.875073313782991</cx:pt>
          <cx:pt idx="490">75.834604105571856</cx:pt>
          <cx:pt idx="491">75.784750733137841</cx:pt>
          <cx:pt idx="492">75.926686217008807</cx:pt>
          <cx:pt idx="493">75.864516129032268</cx:pt>
          <cx:pt idx="494">75.785923753665685</cx:pt>
          <cx:pt idx="495">75.771847507331373</cx:pt>
          <cx:pt idx="496">75.837536656891487</cx:pt>
          <cx:pt idx="497">75.863929618768324</cx:pt>
          <cx:pt idx="498">75.887390029325502</cx:pt>
          <cx:pt idx="499">75.853958944281516</cx:pt>
          <cx:pt idx="500">75.832258064516125</cx:pt>
          <cx:pt idx="501">75.826392961876834</cx:pt>
          <cx:pt idx="502">75.824046920821104</cx:pt>
          <cx:pt idx="503">75.710850439882677</cx:pt>
          <cx:pt idx="504">75.825806451612905</cx:pt>
          <cx:pt idx="505">75.883284457477998</cx:pt>
          <cx:pt idx="506">75.919061583577701</cx:pt>
          <cx:pt idx="507">75.958357771260992</cx:pt>
          <cx:pt idx="508">75.890909090909076</cx:pt>
          <cx:pt idx="509">75.992961876832837</cx:pt>
          <cx:pt idx="510">76.156598240469194</cx:pt>
          <cx:pt idx="511">76.315542521994132</cx:pt>
          <cx:pt idx="512">76.395894428152488</cx:pt>
          <cx:pt idx="513">76.330791788856317</cx:pt>
          <cx:pt idx="514">76.291495601173011</cx:pt>
          <cx:pt idx="515">76.353665689149565</cx:pt>
          <cx:pt idx="516">76.519061583577709</cx:pt>
          <cx:pt idx="517">76.560703812316703</cx:pt>
          <cx:pt idx="518">76.626979472140746</cx:pt>
          <cx:pt idx="519">76.726686217008776</cx:pt>
          <cx:pt idx="520">76.629912023460406</cx:pt>
          <cx:pt idx="521">76.710850439882691</cx:pt>
          <cx:pt idx="522">76.870381231671573</cx:pt>
          <cx:pt idx="523">76.812316715542536</cx:pt>
          <cx:pt idx="524">76.74780058651028</cx:pt>
          <cx:pt idx="525">76.736656891495599</cx:pt>
          <cx:pt idx="526">76.85630498533726</cx:pt>
          <cx:pt idx="527">76.844574780058664</cx:pt>
          <cx:pt idx="528">77.008211143695021</cx:pt>
          <cx:pt idx="529">77.195894428152485</cx:pt>
          <cx:pt idx="530">77.139002932551307</cx:pt>
          <cx:pt idx="531">77.087976539589434</cx:pt>
          <cx:pt idx="532">77.075659824046909</cx:pt>
          <cx:pt idx="533">77.189442815249251</cx:pt>
          <cx:pt idx="534">77.412316715542516</cx:pt>
          <cx:pt idx="535">77.330791788856288</cx:pt>
          <cx:pt idx="536">77.393548387096757</cx:pt>
          <cx:pt idx="537">77.216422287390017</cx:pt>
          <cx:pt idx="538">77.117302052785931</cx:pt>
          <cx:pt idx="539">77.277419354838727</cx:pt>
          <cx:pt idx="540">77.262170087976543</cx:pt>
          <cx:pt idx="541">77.036950146627575</cx:pt>
          <cx:pt idx="542">76.851612903225828</cx:pt>
          <cx:pt idx="543">76.901466275659843</cx:pt>
          <cx:pt idx="544">76.831671554252225</cx:pt>
          <cx:pt idx="545">76.826392961876849</cx:pt>
          <cx:pt idx="546">76.750146627565996</cx:pt>
          <cx:pt idx="547">76.750146627565968</cx:pt>
          <cx:pt idx="548">76.66510263929618</cx:pt>
          <cx:pt idx="549">76.744868035190606</cx:pt>
          <cx:pt idx="550">76.716715542521996</cx:pt>
          <cx:pt idx="551">76.767741935483883</cx:pt>
          <cx:pt idx="552">76.758944281524933</cx:pt>
          <cx:pt idx="553">76.634604105571853</cx:pt>
          <cx:pt idx="554">76.726686217008805</cx:pt>
          <cx:pt idx="555">76.753079178885642</cx:pt>
          <cx:pt idx="556">76.842228739002948</cx:pt>
          <cx:pt idx="557">76.850439882697955</cx:pt>
          <cx:pt idx="558">76.970674486803517</cx:pt>
          <cx:pt idx="559">76.767155425219954</cx:pt>
          <cx:pt idx="560">76.771847507331387</cx:pt>
          <cx:pt idx="561">76.945454545454567</cx:pt>
          <cx:pt idx="562">76.815249266862182</cx:pt>
          <cx:pt idx="563">76.632258064516137</cx:pt>
          <cx:pt idx="564">76.56187683284459</cx:pt>
          <cx:pt idx="565">76.417595307917907</cx:pt>
          <cx:pt idx="566">76.392375366568942</cx:pt>
          <cx:pt idx="567">76.295014662756614</cx:pt>
          <cx:pt idx="568">76.296187683284472</cx:pt>
          <cx:pt idx="569">76.377126099706757</cx:pt>
          <cx:pt idx="570">76.354838709677438</cx:pt>
          <cx:pt idx="571">76.201173020527875</cx:pt>
          <cx:pt idx="572">76.351906158357792</cx:pt>
          <cx:pt idx="573">76.548973607038135</cx:pt>
          <cx:pt idx="574">76.333137829912033</cx:pt>
          <cx:pt idx="575">76.374780058651027</cx:pt>
          <cx:pt idx="576">76.350733137829906</cx:pt>
          <cx:pt idx="577">76.454545454545453</cx:pt>
          <cx:pt idx="578">76.398240469208204</cx:pt>
          <cx:pt idx="579">76.377126099706743</cx:pt>
          <cx:pt idx="580">76.229325513196471</cx:pt>
          <cx:pt idx="581">76.1642228739003</cx:pt>
          <cx:pt idx="582">76.080351906158356</cx:pt>
          <cx:pt idx="583">76.103812316715548</cx:pt>
          <cx:pt idx="584">76.066862170087973</cx:pt>
          <cx:pt idx="585">75.950146627565999</cx:pt>
          <cx:pt idx="586">75.998240469208227</cx:pt>
          <cx:pt idx="587">75.872727272727303</cx:pt>
          <cx:pt idx="588">75.715542521994138</cx:pt>
          <cx:pt idx="589">75.735483870967741</cx:pt>
          <cx:pt idx="590">75.890909090909091</cx:pt>
          <cx:pt idx="591">75.771847507331373</cx:pt>
          <cx:pt idx="592">75.680938416422265</cx:pt>
          <cx:pt idx="593">75.751906158357741</cx:pt>
          <cx:pt idx="594">75.91319648093841</cx:pt>
          <cx:pt idx="595">76.01935483870966</cx:pt>
          <cx:pt idx="596">76.154252199413477</cx:pt>
          <cx:pt idx="597">76.278592375366571</cx:pt>
          <cx:pt idx="598">76.384750733137821</cx:pt>
          <cx:pt idx="599">76.51847507331378</cx:pt>
          <cx:pt idx="600">76.449853372434021</cx:pt>
          <cx:pt idx="601">76.37888563049853</cx:pt>
          <cx:pt idx="602">76.629325513196477</cx:pt>
          <cx:pt idx="603">76.672727272727258</cx:pt>
          <cx:pt idx="604">76.685043988269783</cx:pt>
          <cx:pt idx="605">76.937243401759531</cx:pt>
          <cx:pt idx="606">77.114369501466285</cx:pt>
          <cx:pt idx="607">77.196480938416414</cx:pt>
          <cx:pt idx="608">77.233431085043975</cx:pt>
          <cx:pt idx="609">77.282111436950146</cx:pt>
          <cx:pt idx="610">77.451612903225794</cx:pt>
          <cx:pt idx="611">77.557771260997058</cx:pt>
          <cx:pt idx="612">77.635190615835782</cx:pt>
          <cx:pt idx="613">77.72668621700879</cx:pt>
          <cx:pt idx="614">77.814662756598239</cx:pt>
          <cx:pt idx="615">77.928445747800581</cx:pt>
          <cx:pt idx="616">77.949560117302056</cx:pt>
          <cx:pt idx="617">77.99120234604105</cx:pt>
          <cx:pt idx="618">78.154838709677421</cx:pt>
          <cx:pt idx="619">78.387683284457481</cx:pt>
          <cx:pt idx="620">78.329618768328444</cx:pt>
          <cx:pt idx="621">78.458064516129028</cx:pt>
          <cx:pt idx="622">78.596480938416406</cx:pt>
          <cx:pt idx="623">78.633431085043981</cx:pt>
          <cx:pt idx="624">78.831085043988253</cx:pt>
          <cx:pt idx="625">78.821114369501458</cx:pt>
          <cx:pt idx="626">78.826979472140764</cx:pt>
          <cx:pt idx="627">78.858651026392963</cx:pt>
          <cx:pt idx="628">78.840469208211161</cx:pt>
          <cx:pt idx="629">78.897947214076268</cx:pt>
          <cx:pt idx="630">78.925513196480964</cx:pt>
          <cx:pt idx="631">79.043401759530809</cx:pt>
          <cx:pt idx="632">79.129032258064527</cx:pt>
          <cx:pt idx="633">79.116715542522002</cx:pt>
          <cx:pt idx="634">79.154252199413492</cx:pt>
          <cx:pt idx="635">79.04398826979471</cx:pt>
          <cx:pt idx="636">79.035777126099703</cx:pt>
          <cx:pt idx="637">79.084457478005874</cx:pt>
          <cx:pt idx="638">79.108504398826994</cx:pt>
          <cx:pt idx="639">79.035777126099731</cx:pt>
          <cx:pt idx="640">79.082111436950171</cx:pt>
          <cx:pt idx="641">79.086217008797675</cx:pt>
          <cx:pt idx="642">79.177712609970669</cx:pt>
          <cx:pt idx="643">79.147800586510257</cx:pt>
          <cx:pt idx="644">79.19530791788857</cx:pt>
          <cx:pt idx="645">79.097947214076228</cx:pt>
          <cx:pt idx="646">78.965395894428156</cx:pt>
          <cx:pt idx="647">78.982991202346042</cx:pt>
          <cx:pt idx="648">79.034604105571859</cx:pt>
          <cx:pt idx="649">78.831671554252196</cx:pt>
          <cx:pt idx="650">78.667448680351896</cx:pt>
          <cx:pt idx="651">78.537829912023454</cx:pt>
          <cx:pt idx="652">78.429325513196488</cx:pt>
          <cx:pt idx="653">78.312609970674501</cx:pt>
          <cx:pt idx="654">78.271554252199437</cx:pt>
          <cx:pt idx="655">78.018181818181816</cx:pt>
          <cx:pt idx="656">78.04633431085044</cx:pt>
          <cx:pt idx="657">77.982404692082113</cx:pt>
          <cx:pt idx="658">77.968328445747801</cx:pt>
          <cx:pt idx="659">77.883870967741927</cx:pt>
          <cx:pt idx="660">77.676246334310861</cx:pt>
          <cx:pt idx="661">77.626392961876832</cx:pt>
          <cx:pt idx="662">77.6392961876833</cx:pt>
          <cx:pt idx="663">77.485630498533752</cx:pt>
          <cx:pt idx="664">77.421114369501467</cx:pt>
          <cx:pt idx="665">77.234604105571847</cx:pt>
          <cx:pt idx="666">77.123167155425222</cx:pt>
          <cx:pt idx="667">76.923167155425219</cx:pt>
          <cx:pt idx="668">76.649266862170094</cx:pt>
          <cx:pt idx="669">76.679178885630506</cx:pt>
          <cx:pt idx="670">76.752492668621713</cx:pt>
          <cx:pt idx="671">76.56129032258066</cx:pt>
          <cx:pt idx="672">76.302639296187678</cx:pt>
          <cx:pt idx="673">76.276246334310855</cx:pt>
          <cx:pt idx="674">76.148973607038116</cx:pt>
          <cx:pt idx="675">76.167155425219946</cx:pt>
          <cx:pt idx="676">76.22111436950145</cx:pt>
          <cx:pt idx="677">76.292082111436955</cx:pt>
          <cx:pt idx="678">76.30439882697948</cx:pt>
          <cx:pt idx="679">76.324926686217012</cx:pt>
          <cx:pt idx="680">76.464516129032262</cx:pt>
          <cx:pt idx="681">76.529618768328447</cx:pt>
          <cx:pt idx="682">76.611143695014661</cx:pt>
          <cx:pt idx="683">76.627565982404704</cx:pt>
          <cx:pt idx="684">76.643401759530803</cx:pt>
          <cx:pt idx="685">76.537829912023469</cx:pt>
          <cx:pt idx="686">76.615249266862165</cx:pt>
          <cx:pt idx="687">76.568328445747824</cx:pt>
          <cx:pt idx="688">76.523167155425227</cx:pt>
          <cx:pt idx="689">76.469794721407638</cx:pt>
          <cx:pt idx="690">76.568328445747809</cx:pt>
          <cx:pt idx="691">76.523167155425227</cx:pt>
          <cx:pt idx="692">76.410557184750743</cx:pt>
          <cx:pt idx="693">76.384164222873906</cx:pt>
          <cx:pt idx="694">76.419354838709666</cx:pt>
          <cx:pt idx="695">76.360117302052785</cx:pt>
          <cx:pt idx="696">76.322580645161281</cx:pt>
          <cx:pt idx="697">76.412903225806431</cx:pt>
          <cx:pt idx="698">76.412316715542516</cx:pt>
          <cx:pt idx="699">76.481524926686205</cx:pt>
          <cx:pt idx="700">76.33900293255131</cx:pt>
          <cx:pt idx="701">76.327859237536671</cx:pt>
          <cx:pt idx="702">76.387683284457481</cx:pt>
          <cx:pt idx="703">76.478592375366574</cx:pt>
          <cx:pt idx="704">76.461583577712616</cx:pt>
          <cx:pt idx="705">76.530205278592376</cx:pt>
          <cx:pt idx="706">76.469208211143695</cx:pt>
          <cx:pt idx="707">76.488563049853383</cx:pt>
          <cx:pt idx="708">76.51495601173022</cx:pt>
          <cx:pt idx="709">76.570087976539583</cx:pt>
          <cx:pt idx="710">76.49970674486805</cx:pt>
          <cx:pt idx="711">76.46041055718473</cx:pt>
          <cx:pt idx="712">76.458651026392971</cx:pt>
          <cx:pt idx="713">76.517302052785951</cx:pt>
          <cx:pt idx="714">76.534897360703823</cx:pt>
          <cx:pt idx="715">76.405278592375382</cx:pt>
          <cx:pt idx="716">76.533137829912022</cx:pt>
          <cx:pt idx="717">76.538416422287398</cx:pt>
          <cx:pt idx="718">76.50322580645161</cx:pt>
          <cx:pt idx="719">76.548973607038121</cx:pt>
          <cx:pt idx="720">76.591202346041058</cx:pt>
          <cx:pt idx="721">76.609970674486803</cx:pt>
          <cx:pt idx="722">76.823460410557189</cx:pt>
          <cx:pt idx="723">76.835777126099714</cx:pt>
          <cx:pt idx="724">76.928445747800595</cx:pt>
          <cx:pt idx="725">77.082697947214086</cx:pt>
          <cx:pt idx="726">76.964809384164241</cx:pt>
          <cx:pt idx="727">76.960117302052794</cx:pt>
          <cx:pt idx="728">76.977126099706737</cx:pt>
          <cx:pt idx="729">76.953079178885631</cx:pt>
          <cx:pt idx="730">77.09032258064515</cx:pt>
          <cx:pt idx="731">77.003519061583575</cx:pt>
          <cx:pt idx="732">77.032844574780043</cx:pt>
          <cx:pt idx="733">77.048680351906143</cx:pt>
          <cx:pt idx="734">77.097947214076228</cx:pt>
          <cx:pt idx="735">76.976539589442808</cx:pt>
          <cx:pt idx="736">77.051612903225816</cx:pt>
          <cx:pt idx="737">77.087976539589434</cx:pt>
          <cx:pt idx="738">77.049853372434001</cx:pt>
          <cx:pt idx="739">77.051612903225788</cx:pt>
          <cx:pt idx="740">77.015835777126085</cx:pt>
          <cx:pt idx="741">77.074486803519051</cx:pt>
          <cx:pt idx="742">76.968328445747787</cx:pt>
          <cx:pt idx="743">76.912609970674467</cx:pt>
          <cx:pt idx="744">76.858651026392948</cx:pt>
          <cx:pt idx="745">76.73958944281523</cx:pt>
          <cx:pt idx="746">76.865689149560097</cx:pt>
          <cx:pt idx="747">76.741348973607018</cx:pt>
          <cx:pt idx="748">76.76187683284455</cx:pt>
          <cx:pt idx="749">76.717302052785925</cx:pt>
          <cx:pt idx="750">76.719648093841641</cx:pt>
          <cx:pt idx="751">76.615835777126108</cx:pt>
          <cx:pt idx="752">76.568914956011739</cx:pt>
          <cx:pt idx="753">76.554252199413483</cx:pt>
          <cx:pt idx="754">76.654545454545456</cx:pt>
          <cx:pt idx="755">76.441642228739013</cx:pt>
          <cx:pt idx="756">76.312609970674487</cx:pt>
          <cx:pt idx="757">76.331378299120246</cx:pt>
          <cx:pt idx="758">76.353665689149565</cx:pt>
          <cx:pt idx="759">76.418768328445765</cx:pt>
          <cx:pt idx="760">76.51495601173022</cx:pt>
          <cx:pt idx="761">76.434017595307921</cx:pt>
          <cx:pt idx="762">76.531964809384178</cx:pt>
          <cx:pt idx="763">76.350146627565991</cx:pt>
          <cx:pt idx="764">76.377712609970672</cx:pt>
          <cx:pt idx="765">76.392375366568913</cx:pt>
          <cx:pt idx="766">76.356011730205282</cx:pt>
          <cx:pt idx="767">76.297947214076245</cx:pt>
          <cx:pt idx="768">76.268621700879777</cx:pt>
          <cx:pt idx="769">76.165982404692087</cx:pt>
          <cx:pt idx="770">76.2299120234604</cx:pt>
          <cx:pt idx="771">76.140175953079179</cx:pt>
          <cx:pt idx="772">76.01290322580644</cx:pt>
          <cx:pt idx="773">76.123167155425207</cx:pt>
          <cx:pt idx="774">76.176539589442811</cx:pt>
          <cx:pt idx="775">76.103225806451618</cx:pt>
          <cx:pt idx="776">76.123167155425236</cx:pt>
          <cx:pt idx="777">76.154838709677435</cx:pt>
          <cx:pt idx="778">76.246920821114387</cx:pt>
          <cx:pt idx="779">76.286217008797678</cx:pt>
          <cx:pt idx="780">76.238709677419351</cx:pt>
          <cx:pt idx="781">76.247507331378316</cx:pt>
          <cx:pt idx="782">76.319061583577721</cx:pt>
          <cx:pt idx="783">76.216422287390031</cx:pt>
          <cx:pt idx="784">76.015249266862185</cx:pt>
          <cx:pt idx="785">76.075073313783008</cx:pt>
          <cx:pt idx="786">76.223460410557223</cx:pt>
          <cx:pt idx="787">76.289149560117323</cx:pt>
          <cx:pt idx="788">76.265102639296202</cx:pt>
          <cx:pt idx="789">76.275659824046926</cx:pt>
          <cx:pt idx="790">76.312023460410558</cx:pt>
          <cx:pt idx="791">76.247507331378287</cx:pt>
          <cx:pt idx="792">76.23929618768328</cx:pt>
          <cx:pt idx="793">76.278592375366586</cx:pt>
          <cx:pt idx="794">76.292082111436955</cx:pt>
          <cx:pt idx="795">76.320821114369508</cx:pt>
          <cx:pt idx="796">76.191202346041052</cx:pt>
          <cx:pt idx="797">76.204105571847506</cx:pt>
          <cx:pt idx="798">76.22346041055718</cx:pt>
          <cx:pt idx="799">76.109677419354824</cx:pt>
          <cx:pt idx="800">76.240469208211124</cx:pt>
          <cx:pt idx="801">76.074486803519036</cx:pt>
          <cx:pt idx="802">76.195894428152471</cx:pt>
          <cx:pt idx="803">76.194721407624613</cx:pt>
          <cx:pt idx="804">76.131964809384158</cx:pt>
          <cx:pt idx="805">76.067448680351916</cx:pt>
          <cx:pt idx="806">76.15894428152491</cx:pt>
          <cx:pt idx="807">76.217008797653946</cx:pt>
          <cx:pt idx="808">76.082111436950115</cx:pt>
          <cx:pt idx="809">76.029912023460383</cx:pt>
          <cx:pt idx="810">75.99472140762461</cx:pt>
          <cx:pt idx="811">76.17829912023457</cx:pt>
          <cx:pt idx="812">76.157771260997038</cx:pt>
          <cx:pt idx="813">76.049853372434015</cx:pt>
          <cx:pt idx="814">76.189442815249251</cx:pt>
          <cx:pt idx="815">76.191788856304981</cx:pt>
          <cx:pt idx="816">76.122580645161293</cx:pt>
          <cx:pt idx="817">75.964809384164226</cx:pt>
          <cx:pt idx="818">75.849853372434026</cx:pt>
          <cx:pt idx="819">75.919061583577701</cx:pt>
          <cx:pt idx="820">76.033431085043986</cx:pt>
          <cx:pt idx="821">76.01290322580644</cx:pt>
          <cx:pt idx="822">76.107331378299108</cx:pt>
          <cx:pt idx="823">76.140175953079151</cx:pt>
          <cx:pt idx="824">76.028739002932554</cx:pt>
          <cx:pt idx="825">76.031671554252185</cx:pt>
          <cx:pt idx="826">76.022873900293263</cx:pt>
          <cx:pt idx="827">76.147214076246343</cx:pt>
          <cx:pt idx="828">76.206451612903237</cx:pt>
          <cx:pt idx="829">76.143108504398811</cx:pt>
          <cx:pt idx="830">76.180645161290315</cx:pt>
          <cx:pt idx="831">76.133137829912016</cx:pt>
          <cx:pt idx="832">76.218768328445719</cx:pt>
          <cx:pt idx="833">76.050439882697916</cx:pt>
          <cx:pt idx="834">76.018768328445717</cx:pt>
          <cx:pt idx="835">76.093255131964796</cx:pt>
          <cx:pt idx="836">76.000586510263915</cx:pt>
          <cx:pt idx="837">76.073313782991193</cx:pt>
          <cx:pt idx="838">75.914956011730197</cx:pt>
          <cx:pt idx="839">75.961876832844567</cx:pt>
          <cx:pt idx="840">76.113196480938413</cx:pt>
          <cx:pt idx="841">76.089736070381221</cx:pt>
          <cx:pt idx="842">76.049853372434015</cx:pt>
          <cx:pt idx="843">75.988856304985347</cx:pt>
          <cx:pt idx="844">76.01173020527861</cx:pt>
          <cx:pt idx="845">75.902639296187687</cx:pt>
          <cx:pt idx="846">75.922580645161304</cx:pt>
          <cx:pt idx="847">75.970674486803517</cx:pt>
          <cx:pt idx="848">76.109090909090895</cx:pt>
          <cx:pt idx="849">76.246920821114344</cx:pt>
          <cx:pt idx="850">76.327859237536643</cx:pt>
          <cx:pt idx="851">76.333724340175948</cx:pt>
          <cx:pt idx="852">76.346627565982388</cx:pt>
          <cx:pt idx="853">76.269794721407621</cx:pt>
          <cx:pt idx="854">76.320821114369494</cx:pt>
          <cx:pt idx="855">76.315542521994146</cx:pt>
          <cx:pt idx="856">76.482697947214078</cx:pt>
          <cx:pt idx="857">76.378299120234601</cx:pt>
          <cx:pt idx="858">76.304398826979465</cx:pt>
          <cx:pt idx="859">76.381231671554247</cx:pt>
          <cx:pt idx="860">76.52258064516127</cx:pt>
          <cx:pt idx="861">76.484457478005851</cx:pt>
          <cx:pt idx="862">76.550146627565951</cx:pt>
          <cx:pt idx="863">76.55366568914954</cx:pt>
          <cx:pt idx="864">76.523753665689142</cx:pt>
          <cx:pt idx="865">76.712609970674478</cx:pt>
          <cx:pt idx="866">76.751319648093869</cx:pt>
          <cx:pt idx="867">76.909090909090907</cx:pt>
          <cx:pt idx="868">76.923167155425219</cx:pt>
          <cx:pt idx="869">77.009384164222865</cx:pt>
          <cx:pt idx="870">77.101466275659803</cx:pt>
          <cx:pt idx="871">77.049266862170072</cx:pt>
          <cx:pt idx="872">76.995894428152482</cx:pt>
          <cx:pt idx="873">76.994721407624624</cx:pt>
          <cx:pt idx="874">77.038123167155419</cx:pt>
          <cx:pt idx="875">76.998240469208213</cx:pt>
          <cx:pt idx="876">76.990615835777135</cx:pt>
          <cx:pt idx="877">77.025219941348965</cx:pt>
          <cx:pt idx="878">76.946627565982411</cx:pt>
          <cx:pt idx="879">76.905571847507332</cx:pt>
          <cx:pt idx="880">76.953665689149545</cx:pt>
          <cx:pt idx="881">76.858651026392977</cx:pt>
          <cx:pt idx="882">76.770674486803529</cx:pt>
          <cx:pt idx="883">76.723753665689131</cx:pt>
          <cx:pt idx="884">76.843988269794735</cx:pt>
          <cx:pt idx="885">76.690322580645173</cx:pt>
          <cx:pt idx="886">76.844574780058664</cx:pt>
          <cx:pt idx="887">76.7542521994135</cx:pt>
          <cx:pt idx="888">76.789442815249274</cx:pt>
          <cx:pt idx="889">76.892082111436963</cx:pt>
          <cx:pt idx="890">76.836363636363643</cx:pt>
          <cx:pt idx="891">76.645161290322562</cx:pt>
          <cx:pt idx="892">76.714369501466265</cx:pt>
          <cx:pt idx="893">76.720234604105556</cx:pt>
          <cx:pt idx="894">76.658064516129016</cx:pt>
          <cx:pt idx="895">76.714956011730195</cx:pt>
          <cx:pt idx="896">76.60293255131964</cx:pt>
          <cx:pt idx="897">76.572434017595299</cx:pt>
          <cx:pt idx="898">76.601173020527852</cx:pt>
          <cx:pt idx="899">76.414076246334318</cx:pt>
          <cx:pt idx="900">76.37888563049853</cx:pt>
          <cx:pt idx="901">76.337243401759522</cx:pt>
          <cx:pt idx="902">76.256891495601195</cx:pt>
          <cx:pt idx="903">76.416422287390034</cx:pt>
          <cx:pt idx="904">76.357184750733154</cx:pt>
          <cx:pt idx="905">76.452785923753666</cx:pt>
          <cx:pt idx="906">76.455131964809397</cx:pt>
          <cx:pt idx="907">76.399413489736077</cx:pt>
          <cx:pt idx="908">76.515542521994135</cx:pt>
          <cx:pt idx="909">76.446920821114361</cx:pt>
          <cx:pt idx="910">76.433431085043978</cx:pt>
          <cx:pt idx="911">76.244574780058628</cx:pt>
          <cx:pt idx="912">76.306158357771238</cx:pt>
          <cx:pt idx="913">76.405278592375353</cx:pt>
          <cx:pt idx="914">76.311436950146614</cx:pt>
          <cx:pt idx="915">76.331964809384147</cx:pt>
          <cx:pt idx="916">76.389442815249254</cx:pt>
          <cx:pt idx="917">76.242228739002911</cx:pt>
          <cx:pt idx="918">76.243988269794698</cx:pt>
          <cx:pt idx="919">76.165395894428144</cx:pt>
          <cx:pt idx="920">76.039296187683291</cx:pt>
          <cx:pt idx="921">75.967155425219943</cx:pt>
          <cx:pt idx="922">76.143695014662754</cx:pt>
          <cx:pt idx="923">76.135483870967732</cx:pt>
          <cx:pt idx="924">76.012316715542511</cx:pt>
          <cx:pt idx="925">76.113196480938399</cx:pt>
          <cx:pt idx="926">76.265102639296188</cx:pt>
          <cx:pt idx="927">76.273900293255153</cx:pt>
          <cx:pt idx="928">76.30381231671555</cx:pt>
          <cx:pt idx="929">76.141935483870981</cx:pt>
          <cx:pt idx="930">76.202346041055705</cx:pt>
          <cx:pt idx="931">76.264516129032259</cx:pt>
          <cx:pt idx="932">76.187096774193535</cx:pt>
          <cx:pt idx="933">76.136656891495591</cx:pt>
          <cx:pt idx="934">76.022873900293234</cx:pt>
          <cx:pt idx="935">76.062756598240455</cx:pt>
          <cx:pt idx="936">75.853958944281516</cx:pt>
          <cx:pt idx="937">75.876246334310835</cx:pt>
          <cx:pt idx="938">76.035777126099688</cx:pt>
          <cx:pt idx="939">75.96011730205278</cx:pt>
          <cx:pt idx="940">75.99120234604105</cx:pt>
          <cx:pt idx="941">75.956011730205262</cx:pt>
          <cx:pt idx="942">76.021114369501447</cx:pt>
          <cx:pt idx="943">76.055131964809362</cx:pt>
          <cx:pt idx="944">75.987096774193517</cx:pt>
          <cx:pt idx="945">76.049853372433986</cx:pt>
          <cx:pt idx="946">76.058651026392951</cx:pt>
          <cx:pt idx="947">76.017008797653958</cx:pt>
          <cx:pt idx="948">76.094428152492668</cx:pt>
          <cx:pt idx="949">76.144281524926683</cx:pt>
          <cx:pt idx="950">76.311436950146643</cx:pt>
          <cx:pt idx="951">76.32903225806453</cx:pt>
          <cx:pt idx="952">76.415835777126105</cx:pt>
          <cx:pt idx="953">76.390029325513211</cx:pt>
          <cx:pt idx="954">76.297360703812345</cx:pt>
          <cx:pt idx="955">76.444574780058659</cx:pt>
          <cx:pt idx="956">76.368328445747807</cx:pt>
          <cx:pt idx="957">76.17067448680352</cx:pt>
          <cx:pt idx="958">76.228152492668613</cx:pt>
          <cx:pt idx="959">76.242815249266854</cx:pt>
          <cx:pt idx="960">76.241055718475067</cx:pt>
          <cx:pt idx="961">76.375953079178899</cx:pt>
          <cx:pt idx="962">76.270967741935493</cx:pt>
          <cx:pt idx="963">76.408211143695027</cx:pt>
          <cx:pt idx="964">76.527272727272745</cx:pt>
          <cx:pt idx="965">76.572434017595313</cx:pt>
          <cx:pt idx="966">76.466862170087978</cx:pt>
          <cx:pt idx="967">76.460410557184758</cx:pt>
          <cx:pt idx="968">76.593548387096774</cx:pt>
          <cx:pt idx="969">76.509090909090915</cx:pt>
          <cx:pt idx="970">76.554252199413497</cx:pt>
          <cx:pt idx="971">76.690909090909088</cx:pt>
          <cx:pt idx="972">76.703812316715542</cx:pt>
          <cx:pt idx="973">76.679765395894435</cx:pt>
          <cx:pt idx="974">76.738416422287386</cx:pt>
          <cx:pt idx="975">76.7049853372434</cx:pt>
          <cx:pt idx="976">76.662170087976548</cx:pt>
          <cx:pt idx="977">76.5741935483871</cx:pt>
          <cx:pt idx="978">76.591788856304987</cx:pt>
          <cx:pt idx="979">76.675659824046917</cx:pt>
          <cx:pt idx="980">76.675659824046932</cx:pt>
          <cx:pt idx="981">76.602932551319654</cx:pt>
          <cx:pt idx="982">76.562463343108504</cx:pt>
          <cx:pt idx="983">76.453958944281524</cx:pt>
          <cx:pt idx="984">76.399413489736062</cx:pt>
          <cx:pt idx="985">76.460997067448673</cx:pt>
          <cx:pt idx="986">76.292668621700884</cx:pt>
          <cx:pt idx="987">76.340762463343097</cx:pt>
          <cx:pt idx="988">76.517302052785908</cx:pt>
          <cx:pt idx="989">76.476832844574787</cx:pt>
          <cx:pt idx="990">76.287976539589451</cx:pt>
          <cx:pt idx="991">76.493255131964816</cx:pt>
          <cx:pt idx="992">76.354252199413494</cx:pt>
          <cx:pt idx="993">76.478592375366588</cx:pt>
          <cx:pt idx="994">76.458064516129028</cx:pt>
          <cx:pt idx="995">76.358357771260998</cx:pt>
          <cx:pt idx="996">76.243401759530784</cx:pt>
          <cx:pt idx="997">76.300293255131976</cx:pt>
          <cx:pt idx="998">76.429912023460403</cx:pt>
          <cx:pt idx="999">76.343695014662771</cx:pt>
          <cx:pt idx="1000">76.320821114369522</cx:pt>
          <cx:pt idx="1001">76.221114369501464</cx:pt>
          <cx:pt idx="1002">76.235190615835762</cx:pt>
          <cx:pt idx="1003">76.255131964809365</cx:pt>
          <cx:pt idx="1004">76.192375366568896</cx:pt>
          <cx:pt idx="1005">76.139589442815236</cx:pt>
          <cx:pt idx="1006">76.145454545454541</cx:pt>
          <cx:pt idx="1007">76.179472140762456</cx:pt>
          <cx:pt idx="1008">76.278005865102656</cx:pt>
          <cx:pt idx="1009">76.326686217008813</cx:pt>
          <cx:pt idx="1010">76.234604105571847</cx:pt>
          <cx:pt idx="1011">76.253958944281536</cx:pt>
          <cx:pt idx="1012">76.252199413489748</cx:pt>
          <cx:pt idx="1013">76.435777126099694</cx:pt>
          <cx:pt idx="1014">76.599413489736065</cx:pt>
          <cx:pt idx="1015">76.580058651026405</cx:pt>
          <cx:pt idx="1016">76.634604105571853</cx:pt>
          <cx:pt idx="1017">76.695601173020535</cx:pt>
          <cx:pt idx="1018">76.808211143695004</cx:pt>
          <cx:pt idx="1019">76.638123167155413</cx:pt>
          <cx:pt idx="1020">76.545454545454533</cx:pt>
          <cx:pt idx="1021">76.533137829912022</cx:pt>
          <cx:pt idx="1022">76.490909090909085</cx:pt>
          <cx:pt idx="1023">76.579472140762462</cx:pt>
          <cx:pt idx="1024">76.541935483870944</cx:pt>
          <cx:pt idx="1025">76.545454545454533</cx:pt>
          <cx:pt idx="1026">76.511436950146617</cx:pt>
          <cx:pt idx="1027">76.575366568914944</cx:pt>
          <cx:pt idx="1028">76.539589442815242</cx:pt>
          <cx:pt idx="1029">76.543695014662745</cx:pt>
          <cx:pt idx="1030">76.448093841642219</cx:pt>
          <cx:pt idx="1031">76.434017595307921</cx:pt>
          <cx:pt idx="1032">76.400586510263921</cx:pt>
          <cx:pt idx="1033">76.413489736070389</cx:pt>
          <cx:pt idx="1034">76.350146627565991</cx:pt>
          <cx:pt idx="1035">76.45102639296185</cx:pt>
          <cx:pt idx="1036">76.382991202346034</cx:pt>
          <cx:pt idx="1037">76.36363636363636</cx:pt>
          <cx:pt idx="1038">76.339589442815253</cx:pt>
          <cx:pt idx="1039">76.235777126099691</cx:pt>
          <cx:pt idx="1040">76.224633431085024</cx:pt>
          <cx:pt idx="1041">76.306744868035196</cx:pt>
          <cx:pt idx="1042">76.314369501466288</cx:pt>
          <cx:pt idx="1043">76.411143695014673</cx:pt>
          <cx:pt idx="1044">76.321407624633437</cx:pt>
          <cx:pt idx="1045">76.2950146627566</cx:pt>
          <cx:pt idx="1046">76.433431085043992</cx:pt>
          <cx:pt idx="1047">76.46568914956012</cx:pt>
          <cx:pt idx="1048">76.569501466275668</cx:pt>
          <cx:pt idx="1049">76.516129032258064</cx:pt>
          <cx:pt idx="1050">76.645161290322577</cx:pt>
          <cx:pt idx="1051">76.794134897360706</cx:pt>
          <cx:pt idx="1052">77.022287390029319</cx:pt>
          <cx:pt idx="1053">76.964222873900283</cx:pt>
          <cx:pt idx="1054">77.049266862170072</cx:pt>
          <cx:pt idx="1055">77.182404692082088</cx:pt>
          <cx:pt idx="1056">77.219941348973592</cx:pt>
          <cx:pt idx="1057">77.39472140762463</cx:pt>
          <cx:pt idx="1058">77.44105571847507</cx:pt>
          <cx:pt idx="1059">77.615249266862151</cx:pt>
          <cx:pt idx="1060">77.763049853372408</cx:pt>
          <cx:pt idx="1061">77.996480938416411</cx:pt>
          <cx:pt idx="1062">78.048093841642213</cx:pt>
          <cx:pt idx="1063">78.157184750733123</cx:pt>
          <cx:pt idx="1064">78.137829912023449</cx:pt>
          <cx:pt idx="1065">78.236950146627549</cx:pt>
          <cx:pt idx="1066">78.296187683284458</cx:pt>
          <cx:pt idx="1067">78.417595307917878</cx:pt>
          <cx:pt idx="1068">78.602932551319626</cx:pt>
          <cx:pt idx="1069">78.744281524926677</cx:pt>
          <cx:pt idx="1070">78.770674486803529</cx:pt>
          <cx:pt idx="1071">78.812316715542536</cx:pt>
          <cx:pt idx="1072">78.858064516129033</cx:pt>
          <cx:pt idx="1073">78.931964809384155</cx:pt>
          <cx:pt idx="1074">78.835190615835756</cx:pt>
          <cx:pt idx="1075">78.917888563049843</cx:pt>
          <cx:pt idx="1076">78.907331378299105</cx:pt>
          <cx:pt idx="1077">78.871554252199402</cx:pt>
          <cx:pt idx="1078">78.992375366568908</cx:pt>
          <cx:pt idx="1079">78.937829912023446</cx:pt>
          <cx:pt idx="1080">78.995307917888567</cx:pt>
          <cx:pt idx="1081">79.068035190615817</cx:pt>
          <cx:pt idx="1082">79.077419354838696</cx:pt>
          <cx:pt idx="1083">78.945454545454538</cx:pt>
          <cx:pt idx="1084">78.990029325513191</cx:pt>
          <cx:pt idx="1085">78.861583577712608</cx:pt>
          <cx:pt idx="1086">78.758357771260975</cx:pt>
          <cx:pt idx="1087">78.672727272727244</cx:pt>
          <cx:pt idx="1088">78.520821114369483</cx:pt>
          <cx:pt idx="1089">78.404692082111424</cx:pt>
          <cx:pt idx="1090">78.22756598240467</cx:pt>
          <cx:pt idx="1091">77.985923753665688</cx:pt>
          <cx:pt idx="1092">77.736656891495585</cx:pt>
          <cx:pt idx="1093">77.735483870967727</cx:pt>
          <cx:pt idx="1094">77.647507331378293</cx:pt>
          <cx:pt idx="1095">77.466862170087978</cx:pt>
          <cx:pt idx="1096">77.364222873900303</cx:pt>
          <cx:pt idx="1097">77.199999999999989</cx:pt>
          <cx:pt idx="1098">77.140762463343094</cx:pt>
          <cx:pt idx="1099">77.003519061583575</cx:pt>
          <cx:pt idx="1100">76.827565982404678</cx:pt>
          <cx:pt idx="1101">76.788856304985316</cx:pt>
          <cx:pt idx="1102">76.821114369501473</cx:pt>
          <cx:pt idx="1103">76.6715542521994</cx:pt>
          <cx:pt idx="1104">76.42815249266863</cx:pt>
          <cx:pt idx="1105">76.39061583577714</cx:pt>
          <cx:pt idx="1106">76.314956011730217</cx:pt>
          <cx:pt idx="1107">76.171847507331378</cx:pt>
          <cx:pt idx="1108">76.078005865102654</cx:pt>
          <cx:pt idx="1109">75.920234604105573</cx:pt>
          <cx:pt idx="1110">75.793548387096791</cx:pt>
          <cx:pt idx="1111">75.574780058651029</cx:pt>
          <cx:pt idx="1112">75.393548387096786</cx:pt>
          <cx:pt idx="1113">75.21759530791789</cx:pt>
          <cx:pt idx="1114">75.27565982404694</cx:pt>
          <cx:pt idx="1115">75.334310850439891</cx:pt>
          <cx:pt idx="1116">75.323167155425239</cx:pt>
          <cx:pt idx="1117">75.382404692082119</cx:pt>
          <cx:pt idx="1118">75.312023460410558</cx:pt>
          <cx:pt idx="1119">75.372434017595296</cx:pt>
          <cx:pt idx="1120">75.370087976539594</cx:pt>
          <cx:pt idx="1121">75.544281524926689</cx:pt>
          <cx:pt idx="1122">75.721994134897344</cx:pt>
          <cx:pt idx="1123">75.907331378299119</cx:pt>
          <cx:pt idx="1124">75.872727272727275</cx:pt>
          <cx:pt idx="1125">75.963636363636368</cx:pt>
          <cx:pt idx="1126">76.041055718475079</cx:pt>
          <cx:pt idx="1127">76.07741935483871</cx:pt>
          <cx:pt idx="1128">76.107917888563051</cx:pt>
          <cx:pt idx="1129">76.104398826979477</cx:pt>
          <cx:pt idx="1130">76.151906158357775</cx:pt>
          <cx:pt idx="1131">76.225806451612911</cx:pt>
          <cx:pt idx="1132">76.149560117302045</cx:pt>
          <cx:pt idx="1133">75.954252199413489</cx:pt>
          <cx:pt idx="1134">76.06217008797654</cx:pt>
          <cx:pt idx="1135">76.141935483870967</cx:pt>
          <cx:pt idx="1136">76.19941348973606</cx:pt>
          <cx:pt idx="1137">76.191788856304981</cx:pt>
          <cx:pt idx="1138">76.351319648093863</cx:pt>
          <cx:pt idx="1139">76.306158357771267</cx:pt>
          <cx:pt idx="1140">76.339589442815267</cx:pt>
          <cx:pt idx="1141">76.398240469208218</cx:pt>
          <cx:pt idx="1142">76.492668621700872</cx:pt>
          <cx:pt idx="1143">76.666862170087967</cx:pt>
          <cx:pt idx="1144">76.660410557184733</cx:pt>
          <cx:pt idx="1145">76.595307917888576</cx:pt>
          <cx:pt idx="1146">76.493255131964816</cx:pt>
          <cx:pt idx="1147">76.401173020527864</cx:pt>
          <cx:pt idx="1148">76.222287390029322</cx:pt>
          <cx:pt idx="1149">76.376539589442828</cx:pt>
          <cx:pt idx="1150">76.497947214076248</cx:pt>
          <cx:pt idx="1151">76.497360703812319</cx:pt>
          <cx:pt idx="1152">76.384750733137821</cx:pt>
          <cx:pt idx="1153">76.177126099706726</cx:pt>
          <cx:pt idx="1154">76</cx:pt>
          <cx:pt idx="1155">76.072140762463334</cx:pt>
          <cx:pt idx="1156">76.121407624633406</cx:pt>
          <cx:pt idx="1157">76.054545454545433</cx:pt>
          <cx:pt idx="1158">76.173020527859208</cx:pt>
          <cx:pt idx="1159">76.194134897360669</cx:pt>
          <cx:pt idx="1160">76.218181818181804</cx:pt>
          <cx:pt idx="1161">76.295601173020529</cx:pt>
          <cx:pt idx="1162">76.198240469208216</cx:pt>
          <cx:pt idx="1163">76.373020527859268</cx:pt>
          <cx:pt idx="1164">76.533724340175965</cx:pt>
          <cx:pt idx="1165">76.417008797653978</cx:pt>
          <cx:pt idx="1166">76.487976539589454</cx:pt>
          <cx:pt idx="1167">76.435190615835779</cx:pt>
          <cx:pt idx="1168">76.30029325513199</cx:pt>
          <cx:pt idx="1169">76.168328445747804</cx:pt>
          <cx:pt idx="1170">76.333724340175962</cx:pt>
          <cx:pt idx="1171">76.365395894428161</cx:pt>
          <cx:pt idx="1172">76.373020527859254</cx:pt>
          <cx:pt idx="1173">76.2950146627566</cx:pt>
          <cx:pt idx="1174">76.263343108504415</cx:pt>
          <cx:pt idx="1175">76.432258064516134</cx:pt>
          <cx:pt idx="1176">76.443401759530801</cx:pt>
          <cx:pt idx="1177">76.354838709677423</cx:pt>
          <cx:pt idx="1178">76.52785923753666</cx:pt>
          <cx:pt idx="1179">76.51847507331378</cx:pt>
          <cx:pt idx="1180">76.519648093841639</cx:pt>
          <cx:pt idx="1181">76.405278592375382</cx:pt>
          <cx:pt idx="1182">76.513196480938404</cx:pt>
          <cx:pt idx="1183">76.438123167155425</cx:pt>
          <cx:pt idx="1184">76.614662756598221</cx:pt>
          <cx:pt idx="1185">76.634604105571839</cx:pt>
          <cx:pt idx="1186">76.49677419354839</cx:pt>
          <cx:pt idx="1187">76.510263929618787</cx:pt>
          <cx:pt idx="1188">76.514369501466291</cx:pt>
          <cx:pt idx="1189">76.443988269794744</cx:pt>
          <cx:pt idx="1190">76.549560117302079</cx:pt>
          <cx:pt idx="1191">76.466862170088007</cx:pt>
          <cx:pt idx="1192">76.470381231671581</cx:pt>
          <cx:pt idx="1193">76.604692082111455</cx:pt>
          <cx:pt idx="1194">76.524340175953085</cx:pt>
          <cx:pt idx="1195">76.49970674486805</cx:pt>
          <cx:pt idx="1196">76.663929618768321</cx:pt>
          <cx:pt idx="1197">76.492082111436972</cx:pt>
          <cx:pt idx="1198">76.497360703812333</cx:pt>
          <cx:pt idx="1199">76.663929618768336</cx:pt>
          <cx:pt idx="1200">76.775366568914961</cx:pt>
          <cx:pt idx="1201">76.713782991202336</cx:pt>
          <cx:pt idx="1202">76.581231671554249</cx:pt>
          <cx:pt idx="1203">76.59999999999998</cx:pt>
          <cx:pt idx="1204">76.575366568914959</cx:pt>
          <cx:pt idx="1205">76.601759530791782</cx:pt>
          <cx:pt idx="1206">76.594721407624618</cx:pt>
          <cx:pt idx="1207">76.509090909090901</cx:pt>
          <cx:pt idx="1208">76.606451612903214</cx:pt>
          <cx:pt idx="1209">76.443988269794716</cx:pt>
          <cx:pt idx="1210">76.608797653958931</cx:pt>
          <cx:pt idx="1211">76.564222873900306</cx:pt>
          <cx:pt idx="1212">76.636950146627569</cx:pt>
          <cx:pt idx="1213">76.599999999999994</cx:pt>
          <cx:pt idx="1214">76.645747800586491</cx:pt>
          <cx:pt idx="1215">76.564809384164207</cx:pt>
          <cx:pt idx="1216">76.547800586510249</cx:pt>
          <cx:pt idx="1217">76.614662756598236</cx:pt>
          <cx:pt idx="1218">76.427565982404701</cx:pt>
          <cx:pt idx="1219">76.566568914956008</cx:pt>
          <cx:pt idx="1220">76.551319648093838</cx:pt>
          <cx:pt idx="1221">76.418181818181807</cx:pt>
          <cx:pt idx="1222">76.496774193548376</cx:pt>
          <cx:pt idx="1223">76.372434017595296</cx:pt>
          <cx:pt idx="1224">76.245161290322557</cx:pt>
          <cx:pt idx="1225">76.158944281524896</cx:pt>
          <cx:pt idx="1226">76.197067448680343</cx:pt>
          <cx:pt idx="1227">76.189442815249251</cx:pt>
          <cx:pt idx="1228">76.226979472140755</cx:pt>
          <cx:pt idx="1229">76.238123167155422</cx:pt>
          <cx:pt idx="1230">76.09677419354837</cx:pt>
          <cx:pt idx="1231">76.133137829912016</cx:pt>
          <cx:pt idx="1232">76.079178885630498</cx:pt>
          <cx:pt idx="1233">76.251612903225819</cx:pt>
          <cx:pt idx="1234">76.353079178885636</cx:pt>
          <cx:pt idx="1235">76.622873900293257</cx:pt>
          <cx:pt idx="1236">76.618181818181796</cx:pt>
          <cx:pt idx="1237">76.696774193548364</cx:pt>
          <cx:pt idx="1238">76.921407624633432</cx:pt>
          <cx:pt idx="1239">76.98826979472139</cx:pt>
          <cx:pt idx="1240">77.089736070381207</cx:pt>
          <cx:pt idx="1241">77.04398826979471</cx:pt>
          <cx:pt idx="1242">77.030498533724327</cx:pt>
          <cx:pt idx="1243">77.134310850439874</cx:pt>
          <cx:pt idx="1244">77.234017595307918</cx:pt>
          <cx:pt idx="1245">77.297947214076245</cx:pt>
          <cx:pt idx="1246">77.4258064516129</cx:pt>
          <cx:pt idx="1247">77.512609970674475</cx:pt>
          <cx:pt idx="1248">77.550733137829894</cx:pt>
          <cx:pt idx="1249">77.807038123167146</cx:pt>
          <cx:pt idx="1250">77.787096774193529</cx:pt>
          <cx:pt idx="1251">77.90674486803519</cx:pt>
          <cx:pt idx="1252">78.147214076246328</cx:pt>
          <cx:pt idx="1253">78.088563049853377</cx:pt>
          <cx:pt idx="1254">78.204105571847506</cx:pt>
          <cx:pt idx="1255">78.350733137829906</cx:pt>
          <cx:pt idx="1256">78.460410557184744</cx:pt>
          <cx:pt idx="1257">78.502639296187667</cx:pt>
          <cx:pt idx="1258">78.56539589442815</cx:pt>
          <cx:pt idx="1259">78.762463343108507</cx:pt>
          <cx:pt idx="1260">78.848680351906168</cx:pt>
          <cx:pt idx="1261">79.07096774193549</cx:pt>
          <cx:pt idx="1262">79.116129032258044</cx:pt>
          <cx:pt idx="1263">79.232258064516131</cx:pt>
          <cx:pt idx="1264">79.258064516129039</cx:pt>
          <cx:pt idx="1265">79.170087976539591</cx:pt>
          <cx:pt idx="1266">79.189442815249265</cx:pt>
          <cx:pt idx="1267">79.262756598240486</cx:pt>
          <cx:pt idx="1268">79.207038123167166</cx:pt>
          <cx:pt idx="1269">79.231085043988273</cx:pt>
          <cx:pt idx="1270">79.195307917888556</cx:pt>
          <cx:pt idx="1271">79.268621700879777</cx:pt>
          <cx:pt idx="1272">79.361290322580643</cx:pt>
          <cx:pt idx="1273">79.455131964809382</cx:pt>
          <cx:pt idx="1274">79.448680351906148</cx:pt>
          <cx:pt idx="1275">79.38181818181819</cx:pt>
          <cx:pt idx="1276">79.238709677419337</cx:pt>
          <cx:pt idx="1277">79.048093841642213</cx:pt>
          <cx:pt idx="1278">78.969501466275645</cx:pt>
          <cx:pt idx="1279">78.862170087976523</cx:pt>
          <cx:pt idx="1280">78.737829912023443</cx:pt>
          <cx:pt idx="1281">78.595307917888547</cx:pt>
          <cx:pt idx="1282">78.442815249266857</cx:pt>
          <cx:pt idx="1283">78.371260997067466</cx:pt>
          <cx:pt idx="1284">78.342521994134913</cx:pt>
          <cx:pt idx="1285">78.282697947214089</cx:pt>
          <cx:pt idx="1286">78.251026392961862</cx:pt>
          <cx:pt idx="1287">78.165982404692073</cx:pt>
          <cx:pt idx="1288">78.050439882697944</cx:pt>
          <cx:pt idx="1289">77.966568914956028</cx:pt>
          <cx:pt idx="1290">77.925513196480949</cx:pt>
          <cx:pt idx="1291">77.867448680351913</cx:pt>
          <cx:pt idx="1292">77.744281524926677</cx:pt>
          <cx:pt idx="1293">77.55601173020527</cx:pt>
          <cx:pt idx="1294">77.471554252199411</cx:pt>
          <cx:pt idx="1295">77.383577712609963</cx:pt>
          <cx:pt idx="1296">77.263929618768302</cx:pt>
          <cx:pt idx="1297">76.992961876832837</cx:pt>
          <cx:pt idx="1298">76.889736070381232</cx:pt>
          <cx:pt idx="1299">76.680938416422279</cx:pt>
          <cx:pt idx="1300">76.432258064516134</cx:pt>
          <cx:pt idx="1301">76.281524926686217</cx:pt>
          <cx:pt idx="1302">76.294428152492671</cx:pt>
          <cx:pt idx="1303">76.148973607038116</cx:pt>
          <cx:pt idx="1304">75.943108504398822</cx:pt>
          <cx:pt idx="1305">75.797653958944281</cx:pt>
          <cx:pt idx="1306">75.87859237536658</cx:pt>
          <cx:pt idx="1307">76.018768328445759</cx:pt>
          <cx:pt idx="1308">76.191202346041052</cx:pt>
          <cx:pt idx="1309">76.305571847507323</cx:pt>
          <cx:pt idx="1310">76.486217008797666</cx:pt>
          <cx:pt idx="1311">76.510263929618759</cx:pt>
          <cx:pt idx="1312">76.575953079178888</cx:pt>
          <cx:pt idx="1313">76.578885630498533</cx:pt>
          <cx:pt idx="1314">76.614076246334307</cx:pt>
          <cx:pt idx="1315">76.683870967741925</cx:pt>
          <cx:pt idx="1316">76.584164222873909</cx:pt>
          <cx:pt idx="1317">76.515542521994135</cx:pt>
          <cx:pt idx="1318">76.629912023460406</cx:pt>
          <cx:pt idx="1319">76.712023460410563</cx:pt>
          <cx:pt idx="1320">76.578885630498547</cx:pt>
          <cx:pt idx="1321">76.457478005865113</cx:pt>
          <cx:pt idx="1322">76.469208211143695</cx:pt>
          <cx:pt idx="1323">76.35073313782992</cx:pt>
          <cx:pt idx="1324">76.462756598240475</cx:pt>
          <cx:pt idx="1325">76.451026392961879</cx:pt>
          <cx:pt idx="1326">76.348973607038133</cx:pt>
          <cx:pt idx="1327">76.469794721407638</cx:pt>
          <cx:pt idx="1328">76.49032258064517</cx:pt>
          <cx:pt idx="1329">76.539002932551313</cx:pt>
          <cx:pt idx="1330">76.761876832844592</cx:pt>
          <cx:pt idx="1331">76.761290322580649</cx:pt>
          <cx:pt idx="1332">76.846334310850438</cx:pt>
          <cx:pt idx="1333">76.861583577712608</cx:pt>
          <cx:pt idx="1334">76.898533724340169</cx:pt>
          <cx:pt idx="1335">76.950146627565957</cx:pt>
          <cx:pt idx="1336">76.99706744868034</cx:pt>
          <cx:pt idx="1337">76.886803519061573</cx:pt>
          <cx:pt idx="1338">76.902639296187672</cx:pt>
          <cx:pt idx="1339">76.692668621700861</cx:pt>
          <cx:pt idx="1340">76.730791788856294</cx:pt>
          <cx:pt idx="1341">76.529032258064504</cx:pt>
          <cx:pt idx="1342">76.587683284457469</cx:pt>
          <cx:pt idx="1343">76.536070381231667</cx:pt>
          <cx:pt idx="1344">76.68035190615835</cx:pt>
          <cx:pt idx="1345">76.60293255131964</cx:pt>
          <cx:pt idx="1346">76.524340175953071</cx:pt>
          <cx:pt idx="1347">76.637536656891513</cx:pt>
          <cx:pt idx="1348">76.60175953079181</cx:pt>
          <cx:pt idx="1349">76.504398826979511</cx:pt>
          <cx:pt idx="1350">76.366568914956034</cx:pt>
          <cx:pt idx="1351">76.472140762463354</cx:pt>
          <cx:pt idx="1352">76.60293255131964</cx:pt>
          <cx:pt idx="1353">76.487976539589425</cx:pt>
          <cx:pt idx="1354">76.662170087976534</cx:pt>
          <cx:pt idx="1355">76.72668621700879</cx:pt>
          <cx:pt idx="1356">76.779472140762479</cx:pt>
          <cx:pt idx="1357">76.797067448680366</cx:pt>
          <cx:pt idx="1358">76.849266862170097</cx:pt>
          <cx:pt idx="1359">76.965982404692085</cx:pt>
          <cx:pt idx="1360">76.808797653958948</cx:pt>
          <cx:pt idx="1361">76.79824046920821</cx:pt>
          <cx:pt idx="1362">76.923753665689148</cx:pt>
          <cx:pt idx="1363">77.007624633431078</cx:pt>
          <cx:pt idx="1364">76.920234604105588</cx:pt>
          <cx:pt idx="1365">77.004105571847518</cx:pt>
          <cx:pt idx="1366">77.125513196480938</cx:pt>
          <cx:pt idx="1367">77.171847507331378</cx:pt>
          <cx:pt idx="1368">77.134897360703818</cx:pt>
          <cx:pt idx="1369">77.139002932551321</cx:pt>
          <cx:pt idx="1370">77.311436950146643</cx:pt>
          <cx:pt idx="1371">77.141935483870967</cx:pt>
          <cx:pt idx="1372">77.325513196480955</cx:pt>
          <cx:pt idx="1373">77.181818181818187</cx:pt>
          <cx:pt idx="1374">77.259237536656912</cx:pt>
          <cx:pt idx="1375">77.196480938416414</cx:pt>
          <cx:pt idx="1376">77.050439882697944</cx:pt>
          <cx:pt idx="1377">76.994134897360695</cx:pt>
          <cx:pt idx="1378">76.995894428152482</cx:pt>
          <cx:pt idx="1379">76.94721407624634</cx:pt>
          <cx:pt idx="1380">76.909090909090921</cx:pt>
          <cx:pt idx="1381">76.921994134897361</cx:pt>
          <cx:pt idx="1382">76.961290322580652</cx:pt>
          <cx:pt idx="1383">76.892668621700864</cx:pt>
          <cx:pt idx="1384">77.069794721407632</cx:pt>
          <cx:pt idx="1385">76.945454545454552</cx:pt>
          <cx:pt idx="1386">76.736656891495628</cx:pt>
          <cx:pt idx="1387">76.761290322580663</cx:pt>
          <cx:pt idx="1388">76.773020527859245</cx:pt>
          <cx:pt idx="1389">76.748387096774209</cx:pt>
          <cx:pt idx="1390">76.790615835777132</cx:pt>
          <cx:pt idx="1391">76.745454545454535</cx:pt>
          <cx:pt idx="1392">76.597653958944278</cx:pt>
          <cx:pt idx="1393">76.5407624633431</cx:pt>
          <cx:pt idx="1394">76.466862170087978</cx:pt>
          <cx:pt idx="1395">76.330791788856303</cx:pt>
          <cx:pt idx="1396">76.262756598240472</cx:pt>
          <cx:pt idx="1397">76.116129032258073</cx:pt>
          <cx:pt idx="1398">76.06862170087976</cx:pt>
          <cx:pt idx="1399">76.21173020527857</cx:pt>
          <cx:pt idx="1400">76.217008797653932</cx:pt>
          <cx:pt idx="1401">76.160117302052768</cx:pt>
          <cx:pt idx="1402">76.189442815249265</cx:pt>
          <cx:pt idx="1403">76.049853372434015</cx:pt>
          <cx:pt idx="1404">76.144868035190612</cx:pt>
          <cx:pt idx="1405">76.112023460410555</cx:pt>
          <cx:pt idx="1406">75.994721407624638</cx:pt>
          <cx:pt idx="1407">76.073900293255136</cx:pt>
          <cx:pt idx="1408">76.230498533724344</cx:pt>
          <cx:pt idx="1409">76.231085043988273</cx:pt>
          <cx:pt idx="1410">76.222873900293266</cx:pt>
          <cx:pt idx="1411">76.257478005865138</cx:pt>
          <cx:pt idx="1412">76.31319648093843</cx:pt>
          <cx:pt idx="1413">76.272140762463366</cx:pt>
          <cx:pt idx="1414">76.205278592375365</cx:pt>
          <cx:pt idx="1415">76.163636363636371</cx:pt>
          <cx:pt idx="1416">76.272140762463351</cx:pt>
          <cx:pt idx="1417">76.476246334310858</cx:pt>
          <cx:pt idx="1418">76.476832844574773</cx:pt>
          <cx:pt idx="1419">76.486803519061581</cx:pt>
          <cx:pt idx="1420">76.339589442815239</cx:pt>
          <cx:pt idx="1421">76.343108504398828</cx:pt>
          <cx:pt idx="1422">76.517888563049851</cx:pt>
          <cx:pt idx="1423">76.55249266862171</cx:pt>
          <cx:pt idx="1424">76.565982404692079</cx:pt>
          <cx:pt idx="1425">76.506744868035184</cx:pt>
          <cx:pt idx="1426">76.531964809384164</cx:pt>
          <cx:pt idx="1427">76.513782991202319</cx:pt>
          <cx:pt idx="1428">76.466275659824049</cx:pt>
          <cx:pt idx="1429">76.467448680351893</cx:pt>
          <cx:pt idx="1430">76.473313782991212</cx:pt>
          <cx:pt idx="1431">76.431671554252205</cx:pt>
          <cx:pt idx="1432">76.504985337243411</cx:pt>
          <cx:pt idx="1433">76.486803519061596</cx:pt>
          <cx:pt idx="1434">76.526099706744859</cx:pt>
          <cx:pt idx="1435">76.535483870967724</cx:pt>
          <cx:pt idx="1436">76.505571847507326</cx:pt>
          <cx:pt idx="1437">76.629325513196477</cx:pt>
          <cx:pt idx="1438">76.706744868035187</cx:pt>
          <cx:pt idx="1439">76.614076246334321</cx:pt>
          <cx:pt idx="1440">76.600000000000009</cx:pt>
          <cx:pt idx="1441">76.764809384164252</cx:pt>
          <cx:pt idx="1442">76.838123167155445</cx:pt>
          <cx:pt idx="1443">76.749560117302067</cx:pt>
          <cx:pt idx="1444">76.634604105571853</cx:pt>
          <cx:pt idx="1445">76.611143695014661</cx:pt>
          <cx:pt idx="1446">76.666862170087967</cx:pt>
          <cx:pt idx="1447">76.581818181818178</cx:pt>
          <cx:pt idx="1448">76.543695014662745</cx:pt>
          <cx:pt idx="1449">76.48797653958944</cx:pt>
          <cx:pt idx="1450">76.386510263929623</cx:pt>
          <cx:pt idx="1451">76.498533724340177</cx:pt>
          <cx:pt idx="1452">76.391202346041041</cx:pt>
          <cx:pt idx="1453">76.262756598240472</cx:pt>
          <cx:pt idx="1454">76.316129032258061</cx:pt>
          <cx:pt idx="1455">76.335483870967735</cx:pt>
          <cx:pt idx="1456">76.387096774193537</cx:pt>
          <cx:pt idx="1457">76.371847507331367</cx:pt>
          <cx:pt idx="1458">76.41642228739002</cx:pt>
          <cx:pt idx="1459">76.581231671554249</cx:pt>
          <cx:pt idx="1460">76.509090909090915</cx:pt>
          <cx:pt idx="1461">76.354252199413509</cx:pt>
          <cx:pt idx="1462">76.307917888563068</cx:pt>
          <cx:pt idx="1463">76.316129032258075</cx:pt>
          <cx:pt idx="1464">76.462170087976546</cx:pt>
          <cx:pt idx="1465">76.387683284457481</cx:pt>
          <cx:pt idx="1466">76.358357771261012</cx:pt>
          <cx:pt idx="1467">76.327272727272742</cx:pt>
          <cx:pt idx="1468">76.205278592375365</cx:pt>
          <cx:pt idx="1469">76.106158357771264</cx:pt>
          <cx:pt idx="1470">76.166568914956017</cx:pt>
          <cx:pt idx="1471">76.146627565982413</cx:pt>
          <cx:pt idx="1472">76.067448680351916</cx:pt>
          <cx:pt idx="1473">75.982404692082127</cx:pt>
          <cx:pt idx="1474">76.13607038123169</cx:pt>
          <cx:pt idx="1475">76.204105571847506</cx:pt>
          <cx:pt idx="1476">76.21466275659823</cx:pt>
          <cx:pt idx="1477">75.990029325513191</cx:pt>
          <cx:pt idx="1478">75.954252199413489</cx:pt>
          <cx:pt idx="1479">75.919648093841644</cx:pt>
          <cx:pt idx="1480">75.906158357771261</cx:pt>
          <cx:pt idx="1481">76.113782991202342</cx:pt>
          <cx:pt idx="1482">76</cx:pt>
          <cx:pt idx="1483">76.004692082111433</cx:pt>
          <cx:pt idx="1484">76.171260997067449</cx:pt>
          <cx:pt idx="1485">76.013489736070369</cx:pt>
          <cx:pt idx="1486">75.984750733137815</cx:pt>
          <cx:pt idx="1487">76.076246334310838</cx:pt>
          <cx:pt idx="1488">76.171260997067435</cx:pt>
          <cx:pt idx="1489">76.199999999999989</cx:pt>
          <cx:pt idx="1490">76.074486803519051</cx:pt>
          <cx:pt idx="1491">76.182991202346031</cx:pt>
          <cx:pt idx="1492">76.289149560117295</cx:pt>
          <cx:pt idx="1493">76.294428152492671</cx:pt>
          <cx:pt idx="1494">76.252785923753649</cx:pt>
          <cx:pt idx="1495">76.195894428152471</cx:pt>
          <cx:pt idx="1496">76.404105571847509</cx:pt>
          <cx:pt idx="1497">76.268035190615834</cx:pt>
          <cx:pt idx="1498">76.307331378299111</cx:pt>
          <cx:pt idx="1499">76.482697947214078</cx:pt>
          <cx:pt idx="1500">76.458651026392957</cx:pt>
          <cx:pt idx="1501">76.435777126099694</cx:pt>
          <cx:pt idx="1502">76.408797653958942</cx:pt>
          <cx:pt idx="1503">76.448680351906162</cx:pt>
          <cx:pt idx="1504">76.409384164222871</cx:pt>
          <cx:pt idx="1505">76.280351906158373</cx:pt>
          <cx:pt idx="1506">76.2299120234604</cx:pt>
          <cx:pt idx="1507">76.266862170087975</cx:pt>
          <cx:pt idx="1508">76.405278592375367</cx:pt>
          <cx:pt idx="1509">76.383577712609963</cx:pt>
          <cx:pt idx="1510">76.233431085043975</cx:pt>
          <cx:pt idx="1511">76.248093841642245</cx:pt>
          <cx:pt idx="1512">76.116129032258087</cx:pt>
          <cx:pt idx="1513">76.089149560117335</cx:pt>
          <cx:pt idx="1514">76.134897360703832</cx:pt>
          <cx:pt idx="1515">75.999413489736071</cx:pt>
          <cx:pt idx="1516">76.128445747800583</cx:pt>
          <cx:pt idx="1517">76.109677419354838</cx:pt>
          <cx:pt idx="1518">76.038709677419348</cx:pt>
          <cx:pt idx="1519">76.069208211143689</cx:pt>
          <cx:pt idx="1520">76.052199413489717</cx:pt>
          <cx:pt idx="1521">76.09032258064515</cx:pt>
          <cx:pt idx="1522">75.989442815249262</cx:pt>
          <cx:pt idx="1523">75.930205278592368</cx:pt>
          <cx:pt idx="1524">75.897947214076225</cx:pt>
          <cx:pt idx="1525">75.896774193548382</cx:pt>
          <cx:pt idx="1526">75.817595307917898</cx:pt>
          <cx:pt idx="1527">75.796480938416437</cx:pt>
          <cx:pt idx="1528">75.959530791788865</cx:pt>
          <cx:pt idx="1529">75.964222873900312</cx:pt>
          <cx:pt idx="1530">75.868035190615842</cx:pt>
          <cx:pt idx="1531">76.058651026392965</cx:pt>
          <cx:pt idx="1532">76.033431085044</cx:pt>
          <cx:pt idx="1533">76.051612903225816</cx:pt>
          <cx:pt idx="1534">76.061583577712625</cx:pt>
          <cx:pt idx="1535">76.080938416422299</cx:pt>
          <cx:pt idx="1536">76.079178885630512</cx:pt>
          <cx:pt idx="1537">76.169501466275676</cx:pt>
          <cx:pt idx="1538">76.286217008797678</cx:pt>
          <cx:pt idx="1539">76.231671554252202</cx:pt>
          <cx:pt idx="1540">76.286217008797664</cx:pt>
          <cx:pt idx="1541">76.363636363636374</cx:pt>
          <cx:pt idx="1542">76.288563049853366</cx:pt>
          <cx:pt idx="1543">76.41642228739002</cx:pt>
          <cx:pt idx="1544">76.616422287390009</cx:pt>
          <cx:pt idx="1545">76.685630498533712</cx:pt>
          <cx:pt idx="1546">76.780058651026394</cx:pt>
          <cx:pt idx="1547">76.824046920821118</cx:pt>
          <cx:pt idx="1548">76.802932551319657</cx:pt>
          <cx:pt idx="1549">76.715542521994124</cx:pt>
          <cx:pt idx="1550">76.688563049853357</cx:pt>
          <cx:pt idx="1551">76.687390029325513</cx:pt>
          <cx:pt idx="1552">76.757771260997075</cx:pt>
          <cx:pt idx="1553">76.849266862170097</cx:pt>
          <cx:pt idx="1554">76.812903225806465</cx:pt>
          <cx:pt idx="1555">76.812316715542522</cx:pt>
          <cx:pt idx="1556">76.734310850439883</cx:pt>
          <cx:pt idx="1557">76.872140762463346</cx:pt>
          <cx:pt idx="1558">76.779472140762479</cx:pt>
          <cx:pt idx="1559">76.797067448680352</cx:pt>
          <cx:pt idx="1560">76.829325513196494</cx:pt>
          <cx:pt idx="1561">76.796480938416437</cx:pt>
          <cx:pt idx="1562">76.778299120234621</cx:pt>
          <cx:pt idx="1563">76.812903225806451</cx:pt>
          <cx:pt idx="1564">76.723753665689145</cx:pt>
          <cx:pt idx="1565">76.636363636363626</cx:pt>
          <cx:pt idx="1566">76.693841642228733</cx:pt>
          <cx:pt idx="1567">76.82521994134899</cx:pt>
          <cx:pt idx="1568">76.718475073313783</cx:pt>
          <cx:pt idx="1569">76.525513196480944</cx:pt>
          <cx:pt idx="1570">76.651026392961896</cx:pt>
          <cx:pt idx="1571">76.588856304985342</cx:pt>
          <cx:pt idx="1572">76.727272727272734</cx:pt>
          <cx:pt idx="1573">76.7049853372434</cx:pt>
          <cx:pt idx="1574">76.643988269794733</cx:pt>
          <cx:pt idx="1575">76.446920821114389</cx:pt>
          <cx:pt idx="1576">76.405278592375367</cx:pt>
          <cx:pt idx="1577">76.290322580645167</cx:pt>
          <cx:pt idx="1578">76.327272727272728</cx:pt>
          <cx:pt idx="1579">76.289736070381238</cx:pt>
          <cx:pt idx="1580">76.260997067448685</cx:pt>
          <cx:pt idx="1581">76.15249266862169</cx:pt>
          <cx:pt idx="1582">76.197653958944272</cx:pt>
          <cx:pt idx="1583">76.1964809384164</cx:pt>
          <cx:pt idx="1584">76.008211143694993</cx:pt>
          <cx:pt idx="1585">75.967741935483872</cx:pt>
          <cx:pt idx="1586">75.97829912023461</cx:pt>
          <cx:pt idx="1587">75.938416422287375</cx:pt>
          <cx:pt idx="1588">75.967741935483858</cx:pt>
          <cx:pt idx="1589">76.075073313782966</cx:pt>
          <cx:pt idx="1590">76.105571847507292</cx:pt>
          <cx:pt idx="1591">76.110263929618739</cx:pt>
          <cx:pt idx="1592">76.134310850439874</cx:pt>
          <cx:pt idx="1593">75.992961876832851</cx:pt>
          <cx:pt idx="1594">76.068621700879774</cx:pt>
          <cx:pt idx="1595">76.024633431085064</cx:pt>
          <cx:pt idx="1596">76.062170087976554</cx:pt>
          <cx:pt idx="1597">76.127272727272739</cx:pt>
          <cx:pt idx="1598">76.12140762463342</cx:pt>
          <cx:pt idx="1599">76.276832844574784</cx:pt>
          <cx:pt idx="1600">76.247507331378316</cx:pt>
          <cx:pt idx="1601">76.182404692082102</cx:pt>
          <cx:pt idx="1602">76.237536656891493</cx:pt>
          <cx:pt idx="1603">76.239882697947195</cx:pt>
          <cx:pt idx="1604">76.238709677419322</cx:pt>
          <cx:pt idx="1605">76.125513196480924</cx:pt>
          <cx:pt idx="1606">76.146041055718456</cx:pt>
          <cx:pt idx="1607">76</cx:pt>
          <cx:pt idx="1608">76.070381231671547</cx:pt>
          <cx:pt idx="1609">75.89149560117302</cx:pt>
          <cx:pt idx="1610">76.053372434017575</cx:pt>
          <cx:pt idx="1611">76.091495601173023</cx:pt>
          <cx:pt idx="1612">76.319061583577707</cx:pt>
          <cx:pt idx="1613">76.153665689149548</cx:pt>
          <cx:pt idx="1614">76.1806451612903</cx:pt>
          <cx:pt idx="1615">76.327859237536643</cx:pt>
          <cx:pt idx="1616">76.412903225806431</cx:pt>
          <cx:pt idx="1617">76.528445747800561</cx:pt>
          <cx:pt idx="1618">76.687390029325485</cx:pt>
          <cx:pt idx="1619">76.694428152492648</cx:pt>
          <cx:pt idx="1620">76.671554252199385</cx:pt>
          <cx:pt idx="1621">76.586510263929611</cx:pt>
          <cx:pt idx="1622">76.68680351906157</cx:pt>
          <cx:pt idx="1623">76.707917888563045</cx:pt>
          <cx:pt idx="1624">76.852199413489743</cx:pt>
          <cx:pt idx="1625">76.730791788856294</cx:pt>
          <cx:pt idx="1626">76.750733137829926</cx:pt>
          <cx:pt idx="1627">76.72668621700879</cx:pt>
          <cx:pt idx="1628">76.649853372434023</cx:pt>
          <cx:pt idx="1629">76.586510263929625</cx:pt>
          <cx:pt idx="1630">76.575366568914959</cx:pt>
          <cx:pt idx="1631">76.748387096774209</cx:pt>
          <cx:pt idx="1632">76.7700879765396</cx:pt>
          <cx:pt idx="1633">76.843401759530821</cx:pt>
          <cx:pt idx="1634">76.835777126099728</cx:pt>
          <cx:pt idx="1635">76.974193548387106</cx:pt>
          <cx:pt idx="1636">77.084457478005874</cx:pt>
          <cx:pt idx="1637">77.115542521994158</cx:pt>
          <cx:pt idx="1638">77.256304985337266</cx:pt>
          <cx:pt idx="1639">77.291495601173025</cx:pt>
          <cx:pt idx="1640">77.348973607038133</cx:pt>
          <cx:pt idx="1641">77.187096774193549</cx:pt>
          <cx:pt idx="1642">77.291495601173025</cx:pt>
          <cx:pt idx="1643">77.084457478005874</cx:pt>
          <cx:pt idx="1644">77.187683284457492</cx:pt>
          <cx:pt idx="1645">77.020527859237546</cx:pt>
          <cx:pt idx="1646">76.945454545454567</cx:pt>
          <cx:pt idx="1647">76.959530791788865</cx:pt>
          <cx:pt idx="1648">76.848093841642239</cx:pt>
          <cx:pt idx="1649">76.854545454545459</cx:pt>
          <cx:pt idx="1650">76.779472140762479</cx:pt>
          <cx:pt idx="1651">76.779472140762479</cx:pt>
          <cx:pt idx="1652">76.738416422287415</cx:pt>
          <cx:pt idx="1653">76.707917888563045</cx:pt>
          <cx:pt idx="1654">76.686217008797627</cx:pt>
          <cx:pt idx="1655">76.69970674486801</cx:pt>
          <cx:pt idx="1656">76.670967741935456</cx:pt>
          <cx:pt idx="1657">76.843988269794721</cx:pt>
          <cx:pt idx="1658">76.809384164222863</cx:pt>
          <cx:pt idx="1659">76.867448680351913</cx:pt>
          <cx:pt idx="1660">76.908504398826992</cx:pt>
          <cx:pt idx="1661">76.919648093841658</cx:pt>
          <cx:pt idx="1662">76.840469208211175</cx:pt>
          <cx:pt idx="1663">76.767155425219968</cx:pt>
          <cx:pt idx="1664">76.741935483870989</cx:pt>
          <cx:pt idx="1665">76.717302052785925</cx:pt>
          <cx:pt idx="1666">76.62756598240469</cx:pt>
          <cx:pt idx="1667">76.507917888563043</cx:pt>
          <cx:pt idx="1668">76.526099706744859</cx:pt>
          <cx:pt idx="1669">76.486803519061581</cx:pt>
          <cx:pt idx="1670">76.407038123167155</cx:pt>
          <cx:pt idx="1671">76.380058651026403</cx:pt>
          <cx:pt idx="1672">76.490322580645156</cx:pt>
          <cx:pt idx="1673">76.343695014662771</cx:pt>
          <cx:pt idx="1674">76.44105571847507</cx:pt>
          <cx:pt idx="1675">76.354838709677423</cx:pt>
          <cx:pt idx="1676">76.494428152492674</cx:pt>
          <cx:pt idx="1677">76.448093841642233</cx:pt>
          <cx:pt idx="1678">76.519648093841639</cx:pt>
          <cx:pt idx="1679">76.612316715542519</cx:pt>
          <cx:pt idx="1680">76.621114369501456</cx:pt>
          <cx:pt idx="1681">76.530205278592362</cx:pt>
          <cx:pt idx="1682">76.500879765395894</cx:pt>
          <cx:pt idx="1683">76.495014662756603</cx:pt>
          <cx:pt idx="1684">76.557184750733143</cx:pt>
          <cx:pt idx="1685">76.659824046920818</cx:pt>
          <cx:pt idx="1686">76.494428152492674</cx:pt>
          <cx:pt idx="1687">76.632844574780066</cx:pt>
          <cx:pt idx="1688">76.445161290322588</cx:pt>
          <cx:pt idx="1689">76.602932551319654</cx:pt>
          <cx:pt idx="1690">76.557184750733143</cx:pt>
          <cx:pt idx="1691">76.494428152492659</cx:pt>
          <cx:pt idx="1692">76.500879765395894</cx:pt>
          <cx:pt idx="1693">76.41407624633429</cx:pt>
          <cx:pt idx="1694">76.356011730205282</cx:pt>
          <cx:pt idx="1695">76.254545454545436</cx:pt>
          <cx:pt idx="1696">76.212903225806443</cx:pt>
          <cx:pt idx="1697">76.176539589442811</cx:pt>
          <cx:pt idx="1698">76.234017595307918</cx:pt>
          <cx:pt idx="1699">76.442815249266857</cx:pt>
          <cx:pt idx="1700">76.450439882697935</cx:pt>
          <cx:pt idx="1701">76.495601173020532</cx:pt>
          <cx:pt idx="1702">76.683870967741925</cx:pt>
          <cx:pt idx="1703">76.784164222873898</cx:pt>
          <cx:pt idx="1704">76.998240469208199</cx:pt>
          <cx:pt idx="1705">77.116715542521973</cx:pt>
          <cx:pt idx="1706">77.181818181818159</cx:pt>
          <cx:pt idx="1707">77.295014662756586</cx:pt>
          <cx:pt idx="1708">77.499706744868021</cx:pt>
          <cx:pt idx="1709">77.594134897360703</cx:pt>
          <cx:pt idx="1710">77.556011730205284</cx:pt>
          <cx:pt idx="1711">77.619354838709683</cx:pt>
          <cx:pt idx="1712">77.830498533724338</cx:pt>
          <cx:pt idx="1713">77.919648093841644</cx:pt>
          <cx:pt idx="1714">77.991788856304993</cx:pt>
          <cx:pt idx="1715">77.921994134897375</cx:pt>
          <cx:pt idx="1716">77.866275659824055</cx:pt>
          <cx:pt idx="1717">78.044574780058653</cx:pt>
          <cx:pt idx="1718">78.059237536656894</cx:pt>
          <cx:pt idx="1719">78.242815249266854</cx:pt>
          <cx:pt idx="1720">78.299120234604118</cx:pt>
          <cx:pt idx="1721">78.354252199413494</cx:pt>
          <cx:pt idx="1722">78.546041055718476</cx:pt>
          <cx:pt idx="1723">78.48797653958944</cx:pt>
          <cx:pt idx="1724">78.739002932551315</cx:pt>
          <cx:pt idx="1725">78.91319648093841</cx:pt>
          <cx:pt idx="1726">79.167741935483861</cx:pt>
          <cx:pt idx="1727">79.290909090909082</cx:pt>
          <cx:pt idx="1728">79.473900293255127</cx:pt>
          <cx:pt idx="1729">79.570674486803512</cx:pt>
          <cx:pt idx="1730">79.55601173020527</cx:pt>
          <cx:pt idx="1731">79.572434017595327</cx:pt>
          <cx:pt idx="1732">79.620527859237555</cx:pt>
          <cx:pt idx="1733">79.488563049853397</cx:pt>
          <cx:pt idx="1734">79.475073313783</cx:pt>
          <cx:pt idx="1735">79.435777126099723</cx:pt>
          <cx:pt idx="1736">79.446920821114389</cx:pt>
          <cx:pt idx="1737">79.544281524926703</cx:pt>
          <cx:pt idx="1738">79.428739002932559</cx:pt>
          <cx:pt idx="1739">79.325513196480941</cx:pt>
          <cx:pt idx="1740">79.187683284457478</cx:pt>
          <cx:pt idx="1741">79.316129032258075</cx:pt>
          <cx:pt idx="1742">79.153665689149562</cx:pt>
          <cx:pt idx="1743">78.913196480938424</cx:pt>
          <cx:pt idx="1744">78.857478005865104</cx:pt>
          <cx:pt idx="1745">78.890909090909105</cx:pt>
          <cx:pt idx="1746">78.936070381231687</cx:pt>
          <cx:pt idx="1747">78.85630498533726</cx:pt>
          <cx:pt idx="1748">78.82580645161292</cx:pt>
          <cx:pt idx="1749">78.674486803519059</cx:pt>
          <cx:pt idx="1750">78.622873900293257</cx:pt>
          <cx:pt idx="1751">78.584164222873895</cx:pt>
          <cx:pt idx="1752">78.45689149560117</cx:pt>
          <cx:pt idx="1753">78.1800586510264</cx:pt>
          <cx:pt idx="1754">78.091495601173023</cx:pt>
          <cx:pt idx="1755">77.965982404692085</cx:pt>
          <cx:pt idx="1756">77.941348973607035</cx:pt>
          <cx:pt idx="1757">77.793548387096777</cx:pt>
          <cx:pt idx="1758">77.707917888563045</cx:pt>
          <cx:pt idx="1759">77.676246334310846</cx:pt>
          <cx:pt idx="1760">77.50967741935483</cx:pt>
          <cx:pt idx="1761">77.242228739002925</cx:pt>
          <cx:pt idx="1762">77.238709677419351</cx:pt>
          <cx:pt idx="1763">77.109677419354838</cx:pt>
          <cx:pt idx="1764">77.187096774193563</cx:pt>
          <cx:pt idx="1765">77.087976539589462</cx:pt>
          <cx:pt idx="1766">77.022873900293277</cx:pt>
          <cx:pt idx="1767">76.981231671554269</cx:pt>
          <cx:pt idx="1768">76.93782991202346</cx:pt>
          <cx:pt idx="1769">76.805865102639302</cx:pt>
          <cx:pt idx="1770">76.672727272727258</cx:pt>
          <cx:pt idx="1771">76.551906158357767</cx:pt>
          <cx:pt idx="1772">76.347214076246345</cx:pt>
          <cx:pt idx="1773">76.262170087976557</cx:pt>
          <cx:pt idx="1774">76.364222873900303</cx:pt>
          <cx:pt idx="1775">76.314956011730217</cx:pt>
          <cx:pt idx="1776">76.30439882697948</cx:pt>
          <cx:pt idx="1777">76.217595307917875</cx:pt>
          <cx:pt idx="1778">76.300293255131962</cx:pt>
          <cx:pt idx="1779">76.183577712609974</cx:pt>
          <cx:pt idx="1780">76.191202346041052</cx:pt>
          <cx:pt idx="1781">76.10850439882698</cx:pt>
          <cx:pt idx="1782">75.896187683284481</cx:pt>
          <cx:pt idx="1783">76.002346041055716</cx:pt>
          <cx:pt idx="1784">76.054545454545462</cx:pt>
          <cx:pt idx="1785">76.059237536656894</cx:pt>
          <cx:pt idx="1786">75.961876832844567</cx:pt>
          <cx:pt idx="1787">75.864516129032268</cx:pt>
          <cx:pt idx="1788">75.801173020527855</cx:pt>
          <cx:pt idx="1789">75.77595307917889</cx:pt>
          <cx:pt idx="1790">75.598240469208207</cx:pt>
          <cx:pt idx="1791">75.790029325513217</cx:pt>
          <cx:pt idx="1792">75.943695014662779</cx:pt>
          <cx:pt idx="1793">75.975953079178908</cx:pt>
          <cx:pt idx="1794">76.051612903225816</cx:pt>
          <cx:pt idx="1795">75.888563049853389</cx:pt>
          <cx:pt idx="1796">75.889149560117318</cx:pt>
          <cx:pt idx="1797">75.907917888563048</cx:pt>
          <cx:pt idx="1798">75.834604105571856</cx:pt>
          <cx:pt idx="1799">75.687390029325513</cx:pt>
          <cx:pt idx="1800">75.675073313782988</cx:pt>
          <cx:pt idx="1801">75.783577712609983</cx:pt>
          <cx:pt idx="1802">75.805865102639331</cx:pt>
          <cx:pt idx="1803">75.983577712609986</cx:pt>
          <cx:pt idx="1804">76.139002932551321</cx:pt>
          <cx:pt idx="1805">76.160117302052768</cx:pt>
          <cx:pt idx="1806">76.136656891495576</cx:pt>
          <cx:pt idx="1807">76.184164222873889</cx:pt>
          <cx:pt idx="1808">76.146627565982399</cx:pt>
          <cx:pt idx="1809">76.051026392961887</cx:pt>
          <cx:pt idx="1810">75.95894428152495</cx:pt>
          <cx:pt idx="1811">75.939002932551332</cx:pt>
          <cx:pt idx="1812">75.886803519061601</cx:pt>
          <cx:pt idx="1813">75.961876832844581</cx:pt>
          <cx:pt idx="1814">76.008797653958936</cx:pt>
          <cx:pt idx="1815">76.095014662756583</cx:pt>
          <cx:pt idx="1816">76.034017595307901</cx:pt>
          <cx:pt idx="1817">76.089149560117292</cx:pt>
          <cx:pt idx="1818">76.235190615835776</cx:pt>
          <cx:pt idx="1819">76.387683284457481</cx:pt>
          <cx:pt idx="1820">76.309090909090912</cx:pt>
          <cx:pt idx="1821">76.445747800586503</cx:pt>
          <cx:pt idx="1822">76.43225806451612</cx:pt>
          <cx:pt idx="1823">76.377712609970672</cx:pt>
          <cx:pt idx="1824">76.209384164222882</cx:pt>
          <cx:pt idx="1825">76.161290322580641</cx:pt>
          <cx:pt idx="1826">76.203519061583577</cx:pt>
          <cx:pt idx="1827">76.188856304985336</cx:pt>
          <cx:pt idx="1828">76.054545454545462</cx:pt>
          <cx:pt idx="1829">76.118475073313789</cx:pt>
          <cx:pt idx="1830">76.087976539589462</cx:pt>
          <cx:pt idx="1831">76.196480938416428</cx:pt>
          <cx:pt idx="1832">76.09325513196481</cx:pt>
          <cx:pt idx="1833">76.153665689149562</cx:pt>
          <cx:pt idx="1834">75.939589442815247</cx:pt>
          <cx:pt idx="1835">75.794134897360706</cx:pt>
          <cx:pt idx="1836">75.673900293255116</cx:pt>
          <cx:pt idx="1837">75.697360703812308</cx:pt>
          <cx:pt idx="1838">75.480351906158347</cx:pt>
          <cx:pt idx="1839">75.415249266862162</cx:pt>
          <cx:pt idx="1840">75.37536656891497</cx:pt>
          <cx:pt idx="1841">75.479178885630503</cx:pt>
          <cx:pt idx="1842">75.48739002932551</cx:pt>
          <cx:pt idx="1843">75.59648093841642</cx:pt>
          <cx:pt idx="1844">75.613489736070363</cx:pt>
          <cx:pt idx="1845">75.582991202346037</cx:pt>
          <cx:pt idx="1846">75.651612903225796</cx:pt>
          <cx:pt idx="1847">75.818768328445756</cx:pt>
          <cx:pt idx="1848">75.721994134897344</cx:pt>
          <cx:pt idx="1849">75.58709677419354</cx:pt>
          <cx:pt idx="1850">75.562463343108504</cx:pt>
          <cx:pt idx="1851">75.628152492668619</cx:pt>
          <cx:pt idx="1852">75.535483870967738</cx:pt>
          <cx:pt idx="1853">75.399413489736077</cx:pt>
          <cx:pt idx="1854">75.401759530791793</cx:pt>
          <cx:pt idx="1855">75.438709677419382</cx:pt>
          <cx:pt idx="1856">75.358944281524941</cx:pt>
          <cx:pt idx="1857">75.485043988269808</cx:pt>
          <cx:pt idx="1858">75.501466275659837</cx:pt>
          <cx:pt idx="1859">75.667448680351924</cx:pt>
          <cx:pt idx="1860">75.505571847507355</cx:pt>
          <cx:pt idx="1861">75.587683284457498</cx:pt>
          <cx:pt idx="1862">75.644574780058662</cx:pt>
          <cx:pt idx="1863">75.840469208211161</cx:pt>
          <cx:pt idx="1864">75.802932551319657</cx:pt>
          <cx:pt idx="1865">75.882111436950154</cx:pt>
          <cx:pt idx="1866">75.98064516129034</cx:pt>
          <cx:pt idx="1867">75.957771260997077</cx:pt>
          <cx:pt idx="1868">75.99882697947217</cx:pt>
          <cx:pt idx="1869">76.196480938416428</cx:pt>
          <cx:pt idx="1870">76.341935483870984</cx:pt>
          <cx:pt idx="1871">76.475073313783</cx:pt>
          <cx:pt idx="1872">76.506744868035199</cx:pt>
          <cx:pt idx="1873">76.661583577712605</cx:pt>
          <cx:pt idx="1874">76.689736070381215</cx:pt>
          <cx:pt idx="1875">76.652785923753655</cx:pt>
          <cx:pt idx="1876">76.683284457477995</cx:pt>
          <cx:pt idx="1877">76.584750733137824</cx:pt>
          <cx:pt idx="1878">76.582991202346037</cx:pt>
          <cx:pt idx="1879">76.691495601173017</cx:pt>
          <cx:pt idx="1880">76.641642228739002</cx:pt>
          <cx:pt idx="1881">76.495014662756589</cx:pt>
          <cx:pt idx="1882">76.416422287390034</cx:pt>
          <cx:pt idx="1883">76.39706744868036</cx:pt>
          <cx:pt idx="1884">76.394721407624644</cx:pt>
          <cx:pt idx="1885">76.400586510263935</cx:pt>
          <cx:pt idx="1886">76.363049853372445</cx:pt>
          <cx:pt idx="1887">76.521407624633426</cx:pt>
          <cx:pt idx="1888">76.52258064516127</cx:pt>
          <cx:pt idx="1889">76.570674486803512</cx:pt>
          <cx:pt idx="1890">76.527859237536646</cx:pt>
          <cx:pt idx="1891">76.678005865102634</cx:pt>
          <cx:pt idx="1892">76.778299120234607</cx:pt>
          <cx:pt idx="1893">76.764809384164224</cx:pt>
          <cx:pt idx="1894">76.758944281524933</cx:pt>
          <cx:pt idx="1895">76.976539589442808</cx:pt>
          <cx:pt idx="1896">77.024633431085036</cx:pt>
          <cx:pt idx="1897">77.029912023460398</cx:pt>
          <cx:pt idx="1898">77.240469208211138</cx:pt>
          <cx:pt idx="1899">77.327272727272742</cx:pt>
          <cx:pt idx="1900">77.330791788856317</cx:pt>
          <cx:pt idx="1901">77.402932551319637</cx:pt>
          <cx:pt idx="1902">77.452199413489737</cx:pt>
          <cx:pt idx="1903">77.497360703812319</cx:pt>
          <cx:pt idx="1904">77.427565982404673</cx:pt>
          <cx:pt idx="1905">77.571847507331356</cx:pt>
          <cx:pt idx="1906">77.692082111436946</cx:pt>
          <cx:pt idx="1907">77.700293255131953</cx:pt>
          <cx:pt idx="1908">77.873900293255133</cx:pt>
          <cx:pt idx="1909">77.913196480938424</cx:pt>
          <cx:pt idx="1910">78.076832844574781</cx:pt>
          <cx:pt idx="1911">78.309090909090912</cx:pt>
          <cx:pt idx="1912">78.540175953079185</cx:pt>
          <cx:pt idx="1913">78.647507331378293</cx:pt>
          <cx:pt idx="1914">78.695014662756591</cx:pt>
          <cx:pt idx="1915">78.827565982404678</cx:pt>
          <cx:pt idx="1916">79.008797653958922</cx:pt>
          <cx:pt idx="1917">79.164809384164201</cx:pt>
          <cx:pt idx="1918">79.278592375366557</cx:pt>
          <cx:pt idx="1919">79.252199413489706</cx:pt>
          <cx:pt idx="1920">79.312609970674472</cx:pt>
          <cx:pt idx="1921">79.46334310850439</cx:pt>
          <cx:pt idx="1922">79.446920821114361</cx:pt>
          <cx:pt idx="1923">79.541935483870972</cx:pt>
          <cx:pt idx="1924">79.493255131964816</cx:pt>
          <cx:pt idx="1925">79.475659824046929</cx:pt>
          <cx:pt idx="1926">79.436950146627581</cx:pt>
          <cx:pt idx="1927">79.550733137829923</cx:pt>
          <cx:pt idx="1928">79.649853372434038</cx:pt>
          <cx:pt idx="1929">79.601173020527852</cx:pt>
          <cx:pt idx="1930">79.439882697947212</cx:pt>
          <cx:pt idx="1931">79.337243401759537</cx:pt>
          <cx:pt idx="1932">79.193548387096783</cx:pt>
          <cx:pt idx="1933">79.193548387096769</cx:pt>
          <cx:pt idx="1934">79.009384164222894</cx:pt>
          <cx:pt idx="1935">79.072727272727292</cx:pt>
          <cx:pt idx="1936">78.892668621700892</cx:pt>
          <cx:pt idx="1937">78.770087976539585</cx:pt>
          <cx:pt idx="1938">78.612316715542505</cx:pt>
          <cx:pt idx="1939">78.411730205278587</cx:pt>
          <cx:pt idx="1940">78.295014662756586</cx:pt>
          <cx:pt idx="1941">78.167741935483861</cx:pt>
          <cx:pt idx="1942">78.110850439882682</cx:pt>
          <cx:pt idx="1943">77.848093841642211</cx:pt>
          <cx:pt idx="1944">77.817595307917856</cx:pt>
          <cx:pt idx="1945">77.845747800586494</cx:pt>
          <cx:pt idx="1946">77.797067448680338</cx:pt>
          <cx:pt idx="1947">77.534897360703809</cx:pt>
          <cx:pt idx="1948">77.387096774193552</cx:pt>
          <cx:pt idx="1949">77.123753665689151</cx:pt>
          <cx:pt idx="1950">77.170087976539577</cx:pt>
          <cx:pt idx="1951">77.056891495601178</cx:pt>
          <cx:pt idx="1952">76.955425219941347</cx:pt>
          <cx:pt idx="1953">76.813489736070366</cx:pt>
          <cx:pt idx="1954">76.57829912023459</cx:pt>
          <cx:pt idx="1955">76.668035190615811</cx:pt>
          <cx:pt idx="1956">76.603519061583555</cx:pt>
          <cx:pt idx="1957">76.585923753665668</cx:pt>
          <cx:pt idx="1958">76.476246334310844</cx:pt>
          <cx:pt idx="1959">76.367155425219948</cx:pt>
          <cx:pt idx="1960">76.396480938416431</cx:pt>
          <cx:pt idx="1961">76.316715542522005</cx:pt>
          <cx:pt idx="1962">76.240469208211138</cx:pt>
          <cx:pt idx="1963">76.262170087976557</cx:pt>
          <cx:pt idx="1964">76.217008797653961</cx:pt>
          <cx:pt idx="1965">76.215249266862173</cx:pt>
          <cx:pt idx="1966">76.209970674486812</cx:pt>
          <cx:pt idx="1967">76.128445747800598</cx:pt>
          <cx:pt idx="1968">76.285630498533749</cx:pt>
          <cx:pt idx="1969">76.358357771260998</cx:pt>
          <cx:pt idx="1970">76.409384164222871</cx:pt>
          <cx:pt idx="1971">76.329032258064515</cx:pt>
          <cx:pt idx="1972">76.225806451612883</cx:pt>
          <cx:pt idx="1973">76.015835777126085</cx:pt>
          <cx:pt idx="1974">76.107917888563037</cx:pt>
          <cx:pt idx="1975">76.004692082111433</cx:pt>
          <cx:pt idx="1976">75.912609970674495</cx:pt>
          <cx:pt idx="1977">75.87859237536658</cx:pt>
          <cx:pt idx="1978">75.936656891495616</cx:pt>
          <cx:pt idx="1979">76.069794721407632</cx:pt>
          <cx:pt idx="1980">76.144281524926697</cx:pt>
          <cx:pt idx="1981">76.018181818181816</cx:pt>
          <cx:pt idx="1982">76.00293255131966</cx:pt>
          <cx:pt idx="1983">75.964222873900297</cx:pt>
          <cx:pt idx="1984">76.156598240469208</cx:pt>
          <cx:pt idx="1985">76.290909090909111</cx:pt>
          <cx:pt idx="1986">76.146627565982413</cx:pt>
          <cx:pt idx="1987">76.090322580645164</cx:pt>
          <cx:pt idx="1988">76.064516129032256</cx:pt>
          <cx:pt idx="1989">76.087976539589448</cx:pt>
          <cx:pt idx="1990">76.039882697947192</cx:pt>
          <cx:pt idx="1991">76.026979472140752</cx:pt>
          <cx:pt idx="1992">76.008211143695007</cx:pt>
          <cx:pt idx="1993">75.977126099706751</cx:pt>
          <cx:pt idx="1994">76.017595307917887</cx:pt>
          <cx:pt idx="1995">75.927272727272722</cx:pt>
          <cx:pt idx="1996">75.933724340175957</cx:pt>
          <cx:pt idx="1997">75.779472140762465</cx:pt>
          <cx:pt idx="1998">75.787096774193543</cx:pt>
          <cx:pt idx="1999">75.64574780058652</cx:pt>
          <cx:pt idx="2000">75.573020527859242</cx:pt>
          <cx:pt idx="2001">75.595307917888576</cx:pt>
          <cx:pt idx="2002">75.613489736070377</cx:pt>
          <cx:pt idx="2003">75.794134897360692</cx:pt>
          <cx:pt idx="2004">75.825219941348976</cx:pt>
          <cx:pt idx="2005">75.858064516129033</cx:pt>
          <cx:pt idx="2006">75.902639296187687</cx:pt>
          <cx:pt idx="2007">75.878005865102651</cx:pt>
          <cx:pt idx="2008">75.829325513196494</cx:pt>
          <cx:pt idx="2009">75.858651026392977</cx:pt>
          <cx:pt idx="2010">75.808211143695019</cx:pt>
          <cx:pt idx="2011">75.724926686216989</cx:pt>
          <cx:pt idx="2012">75.717302052785911</cx:pt>
          <cx:pt idx="2013">75.643988269794718</cx:pt>
          <cx:pt idx="2014">75.531964809384164</cx:pt>
          <cx:pt idx="2015">75.421114369501481</cx:pt>
          <cx:pt idx="2016">75.427565982404701</cx:pt>
          <cx:pt idx="2017">75.382404692082119</cx:pt>
          <cx:pt idx="2018">75.425806451612914</cx:pt>
          <cx:pt idx="2019">75.343695014662771</cx:pt>
          <cx:pt idx="2020">75.189442815249265</cx:pt>
          <cx:pt idx="2021">75.30146627565982</cx:pt>
          <cx:pt idx="2022">75.249266862170074</cx:pt>
          <cx:pt idx="2023">75.390615835777126</cx:pt>
          <cx:pt idx="2024">75.575366568914959</cx:pt>
          <cx:pt idx="2025">75.563049853372419</cx:pt>
          <cx:pt idx="2026">75.587683284457469</cx:pt>
          <cx:pt idx="2027">75.697360703812308</cx:pt>
          <cx:pt idx="2028">75.6557184750733</cx:pt>
          <cx:pt idx="2029">75.7542521994135</cx:pt>
          <cx:pt idx="2030">75.898533724340169</cx:pt>
          <cx:pt idx="2031">75.904985337243389</cx:pt>
          <cx:pt idx="2032">75.873313782991175</cx:pt>
          <cx:pt idx="2033">75.967155425219914</cx:pt>
          <cx:pt idx="2034">75.91319648093841</cx:pt>
          <cx:pt idx="2035">75.943108504398822</cx:pt>
          <cx:pt idx="2036">75.805865102639302</cx:pt>
          <cx:pt idx="2037">75.946041055718467</cx:pt>
          <cx:pt idx="2038">76.103225806451604</cx:pt>
          <cx:pt idx="2039">76.202932551319634</cx:pt>
          <cx:pt idx="2040">76.136070381231661</cx:pt>
          <cx:pt idx="2041">76.160117302052782</cx:pt>
          <cx:pt idx="2042">76.315542521994132</cx:pt>
          <cx:pt idx="2043">76.429325513196488</cx:pt>
          <cx:pt idx="2044">76.391202346041069</cx:pt>
          <cx:pt idx="2045">76.393548387096786</cx:pt>
          <cx:pt idx="2046">76.385923753665708</cx:pt>
          <cx:pt idx="2047">76.212903225806457</cx:pt>
          <cx:pt idx="2048">76.417595307917892</cx:pt>
          <cx:pt idx="2049">76.484457478005865</cx:pt>
          <cx:pt idx="2050">76.580645161290292</cx:pt>
          <cx:pt idx="2051">76.794721407624621</cx:pt>
          <cx:pt idx="2052">76.778885630498536</cx:pt>
          <cx:pt idx="2053">76.738416422287372</cx:pt>
          <cx:pt idx="2054">76.795307917888564</cx:pt>
          <cx:pt idx="2055">76.784164222873898</cx:pt>
          <cx:pt idx="2056">76.794721407624635</cx:pt>
          <cx:pt idx="2057">76.907331378299119</cx:pt>
          <cx:pt idx="2058">76.948387096774198</cx:pt>
          <cx:pt idx="2059">77.012903225806454</cx:pt>
          <cx:pt idx="2060">77.035777126099703</cx:pt>
          <cx:pt idx="2061">76.846920821114367</cx:pt>
          <cx:pt idx="2062">77.008797653958936</cx:pt>
          <cx:pt idx="2063">77.039882697947206</cx:pt>
          <cx:pt idx="2064">77.125513196480924</cx:pt>
          <cx:pt idx="2065">77.130205278592356</cx:pt>
          <cx:pt idx="2066">77.129618768328427</cx:pt>
          <cx:pt idx="2067">77.2950146627566</cx:pt>
          <cx:pt idx="2068">77.148387096774186</cx:pt>
          <cx:pt idx="2069">77.187096774193549</cx:pt>
          <cx:pt idx="2070">77.113782991202356</cx:pt>
          <cx:pt idx="2071">77.075659824046909</cx:pt>
          <cx:pt idx="2072">77.048680351906171</cx:pt>
          <cx:pt idx="2073">77.05865102639298</cx:pt>
          <cx:pt idx="2074">77.060997067448682</cx:pt>
          <cx:pt idx="2075">77.209384164222868</cx:pt>
          <cx:pt idx="2076">77.317302052785934</cx:pt>
          <cx:pt idx="2077">77.273313782991195</cx:pt>
          <cx:pt idx="2078">77.48739002932551</cx:pt>
          <cx:pt idx="2079">77.465102639296177</cx:pt>
          <cx:pt idx="2080">77.517888563049851</cx:pt>
          <cx:pt idx="2081">77.513782991202348</cx:pt>
          <cx:pt idx="2082">77.330791788856317</cx:pt>
          <cx:pt idx="2083">77.176539589442825</cx:pt>
          <cx:pt idx="2084">77.240469208211138</cx:pt>
          <cx:pt idx="2085">77.054545454545448</cx:pt>
          <cx:pt idx="2086">76.980645161290326</cx:pt>
          <cx:pt idx="2087">76.977126099706737</cx:pt>
          <cx:pt idx="2088">76.861583577712594</cx:pt>
          <cx:pt idx="2089">76.897360703812296</cx:pt>
          <cx:pt idx="2090">77.059824046920824</cx:pt>
          <cx:pt idx="2091">76.968328445747801</cx:pt>
          <cx:pt idx="2092">77.026979472140752</cx:pt>
          <cx:pt idx="2093">76.943108504398822</cx:pt>
          <cx:pt idx="2094">76.902639296187672</cx:pt>
          <cx:pt idx="2095">76.795894428152508</cx:pt>
          <cx:pt idx="2096">76.836363636363657</cx:pt>
          <cx:pt idx="2097">76.858651026392977</cx:pt>
          <cx:pt idx="2098">76.693255131964804</cx:pt>
          <cx:pt idx="2099">76.794721407624635</cx:pt>
          <cx:pt idx="2100">76.688563049853357</cx:pt>
          <cx:pt idx="2101">76.76832844574777</cx:pt>
          <cx:pt idx="2102">76.826979472140764</cx:pt>
          <cx:pt idx="2103">76.805865102639288</cx:pt>
          <cx:pt idx="2104">76.751319648093826</cx:pt>
          <cx:pt idx="2105">76.602932551319626</cx:pt>
          <cx:pt idx="2106">76.610557184750718</cx:pt>
          <cx:pt idx="2107">76.523753665689128</cx:pt>
          <cx:pt idx="2108">76.568328445747781</cx:pt>
          <cx:pt idx="2109">76.52903225806449</cx:pt>
          <cx:pt idx="2110">76.442228739002928</cx:pt>
          <cx:pt idx="2111">76.436950146627566</cx:pt>
          <cx:pt idx="2112">76.35073313782992</cx:pt>
          <cx:pt idx="2113">76.519648093841653</cx:pt>
          <cx:pt idx="2114">76.693841642228733</cx:pt>
          <cx:pt idx="2115">76.544281524926689</cx:pt>
          <cx:pt idx="2116">76.594721407624633</cx:pt>
          <cx:pt idx="2117">76.679765395894421</cx:pt>
          <cx:pt idx="2118">76.619941348973597</cx:pt>
          <cx:pt idx="2119">76.65865102639296</cx:pt>
          <cx:pt idx="2120">76.563636363636363</cx:pt>
          <cx:pt idx="2121">76.45689149560117</cx:pt>
          <cx:pt idx="2122">76.511436950146631</cx:pt>
          <cx:pt idx="2123">76.638123167155427</cx:pt>
          <cx:pt idx="2124">76.597067448680363</cx:pt>
          <cx:pt idx="2125">76.636363636363654</cx:pt>
          <cx:pt idx="2126">76.748973607038153</cx:pt>
          <cx:pt idx="2127">76.652785923753683</cx:pt>
          <cx:pt idx="2128">76.609384164222902</cx:pt>
          <cx:pt idx="2129">76.824633431085076</cx:pt>
          <cx:pt idx="2130">76.782991202346068</cx:pt>
          <cx:pt idx="2131">76.736656891495599</cx:pt>
          <cx:pt idx="2132">76.646920821114378</cx:pt>
          <cx:pt idx="2133">76.67390029325513</cx:pt>
          <cx:pt idx="2134">76.725513196480932</cx:pt>
          <cx:pt idx="2135">76.753665689149571</cx:pt>
          <cx:pt idx="2136">76.724340175953074</cx:pt>
          <cx:pt idx="2137">76.757771260997089</cx:pt>
          <cx:pt idx="2138">76.879765395894424</cx:pt>
          <cx:pt idx="2139">76.832258064516125</cx:pt>
          <cx:pt idx="2140">76.678592375366577</cx:pt>
          <cx:pt idx="2141">76.594134897360689</cx:pt>
          <cx:pt idx="2142">76.558357771261001</cx:pt>
          <cx:pt idx="2143">76.646334310850435</cx:pt>
          <cx:pt idx="2144">76.60293255131964</cx:pt>
          <cx:pt idx="2145">76.506158357771255</cx:pt>
          <cx:pt idx="2146">76.711436950146634</cx:pt>
          <cx:pt idx="2147">76.661583577712605</cx:pt>
          <cx:pt idx="2148">76.560703812316717</cx:pt>
          <cx:pt idx="2149">76.715542521994138</cx:pt>
          <cx:pt idx="2150">76.700293255131967</cx:pt>
          <cx:pt idx="2151">76.727859237536649</cx:pt>
          <cx:pt idx="2152">76.659824046920818</cx:pt>
          <cx:pt idx="2153">76.759530791788862</cx:pt>
          <cx:pt idx="2154">76.743108504398819</cx:pt>
          <cx:pt idx="2155">76.886803519061601</cx:pt>
          <cx:pt idx="2156">76.837536656891515</cx:pt>
          <cx:pt idx="2157">76.734310850439883</cx:pt>
          <cx:pt idx="2158">76.709677419354819</cx:pt>
          <cx:pt idx="2159">76.863343108504395</cx:pt>
          <cx:pt idx="2160">76.808797653958933</cx:pt>
          <cx:pt idx="2161">76.734310850439854</cx:pt>
          <cx:pt idx="2162">76.697947214076223</cx:pt>
          <cx:pt idx="2163">76.860997067448665</cx:pt>
          <cx:pt idx="2164">76.883284457478013</cx:pt>
          <cx:pt idx="2165">76.832844574780054</cx:pt>
          <cx:pt idx="2166">76.730791788856294</cx:pt>
          <cx:pt idx="2167">76.738416422287386</cx:pt>
          <cx:pt idx="2168">76.680938416422293</cx:pt>
          <cx:pt idx="2169">76.663343108504392</cx:pt>
          <cx:pt idx="2170">76.832844574780069</cx:pt>
          <cx:pt idx="2171">77.001173020527858</cx:pt>
          <cx:pt idx="2172">77.144868035190584</cx:pt>
          <cx:pt idx="2173">77.043401759530767</cx:pt>
          <cx:pt idx="2174">76.892668621700878</cx:pt>
          <cx:pt idx="2175">76.944281524926694</cx:pt>
          <cx:pt idx="2176">77.053372434017589</cx:pt>
          <cx:pt idx="2177">77.0656891495601</cx:pt>
          <cx:pt idx="2178">77.168914956011719</cx:pt>
          <cx:pt idx="2179">77.199999999999989</cx:pt>
          <cx:pt idx="2180">77.062756598240455</cx:pt>
          <cx:pt idx="2181">76.991202346041035</cx:pt>
          <cx:pt idx="2182">76.880938416422254</cx:pt>
          <cx:pt idx="2183">77.032844574780029</cx:pt>
          <cx:pt idx="2184">76.879765395894424</cx:pt>
          <cx:pt idx="2185">76.713782991202322</cx:pt>
          <cx:pt idx="2186">76.629912023460406</cx:pt>
          <cx:pt idx="2187">76.642815249266846</cx:pt>
          <cx:pt idx="2188">76.563636363636348</cx:pt>
          <cx:pt idx="2189">76.471554252199411</cx:pt>
          <cx:pt idx="2190">76.469208211143695</cx:pt>
          <cx:pt idx="2191">76.43870967741934</cx:pt>
          <cx:pt idx="2192">76.577126099706746</cx:pt>
          <cx:pt idx="2193">76.750733137829926</cx:pt>
          <cx:pt idx="2194">76.728445747800592</cx:pt>
          <cx:pt idx="2195">76.680938416422308</cx:pt>
          <cx:pt idx="2196">76.71671554252201</cx:pt>
          <cx:pt idx="2197">76.85630498533726</cx:pt>
          <cx:pt idx="2198">76.960703812316723</cx:pt>
          <cx:pt idx="2199">76.93782991202346</cx:pt>
          <cx:pt idx="2200">76.844574780058636</cx:pt>
          <cx:pt idx="2201">76.855131964809388</cx:pt>
          <cx:pt idx="2202">76.855718475073317</cx:pt>
          <cx:pt idx="2203">76.876832844574793</cx:pt>
          <cx:pt idx="2204">76.790615835777132</cx:pt>
          <cx:pt idx="2205">76.921994134897346</cx:pt>
          <cx:pt idx="2206">76.753079178885613</cx:pt>
          <cx:pt idx="2207">76.605865102639271</cx:pt>
          <cx:pt idx="2208">76.536070381231653</cx:pt>
          <cx:pt idx="2209">76.479765395894418</cx:pt>
          <cx:pt idx="2210">76.390029325513197</cx:pt>
          <cx:pt idx="2211">76.47859237536656</cx:pt>
          <cx:pt idx="2212">76.555425219941341</cx:pt>
          <cx:pt idx="2213">76.587683284457455</cx:pt>
          <cx:pt idx="2214">76.470381231671539</cx:pt>
          <cx:pt idx="2215">76.625219941348945</cx:pt>
          <cx:pt idx="2216">76.715542521994109</cx:pt>
          <cx:pt idx="2217">76.573607038123157</cx:pt>
          <cx:pt idx="2218">76.648680351906151</cx:pt>
          <cx:pt idx="2219">76.741348973607032</cx:pt>
          <cx:pt idx="2220">76.795894428152508</cx:pt>
          <cx:pt idx="2221">76.730791788856294</cx:pt>
          <cx:pt idx="2222">76.691495601173003</cx:pt>
          <cx:pt idx="2223">76.273900293255124</cx:pt>
          <cx:pt idx="2224">76.299120234604089</cx:pt>
          <cx:pt idx="2225">76.018768328445731</cx:pt>
          <cx:pt idx="2226">76.260410557184727</cx:pt>
          <cx:pt idx="2227">76.148973607038116</cx:pt>
          <cx:pt idx="2228">76.053958944281504</cx:pt>
          <cx:pt idx="2229">76.188856304985322</cx:pt>
          <cx:pt idx="2230">76.368914956011736</cx:pt>
          <cx:pt idx="2231">76.336070381231664</cx:pt>
          <cx:pt idx="2232">76.009970674486794</cx:pt>
          <cx:pt idx="2233">75.556011730205284</cx:pt>
          <cx:pt idx="2234">75.170087976539591</cx:pt>
          <cx:pt idx="2235">75.484457478005865</cx:pt>
          <cx:pt idx="2236">75.366568914956019</cx:pt>
          <cx:pt idx="2237">75.5407624633431</cx:pt>
          <cx:pt idx="2238">75.50674486803517</cx:pt>
          <cx:pt idx="2239">75.195307917888542</cx:pt>
          <cx:pt idx="2240">74.898533724340169</cx:pt>
          <cx:pt idx="2241">74.931378299120212</cx:pt>
          <cx:pt idx="2242">74.591788856304973</cx:pt>
          <cx:pt idx="2243">74.828739002932551</cx:pt>
          <cx:pt idx="2244">74.699120234604095</cx:pt>
          <cx:pt idx="2245">74.920821114369488</cx:pt>
          <cx:pt idx="2246">74.408211143694999</cx:pt>
          <cx:pt idx="2247">73.992961876832837</cx:pt>
          <cx:pt idx="2248">73.845161290322565</cx:pt>
          <cx:pt idx="2249">73.388269794721396</cx:pt>
          <cx:pt idx="2250">73.309677419354841</cx:pt>
          <cx:pt idx="2251">73.045161290322568</cx:pt>
          <cx:pt idx="2252">72.618768328445768</cx:pt>
          <cx:pt idx="2253">37.215835777126102</cx:pt>
          <cx:pt idx="2254">39.626392961876839</cx:pt>
          <cx:pt idx="2255">42.114369501466278</cx:pt>
          <cx:pt idx="2256">44.536656891495603</cx:pt>
          <cx:pt idx="2257">46.955425219941354</cx:pt>
          <cx:pt idx="2258">49.424633431085049</cx:pt>
          <cx:pt idx="2259">51.81348973607038</cx:pt>
          <cx:pt idx="2260">54.250439882697947</cx:pt>
          <cx:pt idx="2261">56.733137829912025</cx:pt>
          <cx:pt idx="2262">59.251612903225805</cx:pt>
          <cx:pt idx="2263">61.616422287390023</cx:pt>
          <cx:pt idx="2264">63.994134897360702</cx:pt>
          <cx:pt idx="2265">66.345454545454544</cx:pt>
          <cx:pt idx="2266">68.769501466275656</cx:pt>
          <cx:pt idx="2267">71.2791788856305</cx:pt>
          <cx:pt idx="2268">73.785337243401756</cx:pt>
          <cx:pt idx="2269">76.276246334310841</cx:pt>
          <cx:pt idx="2270">76.275659824046926</cx:pt>
          <cx:pt idx="2271">76.168914956011704</cx:pt>
          <cx:pt idx="2272">76.138416422287378</cx:pt>
          <cx:pt idx="2273">76.171847507331364</cx:pt>
          <cx:pt idx="2274">76.197653958944258</cx:pt>
          <cx:pt idx="2275">76.370674486803523</cx:pt>
          <cx:pt idx="2276">76.30439882697948</cx:pt>
          <cx:pt idx="2277">76.4592375366569</cx:pt>
          <cx:pt idx="2278">76.59882697947215</cx:pt>
          <cx:pt idx="2279">76.646334310850449</cx:pt>
          <cx:pt idx="2280">76.70791788856306</cx:pt>
          <cx:pt idx="2281">76.672727272727286</cx:pt>
          <cx:pt idx="2282">76.546627565982419</cx:pt>
          <cx:pt idx="2283">76.388856304985353</cx:pt>
          <cx:pt idx="2284">76.338416422287409</cx:pt>
          <cx:pt idx="2285">76.329618768328473</cx:pt>
          <cx:pt idx="2286">76.411143695014673</cx:pt>
          <cx:pt idx="2287">76.344281524926714</cx:pt>
          <cx:pt idx="2288">76.283870967741933</cx:pt>
          <cx:pt idx="2289">76.278005865102642</cx:pt>
          <cx:pt idx="2290">76.250439882697933</cx:pt>
          <cx:pt idx="2291">76.330205278592388</cx:pt>
          <cx:pt idx="2292">76.214076246334315</cx:pt>
          <cx:pt idx="2293">76.113782991202342</cx:pt>
          <cx:pt idx="2294">76.28856304985338</cx:pt>
          <cx:pt idx="2295">76.353665689149551</cx:pt>
          <cx:pt idx="2296">76.358944281524913</cx:pt>
          <cx:pt idx="2297">76.374780058651012</cx:pt>
          <cx:pt idx="2298">76.3607038123167</cx:pt>
          <cx:pt idx="2299">76.374780058651027</cx:pt>
          <cx:pt idx="2300">76.405278592375353</cx:pt>
          <cx:pt idx="2301">76.418768328445736</cx:pt>
          <cx:pt idx="2302">76.538416422287384</cx:pt>
          <cx:pt idx="2303">76.636363636363626</cx:pt>
          <cx:pt idx="2304">76.632844574780052</cx:pt>
          <cx:pt idx="2305">76.50674486803517</cx:pt>
          <cx:pt idx="2306">76.536070381231667</cx:pt>
          <cx:pt idx="2307">76.476832844574773</cx:pt>
          <cx:pt idx="2308">76.402932551319651</cx:pt>
          <cx:pt idx="2309">76.200000000000003</cx:pt>
          <cx:pt idx="2310">76.014662756598241</cx:pt>
          <cx:pt idx="2311">75.972434017595319</cx:pt>
          <cx:pt idx="2312">75.947800586510269</cx:pt>
          <cx:pt idx="2313">75.871554252199431</cx:pt>
          <cx:pt idx="2314">75.890909090909091</cx:pt>
          <cx:pt idx="2315">75.931378299120226</cx:pt>
          <cx:pt idx="2316">75.92492668621702</cx:pt>
          <cx:pt idx="2317">75.920821114369502</cx:pt>
          <cx:pt idx="2318">75.919648093841644</cx:pt>
          <cx:pt idx="2319">76.087976539589462</cx:pt>
          <cx:pt idx="2320">76.002932551319645</cx:pt>
          <cx:pt idx="2321">76.025806451612908</cx:pt>
          <cx:pt idx="2322">75.916715542521985</cx:pt>
          <cx:pt idx="2323">76.08387096774193</cx:pt>
          <cx:pt idx="2324">76.231085043988244</cx:pt>
          <cx:pt idx="2325">76.185923753665676</cx:pt>
          <cx:pt idx="2326">76.10615835777125</cx:pt>
          <cx:pt idx="2327">76.10498533724342</cx:pt>
          <cx:pt idx="2328">76.041642228739008</cx:pt>
          <cx:pt idx="2329">75.980645161290312</cx:pt>
          <cx:pt idx="2330">75.970674486803517</cx:pt>
          <cx:pt idx="2331">75.818181818181827</cx:pt>
          <cx:pt idx="2332">75.766568914956025</cx:pt>
          <cx:pt idx="2333">75.715542521994138</cx:pt>
          <cx:pt idx="2334">75.764222873900295</cx:pt>
          <cx:pt idx="2335">75.679765395894421</cx:pt>
          <cx:pt idx="2336">75.643988269794718</cx:pt>
          <cx:pt idx="2337">75.572434017595299</cx:pt>
          <cx:pt idx="2338">75.522580645161284</cx:pt>
          <cx:pt idx="2339">75.558357771261001</cx:pt>
          <cx:pt idx="2340">75.633431085043981</cx:pt>
          <cx:pt idx="2341">75.68973607038123</cx:pt>
          <cx:pt idx="2342">75.690909090909074</cx:pt>
          <cx:pt idx="2343">75.675073313782974</cx:pt>
          <cx:pt idx="2344">75.872727272727289</cx:pt>
          <cx:pt idx="2345">75.879178885630509</cx:pt>
          <cx:pt idx="2346">75.967155425219943</cx:pt>
          <cx:pt idx="2347">76.094428152492668</cx:pt>
          <cx:pt idx="2348">76.095014662756611</cx:pt>
          <cx:pt idx="2349">76.194134897360712</cx:pt>
          <cx:pt idx="2350">76.219941348973592</cx:pt>
          <cx:pt idx="2351">76.304985337243423</cx:pt>
          <cx:pt idx="2352">76.364222873900303</cx:pt>
          <cx:pt idx="2353">76.415249266862162</cx:pt>
          <cx:pt idx="2354">76.288563049853366</cx:pt>
          <cx:pt idx="2355">76.114369501466257</cx:pt>
          <cx:pt idx="2356">76.059824046920795</cx:pt>
          <cx:pt idx="2357">76.101466275659803</cx:pt>
          <cx:pt idx="2358">76.214662756598216</cx:pt>
          <cx:pt idx="2359">76.372434017595296</cx:pt>
          <cx:pt idx="2360">76.334310850439877</cx:pt>
          <cx:pt idx="2361">76.301466275659848</cx:pt>
          <cx:pt idx="2362">76.424046920821127</cx:pt>
          <cx:pt idx="2363">76.42815249266863</cx:pt>
          <cx:pt idx="2364">76.447507331378304</cx:pt>
          <cx:pt idx="2365">76.428739002932545</cx:pt>
          <cx:pt idx="2366">76.451612903225808</cx:pt>
          <cx:pt idx="2367">76.560117302052774</cx:pt>
          <cx:pt idx="2368">76.440469208211127</cx:pt>
          <cx:pt idx="2369">76.554838709677398</cx:pt>
          <cx:pt idx="2370">76.487390029325525</cx:pt>
          <cx:pt idx="2371">76.52242424242425</cx:pt>
          <cx:pt idx="2372">76.55360501567398</cx:pt>
          <cx:pt idx="2373">76.605194805194813</cx:pt>
          <cx:pt idx="2374">76.622222222222234</cx:pt>
          <cx:pt idx="2375">76.511188811188816</cx:pt>
          <cx:pt idx="2376">76.538181818181826</cx:pt>
          <cx:pt idx="2377">76.528787878787881</cx:pt>
          <cx:pt idx="2378">76.456126482213435</cx:pt>
          <cx:pt idx="2379">76.315702479338839</cx:pt>
          <cx:pt idx="2380">76.328138528138538</cx:pt>
          <cx:pt idx="2381">76.188181818181818</cx:pt>
          <cx:pt idx="2382">76.178947368421063</cx:pt>
          <cx:pt idx="2383">76.203030303030303</cx:pt>
          <cx:pt idx="2384">76.202139037433156</cx:pt>
          <cx:pt idx="2385">76.301136363636374</cx:pt>
          <cx:pt idx="2386">76.446060606060612</cx:pt>
          <cx:pt idx="2387">76.503896103896096</cx:pt>
          <cx:pt idx="2388">76.654545454545456</cx:pt>
          <cx:pt idx="2389">76.665151515151521</cx:pt>
          <cx:pt idx="2390">76.492561983471063</cx:pt>
          <cx:pt idx="2391">76.712727272727264</cx:pt>
          <cx:pt idx="2392">76.703030303030289</cx:pt>
          <cx:pt idx="2393">76.636363636363626</cx:pt>
          <cx:pt idx="2394">76.605194805194813</cx:pt>
          <cx:pt idx="2395">76.548484848484861</cx:pt>
          <cx:pt idx="2396">76.167272727272717</cx:pt>
          <cx:pt idx="2397">76.295454545454533</cx:pt>
          <cx:pt idx="2398">76.066666666666663</cx:pt>
          <cx:pt idx="2399">77.11818181818181</cx:pt>
          <cx:pt idx="2400">76.290909090909082</cx:pt>
        </cx:lvl>
      </cx:numDim>
    </cx:data>
  </cx:chartData>
  <cx:chart>
    <cx:title pos="t" align="ctr" overlay="0">
      <cx:tx>
        <cx:rich>
          <a:bodyPr spcFirstLastPara="1" vertOverflow="ellipsis" horzOverflow="overflow" wrap="square" lIns="0" tIns="0" rIns="0" bIns="0" anchor="ctr" anchorCtr="1"/>
          <a:lstStyle/>
          <a:p>
            <a:pPr rtl="0">
              <a:defRPr sz="1200" b="1">
                <a:solidFill>
                  <a:schemeClr val="bg1"/>
                </a:solidFill>
                <a:latin typeface="Arial" panose="020B0604020202020204" pitchFamily="34" charset="0"/>
                <a:ea typeface="Arial" panose="020B0604020202020204" pitchFamily="34" charset="0"/>
                <a:cs typeface="Arial" panose="020B0604020202020204" pitchFamily="34" charset="0"/>
              </a:defRPr>
            </a:pPr>
            <a:r>
              <a:rPr lang="en-US" sz="1200" b="1" i="0" baseline="0">
                <a:solidFill>
                  <a:schemeClr val="bg1"/>
                </a:solidFill>
                <a:effectLst/>
                <a:latin typeface="Arial" panose="020B0604020202020204" pitchFamily="34" charset="0"/>
                <a:cs typeface="Arial" panose="020B0604020202020204" pitchFamily="34" charset="0"/>
              </a:rPr>
              <a:t>DRT Rolling Mean (Pump Failure=0)</a:t>
            </a:r>
            <a:endParaRPr lang="en-US" sz="1200" b="1">
              <a:solidFill>
                <a:schemeClr val="bg1"/>
              </a:solidFill>
              <a:effectLst/>
              <a:latin typeface="Arial" panose="020B0604020202020204" pitchFamily="34" charset="0"/>
              <a:cs typeface="Arial" panose="020B0604020202020204" pitchFamily="34" charset="0"/>
            </a:endParaRPr>
          </a:p>
        </cx:rich>
      </cx:tx>
      <cx:spPr>
        <a:solidFill>
          <a:schemeClr val="accent1">
            <a:lumMod val="50000"/>
          </a:schemeClr>
        </a:solidFill>
      </cx:spPr>
    </cx:title>
    <cx:plotArea>
      <cx:plotAreaRegion>
        <cx:series layoutId="boxWhisker" uniqueId="{66FD3DDA-3692-4D50-8B3B-01F97FFBC377}">
          <cx:tx>
            <cx:txData>
              <cx:f>Sheet2!$A$2460</cx:f>
              <cx:v>Volumetric Flow Meter 1</cx:v>
            </cx:txData>
          </cx:tx>
          <cx:dataId val="0"/>
          <cx:layoutPr>
            <cx:visibility meanLine="0" meanMarker="1" nonoutliers="0" outliers="1"/>
            <cx:statistics quartileMethod="exclusive"/>
          </cx:layoutPr>
        </cx:series>
        <cx:series layoutId="boxWhisker" uniqueId="{16283D91-95F1-4AC7-90F2-5495F8E3CF89}">
          <cx:tx>
            <cx:txData>
              <cx:f>Sheet2!$B$2460</cx:f>
              <cx:v>Volumetric Flow Meter 2</cx:v>
            </cx:txData>
          </cx:tx>
          <cx:dataId val="1"/>
          <cx:layoutPr>
            <cx:visibility meanLine="0" meanMarker="1" nonoutliers="0" outliers="1"/>
            <cx:statistics quartileMethod="exclusive"/>
          </cx:layoutPr>
        </cx:series>
        <cx:series layoutId="boxWhisker" uniqueId="{EBA57C32-1E4C-4B4C-9359-C9581C3AA3B9}">
          <cx:tx>
            <cx:txData>
              <cx:f>Sheet2!$C$2460</cx:f>
              <cx:v>Pump Speed (RPM)</cx:v>
            </cx:txData>
          </cx:tx>
          <cx:dataId val="2"/>
          <cx:layoutPr>
            <cx:visibility meanLine="0" meanMarker="1" nonoutliers="0" outliers="1"/>
            <cx:statistics quartileMethod="exclusive"/>
          </cx:layoutPr>
        </cx:series>
        <cx:series layoutId="boxWhisker" uniqueId="{F7DD1930-FA52-4652-BFE4-54A33560E54F}">
          <cx:tx>
            <cx:txData>
              <cx:f>Sheet2!$D$2460</cx:f>
              <cx:v>Pump Torque </cx:v>
            </cx:txData>
          </cx:tx>
          <cx:dataId val="3"/>
          <cx:layoutPr>
            <cx:visibility meanLine="0" meanMarker="1" nonoutliers="0" outliers="1"/>
            <cx:statistics quartileMethod="exclusive"/>
          </cx:layoutPr>
        </cx:series>
        <cx:series layoutId="boxWhisker" uniqueId="{7A4B581B-C9AB-4F29-AA71-F1565C5FDBC6}">
          <cx:tx>
            <cx:txData>
              <cx:f>Sheet2!$E$2460</cx:f>
              <cx:v>Ambient Temperature</cx:v>
            </cx:txData>
          </cx:tx>
          <cx:dataId val="4"/>
          <cx:layoutPr>
            <cx:visibility meanLine="0" meanMarker="1" nonoutliers="0" outliers="1"/>
            <cx:statistics quartileMethod="exclusive"/>
          </cx:layoutPr>
        </cx:series>
        <cx:series layoutId="boxWhisker" uniqueId="{4D9A4913-FAD7-48E3-8854-81DB304CAD6E}">
          <cx:tx>
            <cx:txData>
              <cx:f>Sheet2!$F$2460</cx:f>
              <cx:v>Horse Power</cx:v>
            </cx:txData>
          </cx:tx>
          <cx:dataId val="5"/>
          <cx:layoutPr>
            <cx:visibility meanLine="0" meanMarker="1" nonoutliers="0" outliers="1"/>
            <cx:statistics quartileMethod="exclusive"/>
          </cx:layoutPr>
        </cx:series>
        <cx:series layoutId="boxWhisker" uniqueId="{FBA4303D-E7C4-4F2D-928A-838AC3C0DE58}">
          <cx:tx>
            <cx:txData>
              <cx:f>Sheet2!$G$2460</cx:f>
              <cx:v>Pump Efficiency</cx:v>
            </cx:txData>
          </cx:tx>
          <cx:dataId val="6"/>
          <cx:layoutPr>
            <cx:visibility meanLine="0" meanMarker="1" nonoutliers="0" outliers="1"/>
            <cx:statistics quartileMethod="exclusive"/>
          </cx:layoutPr>
        </cx:series>
      </cx:plotAreaRegion>
      <cx:axis id="0" hidden="1">
        <cx:catScaling gapWidth="1"/>
        <cx:tickLabels/>
        <cx:txPr>
          <a:bodyPr spcFirstLastPara="1" vertOverflow="ellipsis" horzOverflow="overflow" wrap="square" lIns="0" tIns="0" rIns="0" bIns="0" anchor="ctr" anchorCtr="1"/>
          <a:lstStyle/>
          <a:p>
            <a:pPr algn="ctr" rtl="0">
              <a:defRPr/>
            </a:pPr>
            <a:endParaRPr lang="en-US" sz="900" b="0" i="0" u="none" strike="noStrike" baseline="0">
              <a:solidFill>
                <a:srgbClr val="000000">
                  <a:lumMod val="65000"/>
                  <a:lumOff val="35000"/>
                </a:srgbClr>
              </a:solidFill>
              <a:latin typeface="Arial"/>
              <a:ea typeface="ＭＳ Ｐゴシック"/>
            </a:endParaRPr>
          </a:p>
        </cx:txPr>
      </cx:axis>
      <cx:axis id="1">
        <cx:valScaling/>
        <cx:majorGridlines>
          <cx:spPr>
            <a:ln>
              <a:noFill/>
            </a:ln>
          </cx:spPr>
        </cx:majorGridlines>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heet2!$A$4864:$A$4915</cx:f>
        <cx:lvl ptCount="52" formatCode="#,##0.00">
          <cx:pt idx="0">39.913870967741936</cx:pt>
          <cx:pt idx="1">40.062258064516129</cx:pt>
          <cx:pt idx="2">40.114838709677414</cx:pt>
          <cx:pt idx="3">40.329354838709669</cx:pt>
          <cx:pt idx="4">40.317419354838705</cx:pt>
          <cx:pt idx="5">40.364193548387092</cx:pt>
          <cx:pt idx="6">40.219999999999999</cx:pt>
          <cx:pt idx="7">39.964193548387101</cx:pt>
          <cx:pt idx="8">39.702258064516137</cx:pt>
          <cx:pt idx="9">39.594838709677425</cx:pt>
          <cx:pt idx="10">39.562258064516136</cx:pt>
          <cx:pt idx="11">39.539999999999999</cx:pt>
          <cx:pt idx="12">39.509032258064515</cx:pt>
          <cx:pt idx="13">39.207096774193552</cx:pt>
          <cx:pt idx="14">39.008387096774186</cx:pt>
          <cx:pt idx="15">38.766129032258057</cx:pt>
          <cx:pt idx="16">38.671935483870968</cx:pt>
          <cx:pt idx="17">38.686129032258059</cx:pt>
          <cx:pt idx="18">38.656774193548387</cx:pt>
          <cx:pt idx="19">38.531612903225806</cx:pt>
          <cx:pt idx="20">38.483225806451607</cx:pt>
          <cx:pt idx="21">38.206451612903216</cx:pt>
          <cx:pt idx="22">36.960645161290316</cx:pt>
          <cx:pt idx="23">35.497096774193544</cx:pt>
          <cx:pt idx="24">34.36677419354838</cx:pt>
          <cx:pt idx="25">33.237419354838707</cx:pt>
          <cx:pt idx="26">32.027419354838713</cx:pt>
          <cx:pt idx="27">30.880967741935489</cx:pt>
          <cx:pt idx="28">29.557419354838718</cx:pt>
          <cx:pt idx="29">28.381935483870972</cx:pt>
          <cx:pt idx="30">27.249032258064521</cx:pt>
          <cx:pt idx="31">25.935161290322579</cx:pt>
          <cx:pt idx="32">24.615161290322582</cx:pt>
          <cx:pt idx="33">23.140645161290323</cx:pt>
          <cx:pt idx="34">21.673225806451615</cx:pt>
          <cx:pt idx="35">20.223870967741938</cx:pt>
          <cx:pt idx="36">18.884193548387099</cx:pt>
          <cx:pt idx="37">17.684838709677418</cx:pt>
          <cx:pt idx="38">17.801935483870967</cx:pt>
          <cx:pt idx="39">17.957096774193552</cx:pt>
          <cx:pt idx="40">18.107741935483872</cx:pt>
          <cx:pt idx="41">18.297741935483867</cx:pt>
          <cx:pt idx="42">18.507096774193549</cx:pt>
          <cx:pt idx="43">18.764193548387098</cx:pt>
          <cx:pt idx="44">18.919032258064515</cx:pt>
          <cx:pt idx="45">19.112580645161291</cx:pt>
          <cx:pt idx="46">19.274193548387096</cx:pt>
          <cx:pt idx="47">19.47258064516129</cx:pt>
          <cx:pt idx="48">19.545483870967736</cx:pt>
          <cx:pt idx="49">19.804516129032258</cx:pt>
          <cx:pt idx="50">19.907419354838709</cx:pt>
          <cx:pt idx="51">20.160322580645161</cx:pt>
        </cx:lvl>
      </cx:numDim>
    </cx:data>
    <cx:data id="1">
      <cx:numDim type="val">
        <cx:f>Sheet2!$B$4864:$B$4915</cx:f>
        <cx:lvl ptCount="52" formatCode="#,##0.00">
          <cx:pt idx="0">40.378064516129037</cx:pt>
          <cx:pt idx="1">40.417096774193546</cx:pt>
          <cx:pt idx="2">40.458387096774196</cx:pt>
          <cx:pt idx="3">40.631290322580654</cx:pt>
          <cx:pt idx="4">40.317419354838712</cx:pt>
          <cx:pt idx="5">40.222258064516133</cx:pt>
          <cx:pt idx="6">40.155161290322589</cx:pt>
          <cx:pt idx="7">40.021612903225801</cx:pt>
          <cx:pt idx="8">39.927096774193544</cx:pt>
          <cx:pt idx="9">39.772580645161284</cx:pt>
          <cx:pt idx="10">39.548387096774185</cx:pt>
          <cx:pt idx="11">39.289677419354831</cx:pt>
          <cx:pt idx="12">38.940967741935481</cx:pt>
          <cx:pt idx="13">38.942580645161286</cx:pt>
          <cx:pt idx="14">38.714516129032255</cx:pt>
          <cx:pt idx="15">38.662580645161292</cx:pt>
          <cx:pt idx="16">38.505483870967744</cx:pt>
          <cx:pt idx="17">38.504838709677422</cx:pt>
          <cx:pt idx="18">38.539032258064523</cx:pt>
          <cx:pt idx="19">38.372580645161285</cx:pt>
          <cx:pt idx="20">38.285161290322577</cx:pt>
          <cx:pt idx="21">38.171290322580646</cx:pt>
          <cx:pt idx="22">36.985806451612902</cx:pt>
          <cx:pt idx="23">35.563870967741934</cx:pt>
          <cx:pt idx="24">34.410000000000004</cx:pt>
          <cx:pt idx="25">33.206129032258069</cx:pt>
          <cx:pt idx="26">31.753225806451614</cx:pt>
          <cx:pt idx="27">30.397419354838711</cx:pt>
          <cx:pt idx="28">29.000322580645165</cx:pt>
          <cx:pt idx="29">27.675483870967739</cx:pt>
          <cx:pt idx="30">26.269354838709678</cx:pt>
          <cx:pt idx="31">25.062903225806448</cx:pt>
          <cx:pt idx="32">23.877096774193546</cx:pt>
          <cx:pt idx="33">22.622580645161285</cx:pt>
          <cx:pt idx="34">21.262258064516129</cx:pt>
          <cx:pt idx="35">20.105483870967738</cx:pt>
          <cx:pt idx="36">18.894516129032255</cx:pt>
          <cx:pt idx="37">17.719677419354838</cx:pt>
          <cx:pt idx="38">17.88967741935484</cx:pt>
          <cx:pt idx="39">18.09225806451613</cx:pt>
          <cx:pt idx="40">18.239032258064519</cx:pt>
          <cx:pt idx="41">18.373870967741937</cx:pt>
          <cx:pt idx="42">18.58258064516129</cx:pt>
          <cx:pt idx="43">18.758709677419354</cx:pt>
          <cx:pt idx="44">18.963225806451611</cx:pt>
          <cx:pt idx="45">19.083548387096776</cx:pt>
          <cx:pt idx="46">19.273548387096771</cx:pt>
          <cx:pt idx="47">19.472258064516129</cx:pt>
          <cx:pt idx="48">19.59225806451613</cx:pt>
          <cx:pt idx="49">19.80290322580645</cx:pt>
          <cx:pt idx="50">20.085161290322585</cx:pt>
          <cx:pt idx="51">20.3441935483871</cx:pt>
        </cx:lvl>
      </cx:numDim>
    </cx:data>
    <cx:data id="2">
      <cx:numDim type="val">
        <cx:f>Sheet2!$C$4864:$C$4915</cx:f>
        <cx:lvl ptCount="52" formatCode="#,##0.00">
          <cx:pt idx="0">105.87096774193549</cx:pt>
          <cx:pt idx="1">105.61290322580645</cx:pt>
          <cx:pt idx="2">105.61290322580645</cx:pt>
          <cx:pt idx="3">105.45161290322581</cx:pt>
          <cx:pt idx="4">105.45161290322581</cx:pt>
          <cx:pt idx="5">105.41935483870968</cx:pt>
          <cx:pt idx="6">105.19354838709677</cx:pt>
          <cx:pt idx="7">105.3225806451613</cx:pt>
          <cx:pt idx="8">105.61290322580645</cx:pt>
          <cx:pt idx="9">105.80645161290323</cx:pt>
          <cx:pt idx="10">105.80645161290323</cx:pt>
          <cx:pt idx="11">106.16129032258064</cx:pt>
          <cx:pt idx="12">106.51612903225806</cx:pt>
          <cx:pt idx="13">106.90322580645162</cx:pt>
          <cx:pt idx="14">107.2258064516129</cx:pt>
          <cx:pt idx="15">107.54838709677419</cx:pt>
          <cx:pt idx="16">107.87096774193549</cx:pt>
          <cx:pt idx="17">108.25806451612904</cx:pt>
          <cx:pt idx="18">108.90322580645162</cx:pt>
          <cx:pt idx="19">109.2258064516129</cx:pt>
          <cx:pt idx="20">109.93548387096774</cx:pt>
          <cx:pt idx="21">110.54838709677419</cx:pt>
          <cx:pt idx="22">107.2258064516129</cx:pt>
          <cx:pt idx="23">103.51612903225806</cx:pt>
          <cx:pt idx="24">100.29032258064517</cx:pt>
          <cx:pt idx="25">96.612903225806448</cx:pt>
          <cx:pt idx="26">93.354838709677423</cx:pt>
          <cx:pt idx="27">90</cx:pt>
          <cx:pt idx="28">86.709677419354833</cx:pt>
          <cx:pt idx="29">83.41935483870968</cx:pt>
          <cx:pt idx="30">80.225806451612897</cx:pt>
          <cx:pt idx="31">76.709677419354833</cx:pt>
          <cx:pt idx="32">73.483870967741936</cx:pt>
          <cx:pt idx="33">69.838709677419359</cx:pt>
          <cx:pt idx="34">66.387096774193552</cx:pt>
          <cx:pt idx="35">63.161290322580648</cx:pt>
          <cx:pt idx="36">59.70967741935484</cx:pt>
          <cx:pt idx="37">56.354838709677416</cx:pt>
          <cx:pt idx="38">55.87096774193548</cx:pt>
          <cx:pt idx="39">55.193548387096776</cx:pt>
          <cx:pt idx="40">54.774193548387096</cx:pt>
          <cx:pt idx="41">54.451612903225808</cx:pt>
          <cx:pt idx="42">53.645161290322584</cx:pt>
          <cx:pt idx="43">52.87096774193548</cx:pt>
          <cx:pt idx="44">52.258064516129032</cx:pt>
          <cx:pt idx="45">51.064516129032256</cx:pt>
          <cx:pt idx="46">49.935483870967744</cx:pt>
          <cx:pt idx="47">49.032258064516128</cx:pt>
          <cx:pt idx="48">47.87096774193548</cx:pt>
          <cx:pt idx="49">46.87096774193548</cx:pt>
          <cx:pt idx="50">45.58064516129032</cx:pt>
          <cx:pt idx="51">44.548387096774192</cx:pt>
        </cx:lvl>
      </cx:numDim>
    </cx:data>
    <cx:data id="3">
      <cx:numDim type="val">
        <cx:f>Sheet2!$D$4864:$D$4915</cx:f>
        <cx:lvl ptCount="52" formatCode="#,##0.00">
          <cx:pt idx="0">235.19354838709677</cx:pt>
          <cx:pt idx="1">235.54838709677421</cx:pt>
          <cx:pt idx="2">235.93548387096774</cx:pt>
          <cx:pt idx="3">236.19354838709677</cx:pt>
          <cx:pt idx="4">236.19354838709677</cx:pt>
          <cx:pt idx="5">236.25806451612902</cx:pt>
          <cx:pt idx="6">236.48387096774192</cx:pt>
          <cx:pt idx="7">236.06451612903226</cx:pt>
          <cx:pt idx="8">235.67741935483872</cx:pt>
          <cx:pt idx="9">236.09677419354838</cx:pt>
          <cx:pt idx="10">236.06451612903226</cx:pt>
          <cx:pt idx="11">236.06451612903226</cx:pt>
          <cx:pt idx="12">236.29032258064515</cx:pt>
          <cx:pt idx="13">236.29032258064515</cx:pt>
          <cx:pt idx="14">236.80645161290323</cx:pt>
          <cx:pt idx="15">237.12903225806451</cx:pt>
          <cx:pt idx="16">237.41935483870967</cx:pt>
          <cx:pt idx="17">237.7741935483871</cx:pt>
          <cx:pt idx="18">238.19354838709677</cx:pt>
          <cx:pt idx="19">238.48387096774192</cx:pt>
          <cx:pt idx="20">239.09677419354838</cx:pt>
          <cx:pt idx="21">240.45161290322579</cx:pt>
          <cx:pt idx="22">232.67741935483872</cx:pt>
          <cx:pt idx="23">225.29032258064515</cx:pt>
          <cx:pt idx="24">217.67741935483872</cx:pt>
          <cx:pt idx="25">209.70967741935485</cx:pt>
          <cx:pt idx="26">202.03225806451613</cx:pt>
          <cx:pt idx="27">194.61290322580646</cx:pt>
          <cx:pt idx="28">187.48387096774192</cx:pt>
          <cx:pt idx="29">180</cx:pt>
          <cx:pt idx="30">172.83870967741936</cx:pt>
          <cx:pt idx="31">165.35483870967741</cx:pt>
          <cx:pt idx="32">157.45161290322579</cx:pt>
          <cx:pt idx="33">149.93548387096774</cx:pt>
          <cx:pt idx="34">141.90322580645162</cx:pt>
          <cx:pt idx="35">133.87096774193549</cx:pt>
          <cx:pt idx="36">126.19354838709677</cx:pt>
          <cx:pt idx="37">118.45161290322581</cx:pt>
          <cx:pt idx="38">116.83870967741936</cx:pt>
          <cx:pt idx="39">115.12903225806451</cx:pt>
          <cx:pt idx="40">114.12903225806451</cx:pt>
          <cx:pt idx="41">112.96774193548387</cx:pt>
          <cx:pt idx="42">112.45161290322581</cx:pt>
          <cx:pt idx="43">110.70967741935483</cx:pt>
          <cx:pt idx="44">109</cx:pt>
          <cx:pt idx="45">107.61290322580645</cx:pt>
          <cx:pt idx="46">105.51612903225806</cx:pt>
          <cx:pt idx="47">104.3225806451613</cx:pt>
          <cx:pt idx="48">102.96774193548387</cx:pt>
          <cx:pt idx="49">102.03225806451613</cx:pt>
          <cx:pt idx="50">100.90322580645162</cx:pt>
          <cx:pt idx="51">98.322580645161295</cx:pt>
        </cx:lvl>
      </cx:numDim>
    </cx:data>
    <cx:data id="4">
      <cx:numDim type="val">
        <cx:f>Sheet2!$E$4864:$E$4915</cx:f>
        <cx:lvl ptCount="52" formatCode="#,##0.00">
          <cx:pt idx="0">56.451612903225808</cx:pt>
          <cx:pt idx="1">56.483870967741936</cx:pt>
          <cx:pt idx="2">56.58064516129032</cx:pt>
          <cx:pt idx="3">56.58064516129032</cx:pt>
          <cx:pt idx="4">56.677419354838712</cx:pt>
          <cx:pt idx="5">56.774193548387096</cx:pt>
          <cx:pt idx="6">56.741935483870968</cx:pt>
          <cx:pt idx="7">56.741935483870968</cx:pt>
          <cx:pt idx="8">56.70967741935484</cx:pt>
          <cx:pt idx="9">56.741935483870968</cx:pt>
          <cx:pt idx="10">56.677419354838712</cx:pt>
          <cx:pt idx="11">56.774193548387096</cx:pt>
          <cx:pt idx="12">56.935483870967744</cx:pt>
          <cx:pt idx="13">57.225806451612904</cx:pt>
          <cx:pt idx="14">57.41935483870968</cx:pt>
          <cx:pt idx="15">57.70967741935484</cx:pt>
          <cx:pt idx="16">57.774193548387096</cx:pt>
          <cx:pt idx="17">57.87096774193548</cx:pt>
          <cx:pt idx="18">58.161290322580648</cx:pt>
          <cx:pt idx="19">58.193548387096776</cx:pt>
          <cx:pt idx="20">58.41935483870968</cx:pt>
          <cx:pt idx="21">58.58064516129032</cx:pt>
          <cx:pt idx="22">56.774193548387096</cx:pt>
          <cx:pt idx="23">54.903225806451616</cx:pt>
          <cx:pt idx="24">53.161290322580648</cx:pt>
          <cx:pt idx="25">51.258064516129032</cx:pt>
          <cx:pt idx="26">49.354838709677416</cx:pt>
          <cx:pt idx="27">47.451612903225808</cx:pt>
          <cx:pt idx="28">45.645161290322584</cx:pt>
          <cx:pt idx="29">43.903225806451616</cx:pt>
          <cx:pt idx="30">42.12903225806452</cx:pt>
          <cx:pt idx="31">40.354838709677416</cx:pt>
          <cx:pt idx="32">38.483870967741936</cx:pt>
          <cx:pt idx="33">36.645161290322584</cx:pt>
          <cx:pt idx="34">34.741935483870968</cx:pt>
          <cx:pt idx="35">32.838709677419352</cx:pt>
          <cx:pt idx="36">30.93548387096774</cx:pt>
          <cx:pt idx="37">29.06451612903226</cx:pt>
          <cx:pt idx="38">28.70967741935484</cx:pt>
          <cx:pt idx="39">28.387096774193548</cx:pt>
          <cx:pt idx="40">28.225806451612904</cx:pt>
          <cx:pt idx="41">27.967741935483872</cx:pt>
          <cx:pt idx="42">27.870967741935484</cx:pt>
          <cx:pt idx="43">27.70967741935484</cx:pt>
          <cx:pt idx="44">27.258064516129032</cx:pt>
          <cx:pt idx="45">26.64516129032258</cx:pt>
          <cx:pt idx="46">26.06451612903226</cx:pt>
          <cx:pt idx="47">25.806451612903224</cx:pt>
          <cx:pt idx="48">25.387096774193548</cx:pt>
          <cx:pt idx="49">24.967741935483872</cx:pt>
          <cx:pt idx="50">24.677419354838708</cx:pt>
          <cx:pt idx="51">24.129032258064516</cx:pt>
        </cx:lvl>
      </cx:numDim>
    </cx:data>
    <cx:data id="5">
      <cx:numDim type="val">
        <cx:f>Sheet2!$F$4864:$F$4915</cx:f>
        <cx:lvl ptCount="52" formatCode="#,##0.00">
          <cx:pt idx="0">4.7414932560253549</cx:pt>
          <cx:pt idx="1">4.7367515907918341</cx:pt>
          <cx:pt idx="2">4.7450802152175511</cx:pt>
          <cx:pt idx="3">4.7429366385770093</cx:pt>
          <cx:pt idx="4">4.7429366385770102</cx:pt>
          <cx:pt idx="5">4.742801513401961</cx:pt>
          <cx:pt idx="6">4.7372552391715601</cx:pt>
          <cx:pt idx="7">4.734374616121662</cx:pt>
          <cx:pt idx="8">4.7398103333906594</cx:pt>
          <cx:pt idx="9">4.7570142249956993</cx:pt>
          <cx:pt idx="10">4.7563508832272801</cx:pt>
          <cx:pt idx="11">4.772295653883007</cx:pt>
          <cx:pt idx="12">4.792601282460752</cx:pt>
          <cx:pt idx="13">4.8540463847873614</cx:pt>
          <cx:pt idx="14">4.9228650222342321</cx:pt>
          <cx:pt idx="15">4.994333955728079</cx:pt>
          <cx:pt idx="16">5.0619641058398637</cx:pt>
          <cx:pt idx="17">5.1338691251259103</cx:pt>
          <cx:pt idx="18">5.2181672726826021</cx:pt>
          <cx:pt idx="19">5.2824745718988773</cx:pt>
          <cx:pt idx="20">5.3777884922487278</cx:pt>
          <cx:pt idx="21">5.4826333439795585</cx:pt>
          <cx:pt idx="22">5.3301691521509458</cx:pt>
          <cx:pt idx="23">5.1684181755644536</cx:pt>
          <cx:pt idx="24">5.0234657150578572</cx:pt>
          <cx:pt idx="25">4.8505177751025705</cx:pt>
          <cx:pt idx="26">4.7028750952018266</cx:pt>
          <cx:pt idx="27">4.5559571776036147</cx:pt>
          <cx:pt idx="28">4.4175030096061709</cx:pt>
          <cx:pt idx="29">4.272157457681252</cx:pt>
          <cx:pt idx="30">4.1371674078077776</cx:pt>
          <cx:pt idx="31">3.9818471611429138</cx:pt>
          <cx:pt idx="32">3.8313668525661506</cx:pt>
          <cx:pt idx="33">3.6696527283001252</cx:pt>
          <cx:pt idx="34">3.5060099992629543</cx:pt>
          <cx:pt idx="35">3.353072869321672</cx:pt>
          <cx:pt idx="36">3.1966593371495962</cx:pt>
          <cx:pt idx="37">3.0433536840036362</cx:pt>
          <cx:pt idx="38">2.9914226224111244</cx:pt>
          <cx:pt idx="39">2.9323974891285656</cx:pt>
          <cx:pt idx="40">2.8945931503820361</cx:pt>
          <cx:pt idx="41">2.8582444782939835</cx:pt>
          <cx:pt idx="42">2.8132600791096478</cx:pt>
          <cx:pt idx="43">2.7487685182910346</cx:pt>
          <cx:pt idx="44">2.6452564921504558</cx:pt>
          <cx:pt idx="45">2.5260238803036641</cx:pt>
          <cx:pt idx="46">2.3867159668820488</cx:pt>
          <cx:pt idx="47">2.276472250202688</cx:pt>
          <cx:pt idx="48">2.1531336756504431</cx:pt>
          <cx:pt idx="49">2.0441813257008081</cx:pt>
          <cx:pt idx="50">1.9250869100557697</cx:pt>
          <cx:pt idx="51">1.7815640124806524</cx:pt>
        </cx:lvl>
      </cx:numDim>
    </cx:data>
    <cx:data id="6">
      <cx:numDim type="val">
        <cx:f>Sheet2!$G$4864:$G$4915</cx:f>
        <cx:lvl ptCount="52" formatCode="#,##0.00">
          <cx:pt idx="0">72.570674486803526</cx:pt>
          <cx:pt idx="1">72.840469208211161</cx:pt>
          <cx:pt idx="2">72.936070381231687</cx:pt>
          <cx:pt idx="3">73.32609970674487</cx:pt>
          <cx:pt idx="4">73.304398826979465</cx:pt>
          <cx:pt idx="5">73.389442815249254</cx:pt>
          <cx:pt idx="6">73.127272727272725</cx:pt>
          <cx:pt idx="7">72.662170087976534</cx:pt>
          <cx:pt idx="8">72.185923753665691</cx:pt>
          <cx:pt idx="9">71.99061583577712</cx:pt>
          <cx:pt idx="10">71.93137829912024</cx:pt>
          <cx:pt idx="11">71.890909090909091</cx:pt>
          <cx:pt idx="12">71.834604105571856</cx:pt>
          <cx:pt idx="13">71.28563049853372</cx:pt>
          <cx:pt idx="14">70.924340175953077</cx:pt>
          <cx:pt idx="15">70.483870967741936</cx:pt>
          <cx:pt idx="16">70.312609970674487</cx:pt>
          <cx:pt idx="17">70.338416422287381</cx:pt>
          <cx:pt idx="18">70.285043988269791</cx:pt>
          <cx:pt idx="19">70.057478005865079</cx:pt>
          <cx:pt idx="20">69.969501466275645</cx:pt>
          <cx:pt idx="21">69.466275659824035</cx:pt>
          <cx:pt idx="22">67.201173020527847</cx:pt>
          <cx:pt idx="23">64.540175953079171</cx:pt>
          <cx:pt idx="24">62.485043988269794</cx:pt>
          <cx:pt idx="25">60.431671554252205</cx:pt>
          <cx:pt idx="26">58.231671554252209</cx:pt>
          <cx:pt idx="27">56.14721407624635</cx:pt>
          <cx:pt idx="28">53.74076246334311</cx:pt>
          <cx:pt idx="29">51.603519061583576</cx:pt>
          <cx:pt idx="30">49.543695014662759</cx:pt>
          <cx:pt idx="31">47.154838709677428</cx:pt>
          <cx:pt idx="32">44.754838709677422</cx:pt>
          <cx:pt idx="33">42.073900293255129</cx:pt>
          <cx:pt idx="34">39.405865102639297</cx:pt>
          <cx:pt idx="35">36.770674486803514</cx:pt>
          <cx:pt idx="36">34.334897360703806</cx:pt>
          <cx:pt idx="37">32.154252199413492</cx:pt>
          <cx:pt idx="38">32.512609970674482</cx:pt>
          <cx:pt idx="39">32.849853372434012</cx:pt>
          <cx:pt idx="40">33.105571847507328</cx:pt>
          <cx:pt idx="41">33.383577712609977</cx:pt>
          <cx:pt idx="42">33.836950146627565</cx:pt>
          <cx:pt idx="43">34.111436950146626</cx:pt>
          <cx:pt idx="44">34.575366568914951</cx:pt>
          <cx:pt idx="45">34.920234604105573</cx:pt>
          <cx:pt idx="46">35.202932551319648</cx:pt>
          <cx:pt idx="47">35.508504398826979</cx:pt>
          <cx:pt idx="48">35.693841642228747</cx:pt>
          <cx:pt idx="49">36.146041055718477</cx:pt>
          <cx:pt idx="50">36.531964809384164</cx:pt>
          <cx:pt idx="51">37.006451612903227</cx:pt>
        </cx:lvl>
      </cx:numDim>
    </cx:data>
  </cx:chartData>
  <cx:chart>
    <cx:title pos="t" align="ctr" overlay="0">
      <cx:tx>
        <cx:rich>
          <a:bodyPr spcFirstLastPara="1" vertOverflow="ellipsis" horzOverflow="overflow" wrap="square" lIns="0" tIns="0" rIns="0" bIns="0" anchor="ctr" anchorCtr="1"/>
          <a:lstStyle/>
          <a:p>
            <a:pPr rtl="0">
              <a:defRPr sz="1200">
                <a:solidFill>
                  <a:schemeClr val="bg1"/>
                </a:solidFill>
                <a:latin typeface="Arial" panose="020B0604020202020204" pitchFamily="34" charset="0"/>
                <a:ea typeface="Arial" panose="020B0604020202020204" pitchFamily="34" charset="0"/>
                <a:cs typeface="Arial" panose="020B0604020202020204" pitchFamily="34" charset="0"/>
              </a:defRPr>
            </a:pPr>
            <a:r>
              <a:rPr lang="en-US" sz="1200" b="0" i="0" baseline="0">
                <a:solidFill>
                  <a:schemeClr val="bg1"/>
                </a:solidFill>
                <a:effectLst/>
                <a:latin typeface="Arial" panose="020B0604020202020204" pitchFamily="34" charset="0"/>
                <a:cs typeface="Arial" panose="020B0604020202020204" pitchFamily="34" charset="0"/>
              </a:rPr>
              <a:t>DRT Rolling Mean (Pump Failure=1)</a:t>
            </a:r>
            <a:endParaRPr lang="en-US" sz="1200">
              <a:solidFill>
                <a:schemeClr val="bg1"/>
              </a:solidFill>
              <a:effectLst/>
              <a:latin typeface="Arial" panose="020B0604020202020204" pitchFamily="34" charset="0"/>
              <a:cs typeface="Arial" panose="020B0604020202020204" pitchFamily="34" charset="0"/>
            </a:endParaRPr>
          </a:p>
        </cx:rich>
      </cx:tx>
      <cx:spPr>
        <a:solidFill>
          <a:schemeClr val="accent1">
            <a:lumMod val="50000"/>
          </a:schemeClr>
        </a:solidFill>
      </cx:spPr>
    </cx:title>
    <cx:plotArea>
      <cx:plotAreaRegion>
        <cx:series layoutId="boxWhisker" uniqueId="{C0E94926-3E68-416B-BF92-5A80001F408C}">
          <cx:tx>
            <cx:txData>
              <cx:f>Sheet2!$A$4863</cx:f>
              <cx:v>Volumetric Flow Meter 1</cx:v>
            </cx:txData>
          </cx:tx>
          <cx:dataId val="0"/>
          <cx:layoutPr>
            <cx:visibility meanLine="0" meanMarker="1" nonoutliers="0" outliers="1"/>
            <cx:statistics quartileMethod="exclusive"/>
          </cx:layoutPr>
        </cx:series>
        <cx:series layoutId="boxWhisker" uniqueId="{D0F6E8B2-5247-429C-A061-A22C404FF25A}">
          <cx:tx>
            <cx:txData>
              <cx:f>Sheet2!$B$4863</cx:f>
              <cx:v>Volumetric Flow Meter 2</cx:v>
            </cx:txData>
          </cx:tx>
          <cx:dataId val="1"/>
          <cx:layoutPr>
            <cx:visibility meanLine="0" meanMarker="1" nonoutliers="0" outliers="1"/>
            <cx:statistics quartileMethod="exclusive"/>
          </cx:layoutPr>
        </cx:series>
        <cx:series layoutId="boxWhisker" uniqueId="{596AF434-3317-40DE-9640-B3C55DDB9FAA}">
          <cx:tx>
            <cx:txData>
              <cx:f>Sheet2!$C$4863</cx:f>
              <cx:v>Pump Speed (RPM)</cx:v>
            </cx:txData>
          </cx:tx>
          <cx:dataId val="2"/>
          <cx:layoutPr>
            <cx:visibility meanLine="0" meanMarker="1" nonoutliers="0" outliers="1"/>
            <cx:statistics quartileMethod="exclusive"/>
          </cx:layoutPr>
        </cx:series>
        <cx:series layoutId="boxWhisker" uniqueId="{E68450AE-B26F-4D2F-9CAD-197C4F6F9015}">
          <cx:tx>
            <cx:txData>
              <cx:f>Sheet2!$D$4863</cx:f>
              <cx:v>Pump Torque </cx:v>
            </cx:txData>
          </cx:tx>
          <cx:dataId val="3"/>
          <cx:layoutPr>
            <cx:visibility meanLine="0" meanMarker="1" nonoutliers="0" outliers="1"/>
            <cx:statistics quartileMethod="exclusive"/>
          </cx:layoutPr>
        </cx:series>
        <cx:series layoutId="boxWhisker" uniqueId="{9D33EA95-DC59-4827-B203-328B41A04F6C}">
          <cx:tx>
            <cx:txData>
              <cx:f>Sheet2!$E$4863</cx:f>
              <cx:v>Ambient Temperature</cx:v>
            </cx:txData>
          </cx:tx>
          <cx:dataId val="4"/>
          <cx:layoutPr>
            <cx:visibility meanLine="0" meanMarker="1" nonoutliers="0" outliers="1"/>
            <cx:statistics quartileMethod="exclusive"/>
          </cx:layoutPr>
        </cx:series>
        <cx:series layoutId="boxWhisker" uniqueId="{9CBF2381-C1C1-4A32-BD1C-502F0108EE85}">
          <cx:tx>
            <cx:txData>
              <cx:f>Sheet2!$F$4863</cx:f>
              <cx:v>Horse Power</cx:v>
            </cx:txData>
          </cx:tx>
          <cx:dataId val="5"/>
          <cx:layoutPr>
            <cx:visibility meanLine="0" meanMarker="1" nonoutliers="0" outliers="1"/>
            <cx:statistics quartileMethod="exclusive"/>
          </cx:layoutPr>
        </cx:series>
        <cx:series layoutId="boxWhisker" uniqueId="{29BC7C79-2815-4D71-AFE1-A5C87BBE1CB2}">
          <cx:tx>
            <cx:txData>
              <cx:f>Sheet2!$G$4863</cx:f>
              <cx:v>Pump Efficiency</cx:v>
            </cx:txData>
          </cx:tx>
          <cx:dataId val="6"/>
          <cx:layoutPr>
            <cx:visibility meanLine="0" meanMarker="1" nonoutliers="0" outliers="1"/>
            <cx:statistics quartileMethod="exclusive"/>
          </cx:layoutPr>
        </cx:series>
      </cx:plotAreaRegion>
      <cx:axis id="0" hidden="1">
        <cx:catScaling gapWidth="1"/>
        <cx:tickLabels/>
        <cx:txPr>
          <a:bodyPr spcFirstLastPara="1" vertOverflow="ellipsis" horzOverflow="overflow" wrap="square" lIns="0" tIns="0" rIns="0" bIns="0" anchor="ctr" anchorCtr="1"/>
          <a:lstStyle/>
          <a:p>
            <a:pPr algn="ctr" rtl="0">
              <a:defRPr/>
            </a:pPr>
            <a:endParaRPr lang="en-US" sz="900" b="0" i="0" u="none" strike="noStrike" baseline="0">
              <a:solidFill>
                <a:srgbClr val="000000">
                  <a:lumMod val="65000"/>
                  <a:lumOff val="35000"/>
                </a:srgbClr>
              </a:solidFill>
              <a:latin typeface="Arial"/>
              <a:ea typeface="ＭＳ Ｐゴシック"/>
            </a:endParaRPr>
          </a:p>
        </cx:txPr>
      </cx:axis>
      <cx:axis id="1">
        <cx:valScaling/>
        <cx:majorGridlines>
          <cx:spPr>
            <a:ln>
              <a:noFill/>
            </a:ln>
          </cx:spPr>
        </cx:majorGridlines>
        <cx:tickLabels/>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heet2!$A$4919:$A$7318</cx:f>
        <cx:lvl ptCount="2400" formatCode="#,##0.00">
          <cx:pt idx="0">1.035714479361286</cx:pt>
          <cx:pt idx="1">1.0632503300577032</cx:pt>
          <cx:pt idx="2">1.0588301938036824</cx:pt>
          <cx:pt idx="3">1.0622622249156548</cx:pt>
          <cx:pt idx="4">1.0743136809412184</cx:pt>
          <cx:pt idx="5">1.0459997142919537</cx:pt>
          <cx:pt idx="6">1.0955039254036067</cx:pt>
          <cx:pt idx="7">1.0826218176260807</cx:pt>
          <cx:pt idx="8">1.074511436694001</cx:pt>
          <cx:pt idx="9">1.0586970955990593</cx:pt>
          <cx:pt idx="10">1.0198510145869457</cx:pt>
          <cx:pt idx="11">0.98293625335568902</cx:pt>
          <cx:pt idx="12">1.0166716600593406</cx:pt>
          <cx:pt idx="13">1.0142322842607512</cx:pt>
          <cx:pt idx="14">0.99284225692021999</cx:pt>
          <cx:pt idx="15">0.98532939821589893</cx:pt>
          <cx:pt idx="16">0.96924760486690387</cx:pt>
          <cx:pt idx="17">1.0048926287928965</cx:pt>
          <cx:pt idx="18">1.0151014331288424</cx:pt>
          <cx:pt idx="19">1.0095350016419589</cx:pt>
          <cx:pt idx="20">1.0146923547128182</cx:pt>
          <cx:pt idx="21">1.0681622417557379</cx:pt>
          <cx:pt idx="22">1.0763241510627359</cx:pt>
          <cx:pt idx="23">1.0423034283650847</cx:pt>
          <cx:pt idx="24">1.0690268966434506</cx:pt>
          <cx:pt idx="25">1.0957019478949053</cx:pt>
          <cx:pt idx="26">1.1234862101369187</cx:pt>
          <cx:pt idx="27">1.0895843877052545</cx:pt>
          <cx:pt idx="28">1.1090298649627566</cx:pt>
          <cx:pt idx="29">1.1045313667931231</cx:pt>
          <cx:pt idx="30">1.1122327135970251</cx:pt>
          <cx:pt idx="31">1.1191343124019575</cx:pt>
          <cx:pt idx="32">1.1597939273952889</cx:pt>
          <cx:pt idx="33">1.1594489872447984</cx:pt>
          <cx:pt idx="34">1.1603785054291849</cx:pt>
          <cx:pt idx="35">1.2071115424276537</cx:pt>
          <cx:pt idx="36">1.1818575385296273</cx:pt>
          <cx:pt idx="37">1.1862892981269675</cx:pt>
          <cx:pt idx="38">1.2371978442218226</cx:pt>
          <cx:pt idx="39">1.2466304469506457</cx:pt>
          <cx:pt idx="40">1.2427914445765398</cx:pt>
          <cx:pt idx="41">1.2342278054970515</cx:pt>
          <cx:pt idx="42">1.182278192363341</cx:pt>
          <cx:pt idx="43">1.1779126775198863</cx:pt>
          <cx:pt idx="44">1.1732998950303197</cx:pt>
          <cx:pt idx="45">1.2101192588706511</cx:pt>
          <cx:pt idx="46">1.1845288116998782</cx:pt>
          <cx:pt idx="47">1.1635223967831863</cx:pt>
          <cx:pt idx="48">1.1621401185624789</cx:pt>
          <cx:pt idx="49">1.1584857337931691</cx:pt>
          <cx:pt idx="50">1.1613666147229744</cx:pt>
          <cx:pt idx="51">1.1138170881015992</cx:pt>
          <cx:pt idx="52">1.0915516742102795</cx:pt>
          <cx:pt idx="53">1.0910644912826784</cx:pt>
          <cx:pt idx="54">1.0676656241808433</cx:pt>
          <cx:pt idx="55">1.1041291882600581</cx:pt>
          <cx:pt idx="56">1.0767477639291552</cx:pt>
          <cx:pt idx="57">1.0988586032265737</cx:pt>
          <cx:pt idx="58">1.074979229951716</cx:pt>
          <cx:pt idx="59">1.1171466115618562</cx:pt>
          <cx:pt idx="60">1.1044647634909419</cx:pt>
          <cx:pt idx="61">1.0934150340934627</cx:pt>
          <cx:pt idx="62">1.0363985497978023</cx:pt>
          <cx:pt idx="63">1.0676423698435056</cx:pt>
          <cx:pt idx="64">1.0830718871079967</cx:pt>
          <cx:pt idx="65">1.0356518853293353</cx:pt>
          <cx:pt idx="66">1.0037882842214434</cx:pt>
          <cx:pt idx="67">1.0150139572110981</cx:pt>
          <cx:pt idx="68">0.99562283400201634</cx:pt>
          <cx:pt idx="69">0.99760955668347828</cx:pt>
          <cx:pt idx="70">1.0436424388792767</cx:pt>
          <cx:pt idx="71">1.0804232886968976</cx:pt>
          <cx:pt idx="72">1.092777963797275</cx:pt>
          <cx:pt idx="73">1.0973575890114027</cx:pt>
          <cx:pt idx="74">1.0868258116310934</cx:pt>
          <cx:pt idx="75">1.0772688433810469</cx:pt>
          <cx:pt idx="76">1.0778346214815917</cx:pt>
          <cx:pt idx="77">1.0639499707363516</cx:pt>
          <cx:pt idx="78">1.0429655442231924</cx:pt>
          <cx:pt idx="79">1.0416391260727083</cx:pt>
          <cx:pt idx="80">1.0455412171605707</cx:pt>
          <cx:pt idx="81">1.1058743874959482</cx:pt>
          <cx:pt idx="82">1.1279288312104891</cx:pt>
          <cx:pt idx="83">1.1607278731047588</cx:pt>
          <cx:pt idx="84">1.2079406337699887</cx:pt>
          <cx:pt idx="85">1.1840948334963051</cx:pt>
          <cx:pt idx="86">1.2006301027702742</cx:pt>
          <cx:pt idx="87">1.19643358918635</cx:pt>
          <cx:pt idx="88">1.2027919627878818</cx:pt>
          <cx:pt idx="89">1.1814330378775197</cx:pt>
          <cx:pt idx="90">1.184898511585958</cx:pt>
          <cx:pt idx="91">1.1972835153345895</cx:pt>
          <cx:pt idx="92">1.2335149757511243</cx:pt>
          <cx:pt idx="93">1.2338997146231636</cx:pt>
          <cx:pt idx="94">1.2290691740023247</cx:pt>
          <cx:pt idx="95">1.2319755184908985</cx:pt>
          <cx:pt idx="96">1.2579304295219351</cx:pt>
          <cx:pt idx="97">1.2510615722142788</cx:pt>
          <cx:pt idx="98">1.2155961594989122</cx:pt>
          <cx:pt idx="99">1.2403461233652187</cx:pt>
          <cx:pt idx="100">1.2531780290181409</cx:pt>
          <cx:pt idx="101">1.2610880633200348</cx:pt>
          <cx:pt idx="102">1.2897578851469955</cx:pt>
          <cx:pt idx="103">1.313252564760707</cx:pt>
          <cx:pt idx="104">1.3630056796501695</cx:pt>
          <cx:pt idx="105">1.3183698136400279</cx:pt>
          <cx:pt idx="106">1.3198068911341001</cx:pt>
          <cx:pt idx="107">1.3235556430425908</cx:pt>
          <cx:pt idx="108">1.319201953115386</cx:pt>
          <cx:pt idx="109">1.3191000066659875</cx:pt>
          <cx:pt idx="110">1.3224185871123524</cx:pt>
          <cx:pt idx="111">1.2922887563873091</cx:pt>
          <cx:pt idx="112">1.3106108078507415</cx:pt>
          <cx:pt idx="113">1.2710216724958008</cx:pt>
          <cx:pt idx="114">1.2341745345003663</cx:pt>
          <cx:pt idx="115">1.2182454407971282</cx:pt>
          <cx:pt idx="116">1.2116245387860494</cx:pt>
          <cx:pt idx="117">1.2039324455023768</cx:pt>
          <cx:pt idx="118">1.2005364701215682</cx:pt>
          <cx:pt idx="119">1.2090182680231893</cx:pt>
          <cx:pt idx="120">1.1980501399904071</cx:pt>
          <cx:pt idx="121">1.1588988035120278</cx:pt>
          <cx:pt idx="122">1.1450029363010086</cx:pt>
          <cx:pt idx="123">1.1169056186265431</cx:pt>
          <cx:pt idx="124">1.1333091106268782</cx:pt>
          <cx:pt idx="125">1.123774683924623</cx:pt>
          <cx:pt idx="126">1.0904781720319583</cx:pt>
          <cx:pt idx="127">1.0920298509666753</cx:pt>
          <cx:pt idx="128">1.097091295355509</cx:pt>
          <cx:pt idx="129">1.1054290788087049</cx:pt>
          <cx:pt idx="130">1.0807928124521722</cx:pt>
          <cx:pt idx="131">1.0802620478171132</cx:pt>
          <cx:pt idx="132">1.035176091411449</cx:pt>
          <cx:pt idx="133">1.036841190912289</cx:pt>
          <cx:pt idx="134">1.0536502505930099</cx:pt>
          <cx:pt idx="135">1.0583173046120804</cx:pt>
          <cx:pt idx="136">1.1080780191627859</cx:pt>
          <cx:pt idx="137">1.1198113552131748</cx:pt>
          <cx:pt idx="138">1.1195146731723866</cx:pt>
          <cx:pt idx="139">1.133684664948869</cx:pt>
          <cx:pt idx="140">1.137721053423157</cx:pt>
          <cx:pt idx="141">1.137721053423157</cx:pt>
          <cx:pt idx="142">1.093818630030728</cx:pt>
          <cx:pt idx="143">1.1219469940559865</cx:pt>
          <cx:pt idx="144">1.1243839181535364</cx:pt>
          <cx:pt idx="145">1.1368774031904483</cx:pt>
          <cx:pt idx="146">1.1904548053908475</cx:pt>
          <cx:pt idx="147">1.1877133928049624</cx:pt>
          <cx:pt idx="148">1.2335848609623097</cx:pt>
          <cx:pt idx="149">1.2095474597845526</cx:pt>
          <cx:pt idx="150">1.2332857244616591</cx:pt>
          <cx:pt idx="151">1.2274281588172364</cx:pt>
          <cx:pt idx="152">1.2167235067812334</cx:pt>
          <cx:pt idx="153">1.2402217080254123</cx:pt>
          <cx:pt idx="154">1.2399260267145527</cx:pt>
          <cx:pt idx="155">1.2539501264166086</cx:pt>
          <cx:pt idx="156">1.2462350196242804</cx:pt>
          <cx:pt idx="157">1.2539138268068786</cx:pt>
          <cx:pt idx="158">1.253946597334</cx:pt>
          <cx:pt idx="159">1.2218230678766058</cx:pt>
          <cx:pt idx="160">1.251946576290321</cx:pt>
          <cx:pt idx="161">1.2652302048498398</cx:pt>
          <cx:pt idx="162">1.2842368815043785</cx:pt>
          <cx:pt idx="163">1.2763084789083448</cx:pt>
          <cx:pt idx="164">1.2676422135639045</cx:pt>
          <cx:pt idx="165">1.264386680632519</cx:pt>
          <cx:pt idx="166">1.2176255865271215</cx:pt>
          <cx:pt idx="167">1.211869269532313</cx:pt>
          <cx:pt idx="168">1.2197454039981925</cx:pt>
          <cx:pt idx="169">1.253958147021965</cx:pt>
          <cx:pt idx="170">1.299717962332289</cx:pt>
          <cx:pt idx="171">1.3258343718614318</cx:pt>
          <cx:pt idx="172">1.334437071896077</cx:pt>
          <cx:pt idx="173">1.296207553977567</cx:pt>
          <cx:pt idx="174">1.2969597074537906</cx:pt>
          <cx:pt idx="175">1.2747242658798768</cx:pt>
          <cx:pt idx="176">1.2545122695624622</cx:pt>
          <cx:pt idx="177">1.2971589202437062</cx:pt>
          <cx:pt idx="178">1.2727568051507221</cx:pt>
          <cx:pt idx="179">1.2710222603113204</cx:pt>
          <cx:pt idx="180">1.2316618527583907</cx:pt>
          <cx:pt idx="181">1.2885463608803265</cx:pt>
          <cx:pt idx="182">1.2889192211386602</cx:pt>
          <cx:pt idx="183">1.3030795090463789</cx:pt>
          <cx:pt idx="184">1.3202317804169799</cx:pt>
          <cx:pt idx="185">1.3122675382535467</cx:pt>
          <cx:pt idx="186">1.3135817928232647</cx:pt>
          <cx:pt idx="187">1.300599154589738</cx:pt>
          <cx:pt idx="188">1.299269511828788</cx:pt>
          <cx:pt idx="189">1.2784178889747186</cx:pt>
          <cx:pt idx="190">1.2585834492994796</cx:pt>
          <cx:pt idx="191">1.21702109465185</cx:pt>
          <cx:pt idx="192">1.1633386358275892</cx:pt>
          <cx:pt idx="193">1.1781066048595918</cx:pt>
          <cx:pt idx="194">1.1800214297683937</cx:pt>
          <cx:pt idx="195">1.1995342007840275</cx:pt>
          <cx:pt idx="196">1.1939089185306921</cx:pt>
          <cx:pt idx="197">1.185229790029096</cx:pt>
          <cx:pt idx="198">1.1886523326086953</cx:pt>
          <cx:pt idx="199">1.135874213936146</cx:pt>
          <cx:pt idx="200">1.132624913818471</cx:pt>
          <cx:pt idx="201">1.0946538843108271</cx:pt>
          <cx:pt idx="202">1.0739761764518831</cx:pt>
          <cx:pt idx="203">1.1185530472625023</cx:pt>
          <cx:pt idx="204">1.1215127817105919</cx:pt>
          <cx:pt idx="205">1.1251648155132496</cx:pt>
          <cx:pt idx="206">1.1167345664722763</cx:pt>
          <cx:pt idx="207">1.0728038781247673</cx:pt>
          <cx:pt idx="208">1.0466052950745859</cx:pt>
          <cx:pt idx="209">1.0872183212956446</cx:pt>
          <cx:pt idx="210">1.0964404266513532</cx:pt>
          <cx:pt idx="211">1.0251495545506528</cx:pt>
          <cx:pt idx="212">1.0417946496090404</cx:pt>
          <cx:pt idx="213">0.98297554371420159</cx:pt>
          <cx:pt idx="214">0.9545453271632498</cx:pt>
          <cx:pt idx="215">0.97041933109399636</cx:pt>
          <cx:pt idx="216">0.95221828126349972</cx:pt>
          <cx:pt idx="217">0.94440329637655163</cx:pt>
          <cx:pt idx="218">0.9741618265810954</cx:pt>
          <cx:pt idx="219">0.99180990948453629</cx:pt>
          <cx:pt idx="220">0.9948326839049455</cx:pt>
          <cx:pt idx="221">1.0003479854300819</cx:pt>
          <cx:pt idx="222">1.0004300224828611</cx:pt>
          <cx:pt idx="223">1.0093895389686336</cx:pt>
          <cx:pt idx="224">0.97023850604925443</cx:pt>
          <cx:pt idx="225">0.97591595643425566</cx:pt>
          <cx:pt idx="226">0.92832341768162441</cx:pt>
          <cx:pt idx="227">0.92710425457473467</cx:pt>
          <cx:pt idx="228">0.98450997204572321</cx:pt>
          <cx:pt idx="229">0.99272439485384401</cx:pt>
          <cx:pt idx="230">0.9882045137113773</cx:pt>
          <cx:pt idx="231">0.9854621997450923</cx:pt>
          <cx:pt idx="232">0.98830192231684544</cx:pt>
          <cx:pt idx="233">0.98252571549511869</cx:pt>
          <cx:pt idx="234">0.96245352179167298</cx:pt>
          <cx:pt idx="235">0.96567104891502398</cx:pt>
          <cx:pt idx="236">0.96729038538340262</cx:pt>
          <cx:pt idx="237">0.97600310909623433</cx:pt>
          <cx:pt idx="238">0.95765332195814479</cx:pt>
          <cx:pt idx="239">0.9918486165544208</cx:pt>
          <cx:pt idx="240">0.94959156374255638</cx:pt>
          <cx:pt idx="241">0.90443994228218438</cx:pt>
          <cx:pt idx="242">0.82065323013921643</cx:pt>
          <cx:pt idx="243">0.81794422708439518</cx:pt>
          <cx:pt idx="244">0.836921630794636</cx:pt>
          <cx:pt idx="245">0.88830000368778739</cx:pt>
          <cx:pt idx="246">0.87055069108416971</cx:pt>
          <cx:pt idx="247">0.89104974898846845</cx:pt>
          <cx:pt idx="248">0.8867297531787306</cx:pt>
          <cx:pt idx="249">0.85706267961077864</cx:pt>
          <cx:pt idx="250">0.88931046516291179</cx:pt>
          <cx:pt idx="251">0.85340938957038392</cx:pt>
          <cx:pt idx="252">0.85731309748914697</cx:pt>
          <cx:pt idx="253">0.85774959505446047</cx:pt>
          <cx:pt idx="254">0.84865979536906366</cx:pt>
          <cx:pt idx="255">0.87671251136630057</cx:pt>
          <cx:pt idx="256">0.87280338400262591</cx:pt>
          <cx:pt idx="257">0.89461119789677168</cx:pt>
          <cx:pt idx="258">0.86176036085458707</cx:pt>
          <cx:pt idx="259">0.92318097004231736</cx:pt>
          <cx:pt idx="260">0.94870759033224816</cx:pt>
          <cx:pt idx="261">0.93926824048628677</cx:pt>
          <cx:pt idx="262">1.0177121061648431</cx:pt>
          <cx:pt idx="263">1.0158039112973012</cx:pt>
          <cx:pt idx="264">1.1496278258336623</cx:pt>
          <cx:pt idx="265">1.1740545719561051</cx:pt>
          <cx:pt idx="266">1.1797547475504453</cx:pt>
          <cx:pt idx="267">1.1995342007840266</cx:pt>
          <cx:pt idx="268">1.2064548617057054</cx:pt>
          <cx:pt idx="269">1.1702451359270496</cx:pt>
          <cx:pt idx="270">1.189179375118361</cx:pt>
          <cx:pt idx="271">1.1927946996035397</cx:pt>
          <cx:pt idx="272">1.2067132143177992</cx:pt>
          <cx:pt idx="273">1.3090563856036357</cx:pt>
          <cx:pt idx="274">1.2845948867205199</cx:pt>
          <cx:pt idx="275">1.2511688328422592</cx:pt>
          <cx:pt idx="276">1.2244520238133827</cx:pt>
          <cx:pt idx="277">1.1525584234823976</cx:pt>
          <cx:pt idx="278">1.1427291892657683</cx:pt>
          <cx:pt idx="279">1.1326157802834667</cx:pt>
          <cx:pt idx="280">1.0634721380956569</cx:pt>
          <cx:pt idx="281">1.0893180403828113</cx:pt>
          <cx:pt idx="282">1.115907187258292</cx:pt>
          <cx:pt idx="283">1.0890670899613035</cx:pt>
          <cx:pt idx="284">1.0936201614231811</cx:pt>
          <cx:pt idx="285">1.1380950003778494</cx:pt>
          <cx:pt idx="286">1.1211742612716058</cx:pt>
          <cx:pt idx="287">1.1610914900540188</cx:pt>
          <cx:pt idx="288">1.1578807434671132</cx:pt>
          <cx:pt idx="289">1.1706583274124989</cx:pt>
          <cx:pt idx="290">1.1755940049046762</cx:pt>
          <cx:pt idx="291">1.1671982368637861</cx:pt>
          <cx:pt idx="292">1.1427593646596126</cx:pt>
          <cx:pt idx="293">1.1712985720249069</cx:pt>
          <cx:pt idx="294">1.1295510246294229</cx:pt>
          <cx:pt idx="295">1.1484222560369157</cx:pt>
          <cx:pt idx="296">1.1752842160540344</cx:pt>
          <cx:pt idx="297">1.2110290105393082</cx:pt>
          <cx:pt idx="298">1.2129841609487912</cx:pt>
          <cx:pt idx="299">1.2484178492943703</cx:pt>
          <cx:pt idx="300">1.248373148237889</cx:pt>
          <cx:pt idx="301">1.2671045824984237</cx:pt>
          <cx:pt idx="302">1.2092229860059132</cx:pt>
          <cx:pt idx="303">1.2037709428120533</cx:pt>
          <cx:pt idx="304">1.1919372813863236</cx:pt>
          <cx:pt idx="305">1.1900859140241176</cx:pt>
          <cx:pt idx="306">1.1827616718569267</cx:pt>
          <cx:pt idx="307">1.1665676148427913</cx:pt>
          <cx:pt idx="308">1.1551038168001202</cx:pt>
          <cx:pt idx="309">1.1420391623214421</cx:pt>
          <cx:pt idx="310">1.1637869220780923</cx:pt>
          <cx:pt idx="311">1.1768672617267155</cx:pt>
          <cx:pt idx="312">1.1717947723495556</cx:pt>
          <cx:pt idx="313">1.2022492808620568</cx:pt>
          <cx:pt idx="314">1.2248028694306348</cx:pt>
          <cx:pt idx="315">1.2044198298088511</cx:pt>
          <cx:pt idx="316">1.2273281418659363</cx:pt>
          <cx:pt idx="317">1.2049197998779555</cx:pt>
          <cx:pt idx="318">1.1899915966089847</cx:pt>
          <cx:pt idx="319">1.1922356088988608</cx:pt>
          <cx:pt idx="320">1.1925477893506233</cx:pt>
          <cx:pt idx="321">1.175102294397748</cx:pt>
          <cx:pt idx="322">1.212939859782123</cx:pt>
          <cx:pt idx="323">1.2358667208579321</cx:pt>
          <cx:pt idx="324">1.2493301193545432</cx:pt>
          <cx:pt idx="325">1.2291490842303743</cx:pt>
          <cx:pt idx="326">1.2161327438132372</cx:pt>
          <cx:pt idx="327">1.172537478262863</cx:pt>
          <cx:pt idx="328">1.1382568342380621</cx:pt>
          <cx:pt idx="329">1.1051833987296344</cx:pt>
          <cx:pt idx="330">1.1054309504473341</cx:pt>
          <cx:pt idx="331">1.110833796811175</cx:pt>
          <cx:pt idx="332">1.1664608521250208</cx:pt>
          <cx:pt idx="333">1.1150053347637954</cx:pt>
          <cx:pt idx="334">1.1091739185579488</cx:pt>
          <cx:pt idx="335">1.1611912234732329</cx:pt>
          <cx:pt idx="336">1.2081809733511846</cx:pt>
          <cx:pt idx="337">1.2253780087661992</cx:pt>
          <cx:pt idx="338">1.2253275424174941</cx:pt>
          <cx:pt idx="339">1.222723030451051</cx:pt>
          <cx:pt idx="340">1.2356479058074901</cx:pt>
          <cx:pt idx="341">1.2416243069222788</cx:pt>
          <cx:pt idx="342">1.2859516803278148</cx:pt>
          <cx:pt idx="343">1.2939687235289974</cx:pt>
          <cx:pt idx="344">1.2977260837733615</cx:pt>
          <cx:pt idx="345">1.3102713591019064</cx:pt>
          <cx:pt idx="346">1.3085510544372976</cx:pt>
          <cx:pt idx="347">1.3309949609998131</cx:pt>
          <cx:pt idx="348">1.3717140883689585</cx:pt>
          <cx:pt idx="349">1.3593735879897535</cx:pt>
          <cx:pt idx="350">1.3540361121858775</cx:pt>
          <cx:pt idx="351">1.3727594493381297</cx:pt>
          <cx:pt idx="352">1.3506349719988022</cx:pt>
          <cx:pt idx="353">1.3291368299177013</cx:pt>
          <cx:pt idx="354">1.2954241306077783</cx:pt>
          <cx:pt idx="355">1.324154902908474</cx:pt>
          <cx:pt idx="356">1.2842288709974741</cx:pt>
          <cx:pt idx="357">1.2842163404954015</cx:pt>
          <cx:pt idx="358">1.3171335997309566</cx:pt>
          <cx:pt idx="359">1.3124426643196403</cx:pt>
          <cx:pt idx="360">1.3222784237387586</cx:pt>
          <cx:pt idx="361">1.3166318924550944</cx:pt>
          <cx:pt idx="362">1.2802740367575223</cx:pt>
          <cx:pt idx="363">1.2948687414063491</cx:pt>
          <cx:pt idx="364">1.3156262002752053</cx:pt>
          <cx:pt idx="365">1.271254968683426</cx:pt>
          <cx:pt idx="366">1.2808691822621716</cx:pt>
          <cx:pt idx="367">1.2702909884755924</cx:pt>
          <cx:pt idx="368">1.2794361635313123</cx:pt>
          <cx:pt idx="369">1.2908386296575147</cx:pt>
          <cx:pt idx="370">1.2739124728590054</cx:pt>
          <cx:pt idx="371">1.249616998795295</cx:pt>
          <cx:pt idx="372">1.2258384885456972</cx:pt>
          <cx:pt idx="373">1.1769632168394659</cx:pt>
          <cx:pt idx="374">1.1483983849582482</cx:pt>
          <cx:pt idx="375">1.1551939678894954</cx:pt>
          <cx:pt idx="376">1.1422782236521385</cx:pt>
          <cx:pt idx="377">1.1071203197028094</cx:pt>
          <cx:pt idx="378">1.068358715426418</cx:pt>
          <cx:pt idx="379">1.0566614090300324</cx:pt>
          <cx:pt idx="380">1.0684422542068956</cx:pt>
          <cx:pt idx="381">1.0376822094534011</cx:pt>
          <cx:pt idx="382">1.0739453527482929</cx:pt>
          <cx:pt idx="383">1.0553694673637659</cx:pt>
          <cx:pt idx="384">1.0777936701439192</cx:pt>
          <cx:pt idx="385">1.0519169146858982</cx:pt>
          <cx:pt idx="386">1.0578693072702168</cx:pt>
          <cx:pt idx="387">1.0617121284407374</cx:pt>
          <cx:pt idx="388">1.0735386217615988</cx:pt>
          <cx:pt idx="389">1.0894539389333866</cx:pt>
          <cx:pt idx="390">1.0783943470809236</cx:pt>
          <cx:pt idx="391">1.0787698400567618</cx:pt>
          <cx:pt idx="392">1.0582885772055173</cx:pt>
          <cx:pt idx="393">1.0326742985552373</cx:pt>
          <cx:pt idx="394">0.9957484910715475</cx:pt>
          <cx:pt idx="395">1.0072786257461519</cx:pt>
          <cx:pt idx="396">0.96605466159809095</cx:pt>
          <cx:pt idx="397">0.9591914698651508</cx:pt>
          <cx:pt idx="398">0.95289154621634398</cx:pt>
          <cx:pt idx="399">0.95246136072712173</cx:pt>
          <cx:pt idx="400">0.99026114052646785</cx:pt>
          <cx:pt idx="401">1.0135439133889637</cx:pt>
          <cx:pt idx="402">0.98050280322212002</cx:pt>
          <cx:pt idx="403">1.0127522532370787</cx:pt>
          <cx:pt idx="404">1.0326656166746657</cx:pt>
          <cx:pt idx="405">1.0161749894557535</cx:pt>
          <cx:pt idx="406">1.0423876217717607</cx:pt>
          <cx:pt idx="407">1.072225958344194</cx:pt>
          <cx:pt idx="408">1.1414658855244386</cx:pt>
          <cx:pt idx="409">1.1350755202988072</cx:pt>
          <cx:pt idx="410">1.1746007392095934</cx:pt>
          <cx:pt idx="411">1.1786735677490796</cx:pt>
          <cx:pt idx="412">1.1810408909969612</cx:pt>
          <cx:pt idx="413">1.1845090160886924</cx:pt>
          <cx:pt idx="414">1.1991489319177746</cx:pt>
          <cx:pt idx="415">1.2243579598275594</cx:pt>
          <cx:pt idx="416">1.251467919693904</cx:pt>
          <cx:pt idx="417">1.2584175887145752</cx:pt>
          <cx:pt idx="418">1.2279683248750968</cx:pt>
          <cx:pt idx="419">1.2222638220019082</cx:pt>
          <cx:pt idx="420">1.2580793608357621</cx:pt>
          <cx:pt idx="421">1.2439601667865912</cx:pt>
          <cx:pt idx="422">1.2772527990353661</cx:pt>
          <cx:pt idx="423">1.3321698228009855</cx:pt>
          <cx:pt idx="424">1.3375625885022799</cx:pt>
          <cx:pt idx="425">1.3612683825004539</cx:pt>
          <cx:pt idx="426">1.3394474757264225</cx:pt>
          <cx:pt idx="427">1.3634447583952207</cx:pt>
          <cx:pt idx="428">1.3926178111083067</cx:pt>
          <cx:pt idx="429">1.4245257730771037</cx:pt>
          <cx:pt idx="430">1.4175193242008235</cx:pt>
          <cx:pt idx="431">1.4077088256919592</cx:pt>
          <cx:pt idx="432">1.4329891594267152</cx:pt>
          <cx:pt idx="433">1.4027415275464861</cx:pt>
          <cx:pt idx="434">1.4015679233195093</cx:pt>
          <cx:pt idx="435">1.3763206406020101</cx:pt>
          <cx:pt idx="436">1.3347553910821972</cx:pt>
          <cx:pt idx="437">1.3175224484990193</cx:pt>
          <cx:pt idx="438">1.3154958420097074</cx:pt>
          <cx:pt idx="439">1.3136638682024753</cx:pt>
          <cx:pt idx="440">1.2660295887301489</cx:pt>
          <cx:pt idx="441">1.2711560943062634</cx:pt>
          <cx:pt idx="442">1.2542193615538517</cx:pt>
          <cx:pt idx="443">1.2701016340905713</cx:pt>
          <cx:pt idx="444">1.2446034774545482</cx:pt>
          <cx:pt idx="445">1.2553325794615031</cx:pt>
          <cx:pt idx="446">1.273040346626112</cx:pt>
          <cx:pt idx="447">1.2606360828301453</cx:pt>
          <cx:pt idx="448">1.2387574419554459</cx:pt>
          <cx:pt idx="449">1.2352348187576578</cx:pt>
          <cx:pt idx="450">1.2330547526320579</cx:pt>
          <cx:pt idx="451">1.2332237913453621</cx:pt>
          <cx:pt idx="452">1.1955490250359322</cx:pt>
          <cx:pt idx="453">1.127055771753855</cx:pt>
          <cx:pt idx="454">1.164309276761988</cx:pt>
          <cx:pt idx="455">1.145660277422748</cx:pt>
          <cx:pt idx="456">1.1647278306712816</cx:pt>
          <cx:pt idx="457">1.139468518980286</cx:pt>
          <cx:pt idx="458">1.1264147681405183</cx:pt>
          <cx:pt idx="459">1.1020775052536944</cx:pt>
          <cx:pt idx="460">1.1469670149282123</cx:pt>
          <cx:pt idx="461">1.1674475547550083</cx:pt>
          <cx:pt idx="462">1.1417729709716284</cx:pt>
          <cx:pt idx="463">1.1926959705477835</cx:pt>
          <cx:pt idx="464">1.1767620195157187</cx:pt>
          <cx:pt idx="465">1.2010677720692735</cx:pt>
          <cx:pt idx="466">1.1960529435096765</cx:pt>
          <cx:pt idx="467">1.1931440163191369</cx:pt>
          <cx:pt idx="468">1.1530041221726515</cx:pt>
          <cx:pt idx="469">1.1527727692269905</cx:pt>
          <cx:pt idx="470">1.1899889403523547</cx:pt>
          <cx:pt idx="471">1.2297763557076027</cx:pt>
          <cx:pt idx="472">1.2392917888580699</cx:pt>
          <cx:pt idx="473">1.2243688967800104</cx:pt>
          <cx:pt idx="474">1.2518960791948543</cx:pt>
          <cx:pt idx="475">1.2052807180053129</cx:pt>
          <cx:pt idx="476">1.2061135456736534</cx:pt>
          <cx:pt idx="477">1.2067102138582757</cx:pt>
          <cx:pt idx="478">1.2087837527529648</cx:pt>
          <cx:pt idx="479">1.1904866676057853</cx:pt>
          <cx:pt idx="480">1.2126166729029826</cx:pt>
          <cx:pt idx="481">1.2082336780150003</cx:pt>
          <cx:pt idx="482">1.2178004007603029</cx:pt>
          <cx:pt idx="483">1.2730132594049011</cx:pt>
          <cx:pt idx="484">1.2559588542934683</cx:pt>
          <cx:pt idx="485">1.2275423536013161</cx:pt>
          <cx:pt idx="486">1.2499763675926958</cx:pt>
          <cx:pt idx="487">1.2926282590489635</cx:pt>
          <cx:pt idx="488">1.2935002854679807</cx:pt>
          <cx:pt idx="489">1.2577449259888014</cx:pt>
          <cx:pt idx="490">1.2160930469542923</cx:pt>
          <cx:pt idx="491">1.2088366688490315</cx:pt>
          <cx:pt idx="492">1.2088366688490317</cx:pt>
          <cx:pt idx="493">1.1776198965241949</cx:pt>
          <cx:pt idx="494">1.2126784262603345</cx:pt>
          <cx:pt idx="495">1.1718530369589375</cx:pt>
          <cx:pt idx="496">1.2300836809213289</cx:pt>
          <cx:pt idx="497">1.2310625725247537</cx:pt>
          <cx:pt idx="498">1.2598688583459328</cx:pt>
          <cx:pt idx="499">1.2986489885270376</cx:pt>
          <cx:pt idx="500">1.3105311724728212</cx:pt>
          <cx:pt idx="501">1.2919451609300507</cx:pt>
          <cx:pt idx="502">1.2709496856478133</cx:pt>
          <cx:pt idx="503">1.2766753248408427</cx:pt>
          <cx:pt idx="504">1.2470721573017503</cx:pt>
          <cx:pt idx="505">1.2490126675411104</cx:pt>
          <cx:pt idx="506">1.2165262869730977</cx:pt>
          <cx:pt idx="507">1.2666211728067309</cx:pt>
          <cx:pt idx="508">1.2845651350581242</cx:pt>
          <cx:pt idx="509">1.270386130095976</cx:pt>
          <cx:pt idx="510">1.2478431967511627</cx:pt>
          <cx:pt idx="511">1.2739016454573135</cx:pt>
          <cx:pt idx="512">1.258358217002953</cx:pt>
          <cx:pt idx="513">1.2381045951395819</cx:pt>
          <cx:pt idx="514">1.2394741191142409</cx:pt>
          <cx:pt idx="515">1.2491229566858262</cx:pt>
          <cx:pt idx="516">1.2273940247345281</cx:pt>
          <cx:pt idx="517">1.1727060758049674</cx:pt>
          <cx:pt idx="518">1.1254600081233708</cx:pt>
          <cx:pt idx="519">1.1213949133664456</cx:pt>
          <cx:pt idx="520">1.1196165702452854</cx:pt>
          <cx:pt idx="521">1.1457692792963645</cx:pt>
          <cx:pt idx="522">1.1464628761703461</cx:pt>
          <cx:pt idx="523">1.1518977844180127</cx:pt>
          <cx:pt idx="524">1.1263732869742584</cx:pt>
          <cx:pt idx="525">1.1654067909986396</cx:pt>
          <cx:pt idx="526">1.1576274289976964</cx:pt>
          <cx:pt idx="527">1.1613349928066585</cx:pt>
          <cx:pt idx="528">1.1073531142053246</cx:pt>
          <cx:pt idx="529">1.0260654120888482</cx:pt>
          <cx:pt idx="530">1.0646139011964337</cx:pt>
          <cx:pt idx="531">1.0814284401958218</cx:pt>
          <cx:pt idx="532">1.0810214943581686</cx:pt>
          <cx:pt idx="533">1.0623191394411513</cx:pt>
          <cx:pt idx="534">1.0449363946985086</cx:pt>
          <cx:pt idx="535">1.0453971362184773</cx:pt>
          <cx:pt idx="536">1.0665695896917242</cx:pt>
          <cx:pt idx="537">1.0207770310535191</cx:pt>
          <cx:pt idx="538">0.99487213988162515</cx:pt>
          <cx:pt idx="539">1.0087442973674074</cx:pt>
          <cx:pt idx="540">1.0483002662767296</cx:pt>
          <cx:pt idx="541">1.0351927467812487</cx:pt>
          <cx:pt idx="542">1.1020391235727784</cx:pt>
          <cx:pt idx="543">1.116618921607526</cx:pt>
          <cx:pt idx="544">1.1060915968805003</cx:pt>
          <cx:pt idx="545">1.1027268187459707</cx:pt>
          <cx:pt idx="546">1.0991921798647688</cx:pt>
          <cx:pt idx="547">1.1214633297616112</cx:pt>
          <cx:pt idx="548">1.1612837228935362</cx:pt>
          <cx:pt idx="549">1.1423476532647758</cx:pt>
          <cx:pt idx="550">1.1891743972716686</cx:pt>
          <cx:pt idx="551">1.2315253601301428</cx:pt>
          <cx:pt idx="552">1.2359832978821668</cx:pt>
          <cx:pt idx="553">1.2418953349572199</cx:pt>
          <cx:pt idx="554">1.2512623510936336</cx:pt>
          <cx:pt idx="555">1.2066446305221001</cx:pt>
          <cx:pt idx="556">1.1690658909878704</cx:pt>
          <cx:pt idx="557">1.2082863328155975</cx:pt>
          <cx:pt idx="558">1.2422114133279802</cx:pt>
          <cx:pt idx="559">1.255775439329416</cx:pt>
          <cx:pt idx="560">1.2274131755233344</cx:pt>
          <cx:pt idx="561">1.2198292701340878</cx:pt>
          <cx:pt idx="562">1.2508291043447386</cx:pt>
          <cx:pt idx="563">1.2611882738389875</cx:pt>
          <cx:pt idx="564">1.2593990995526489</cx:pt>
          <cx:pt idx="565">1.2589934403159613</cx:pt>
          <cx:pt idx="566">1.2082752978532243</cx:pt>
          <cx:pt idx="567">1.2129434134113306</cx:pt>
          <cx:pt idx="568">1.2691905738082352</cx:pt>
          <cx:pt idx="569">1.2319363321360322</cx:pt>
          <cx:pt idx="570">1.2179989241827529</cx:pt>
          <cx:pt idx="571">1.1840418309634431</cx:pt>
          <cx:pt idx="572">1.1499677156887649</cx:pt>
          <cx:pt idx="573">1.1199142516436165</cx:pt>
          <cx:pt idx="574">1.1211951751098708</cx:pt>
          <cx:pt idx="575">1.1325021123524484</cx:pt>
          <cx:pt idx="576">1.1883159628592921</cx:pt>
          <cx:pt idx="577">1.1801500489052372</cx:pt>
          <cx:pt idx="578">1.1319617799485844</cx:pt>
          <cx:pt idx="579">1.1233800085804271</cx:pt>
          <cx:pt idx="580">1.0645011783087373</cx:pt>
          <cx:pt idx="581">0.98541758462692042</cx:pt>
          <cx:pt idx="582">1.0289052881359015</cx:pt>
          <cx:pt idx="583">1.007872745570773</cx:pt>
          <cx:pt idx="584">0.99154332276484047</cx:pt>
          <cx:pt idx="585">1.0106866335637215</cx:pt>
          <cx:pt idx="586">1.0344203218705879</cx:pt>
          <cx:pt idx="587">1.0040829864499055</cx:pt>
          <cx:pt idx="588">1.060993949520703</cx:pt>
          <cx:pt idx="589">1.0515309036729781</cx:pt>
          <cx:pt idx="590">1.0861635532311955</cx:pt>
          <cx:pt idx="591">1.0814154198756496</cx:pt>
          <cx:pt idx="592">1.0506782155558752</cx:pt>
          <cx:pt idx="593">1.0963454967645292</cx:pt>
          <cx:pt idx="594">1.1324900852119848</cx:pt>
          <cx:pt idx="595">1.1368247774888811</cx:pt>
          <cx:pt idx="596">1.1602080669520831</cx:pt>
          <cx:pt idx="597">1.1607866932069977</cx:pt>
          <cx:pt idx="598">1.1478273329237705</cx:pt>
          <cx:pt idx="599">1.1622811992830722</cx:pt>
          <cx:pt idx="600">1.1557321409432184</cx:pt>
          <cx:pt idx="601">1.1585685281772327</cx:pt>
          <cx:pt idx="602">1.1980453429140989</cx:pt>
          <cx:pt idx="603">1.2772076222544348</cx:pt>
          <cx:pt idx="604">1.2941894902917461</cx:pt>
          <cx:pt idx="605">1.293514147806166</cx:pt>
          <cx:pt idx="606">1.3180972440710075</cx:pt>
          <cx:pt idx="607">1.3433141808622979</cx:pt>
          <cx:pt idx="608">1.3376889059850208</cx:pt>
          <cx:pt idx="609">1.3237654843178468</cx:pt>
          <cx:pt idx="610">1.3215428113757233</cx:pt>
          <cx:pt idx="611">1.3665851811984731</cx:pt>
          <cx:pt idx="612">1.2677058653013875</cx:pt>
          <cx:pt idx="613">1.2112459624738463</cx:pt>
          <cx:pt idx="614">1.211595129827076</cx:pt>
          <cx:pt idx="615">1.1028223458185733</cx:pt>
          <cx:pt idx="616">1.1055201615466839</cx:pt>
          <cx:pt idx="617">1.0510903479436149</cx:pt>
          <cx:pt idx="618">1.0404265813907136</cx:pt>
          <cx:pt idx="619">1.0656540272279393</cx:pt>
          <cx:pt idx="620">1.097267295257349</cx:pt>
          <cx:pt idx="621">1.0849334425266108</cx:pt>
          <cx:pt idx="622">1.1289218231386173</cx:pt>
          <cx:pt idx="623">1.1332350701147267</cx:pt>
          <cx:pt idx="624">1.1303847376766958</cx:pt>
          <cx:pt idx="625">1.1047051408750936</cx:pt>
          <cx:pt idx="626">1.1069316086402516</cx:pt>
          <cx:pt idx="627">1.1091792554360425</cx:pt>
          <cx:pt idx="628">0.99835894081870336</cx:pt>
          <cx:pt idx="629">0.99755908994456755</cx:pt>
          <cx:pt idx="630">0.89477467785914122</cx:pt>
          <cx:pt idx="631">0.82075967053797716</cx:pt>
          <cx:pt idx="632">0.83982216234618112</cx:pt>
          <cx:pt idx="633">0.82021759097920055</cx:pt>
          <cx:pt idx="634">0.83648147879544532</cx:pt>
          <cx:pt idx="635">0.83380556734644695</cx:pt>
          <cx:pt idx="636">0.8495570177667775</cx:pt>
          <cx:pt idx="637">0.85582258608345574</cx:pt>
          <cx:pt idx="638">0.88126998224675412</cx:pt>
          <cx:pt idx="639">0.88146325576530249</cx:pt>
          <cx:pt idx="640">0.91248051467150326</cx:pt>
          <cx:pt idx="641">0.89924259317456134</cx:pt>
          <cx:pt idx="642">0.90720462404303071</cx:pt>
          <cx:pt idx="643">0.91123895701490321</cx:pt>
          <cx:pt idx="644">0.90359562718688713</cx:pt>
          <cx:pt idx="645">0.90348501504662082</cx:pt>
          <cx:pt idx="646">0.92321085124800606</cx:pt>
          <cx:pt idx="647">1.0743100432210042</cx:pt>
          <cx:pt idx="648">1.1429335616897334</cx:pt>
          <cx:pt idx="649">1.2313875922303457</cx:pt>
          <cx:pt idx="650">1.2248940840911009</cx:pt>
          <cx:pt idx="651">1.2239132641494319</cx:pt>
          <cx:pt idx="652">1.1858008594030103</cx:pt>
          <cx:pt idx="653">1.2241865232382523</cx:pt>
          <cx:pt idx="654">1.2480922913855732</cx:pt>
          <cx:pt idx="655">1.2102064039782154</cx:pt>
          <cx:pt idx="656">1.2640888318123227</cx:pt>
          <cx:pt idx="657">1.3231173569377299</cx:pt>
          <cx:pt idx="658">1.3869960926114895</cx:pt>
          <cx:pt idx="659">1.4118755765569995</cx:pt>
          <cx:pt idx="660">1.3746259261273983</cx:pt>
          <cx:pt idx="661">1.386658971574581</cx:pt>
          <cx:pt idx="662">1.4492084244411716</cx:pt>
          <cx:pt idx="663">1.4827884573314565</cx:pt>
          <cx:pt idx="664">1.4386432385466836</cx:pt>
          <cx:pt idx="665">1.4025545249302422</cx:pt>
          <cx:pt idx="666">1.4057496466176032</cx:pt>
          <cx:pt idx="667">1.3796319682495368</cx:pt>
          <cx:pt idx="668">1.2958020637835652</cx:pt>
          <cx:pt idx="669">1.2736626522451453</cx:pt>
          <cx:pt idx="670">1.29505691527172</cx:pt>
          <cx:pt idx="671">1.2644124981655478</cx:pt>
          <cx:pt idx="672">1.1580294896290741</cx:pt>
          <cx:pt idx="673">1.0975976378949814</cx:pt>
          <cx:pt idx="674">1.0909894275539438</cx:pt>
          <cx:pt idx="675">1.0743735945608743</cx:pt>
          <cx:pt idx="676">1.0988284775107098</cx:pt>
          <cx:pt idx="677">1.0636647233400947</cx:pt>
          <cx:pt idx="678">1.078657957141997</cx:pt>
          <cx:pt idx="679">1.0578649067435499</cx:pt>
          <cx:pt idx="680">1.0609895619537035</cx:pt>
          <cx:pt idx="681">1.0585861857419439</cx:pt>
          <cx:pt idx="682">1.006374453287584</cx:pt>
          <cx:pt idx="683">1.0041898432962311</cx:pt>
          <cx:pt idx="684">1.008066545878564</cx:pt>
          <cx:pt idx="685">1.0084815603030446</cx:pt>
          <cx:pt idx="686">1.0434243469538607</cx:pt>
          <cx:pt idx="687">1.0200241714512583</cx:pt>
          <cx:pt idx="688">0.97170196698559641</cx:pt>
          <cx:pt idx="689">0.96475975211984444</cx:pt>
          <cx:pt idx="690">1.0173391030402361</cx:pt>
          <cx:pt idx="691">1.0139393983114944</cx:pt>
          <cx:pt idx="692">0.96783827137607492</cx:pt>
          <cx:pt idx="693">0.95125229016293544</cx:pt>
          <cx:pt idx="694">0.94448848894368542</cx:pt>
          <cx:pt idx="695">0.95265364404763686</cx:pt>
          <cx:pt idx="696">0.97227568106993179</cx:pt>
          <cx:pt idx="697">0.92824491417386978</cx:pt>
          <cx:pt idx="698">0.95593512019539717</cx:pt>
          <cx:pt idx="699">1.0082408146022876</cx:pt>
          <cx:pt idx="700">0.9918762552592566</cx:pt>
          <cx:pt idx="701">0.95638808070758585</cx:pt>
          <cx:pt idx="702">0.95808963418170656</cx:pt>
          <cx:pt idx="703">0.94606893870457909</cx:pt>
          <cx:pt idx="704">0.93793757604209671</cx:pt>
          <cx:pt idx="705">0.9442505998951225</cx:pt>
          <cx:pt idx="706">0.95139709731615685</cx:pt>
          <cx:pt idx="707">0.95280620021723916</cx:pt>
          <cx:pt idx="708">0.93712227639702406</cx:pt>
          <cx:pt idx="709">0.93227098818009924</cx:pt>
          <cx:pt idx="710">0.94542090608108087</cx:pt>
          <cx:pt idx="711">0.94518355573030821</cx:pt>
          <cx:pt idx="712">0.94003081387499343</cx:pt>
          <cx:pt idx="713">0.98867268504845396</cx:pt>
          <cx:pt idx="714">0.9884519418663259</cx:pt>
          <cx:pt idx="715">0.97061918855718199</cx:pt>
          <cx:pt idx="716">0.9368830690419544</cx:pt>
          <cx:pt idx="717">0.94743477014418309</cx:pt>
          <cx:pt idx="718">0.9670314809030115</cx:pt>
          <cx:pt idx="719">1.0046544553788848</cx:pt>
          <cx:pt idx="720">0.96986454795466692</cx:pt>
          <cx:pt idx="721">0.97981472562506633</cx:pt>
          <cx:pt idx="722">0.96603949135145328</cx:pt>
          <cx:pt idx="723">0.94703414836051159</cx:pt>
          <cx:pt idx="724">1.0076137738446111</cx:pt>
          <cx:pt idx="725">1.0048540238240589</cx:pt>
          <cx:pt idx="726">0.97690785927703616</cx:pt>
          <cx:pt idx="727">0.98446327053602312</cx:pt>
          <cx:pt idx="728">1.0157495392254834</cx:pt>
          <cx:pt idx="729">0.95655806584510772</cx:pt>
          <cx:pt idx="730">0.95594215426397555</cx:pt>
          <cx:pt idx="731">0.97621041871575798</cx:pt>
          <cx:pt idx="732">0.97883351877184122</cx:pt>
          <cx:pt idx="733">0.99207874177660804</cx:pt>
          <cx:pt idx="734">1.0487749284640211</cx:pt>
          <cx:pt idx="735">1.0229012154415129</cx:pt>
          <cx:pt idx="736">1.0220970104890117</cx:pt>
          <cx:pt idx="737">1.0378191103208336</cx:pt>
          <cx:pt idx="738">1.0575912775476297</cx:pt>
          <cx:pt idx="739">1.0658004385027451</cx:pt>
          <cx:pt idx="740">1.0477230923106162</cx:pt>
          <cx:pt idx="741">1.0683292897156607</cx:pt>
          <cx:pt idx="742">1.0946230128358736</cx:pt>
          <cx:pt idx="743">1.0944869159544133</cx:pt>
          <cx:pt idx="744">1.0872716565662941</cx:pt>
          <cx:pt idx="745">1.1074122782518663</cx:pt>
          <cx:pt idx="746">1.1164195643565915</cx:pt>
          <cx:pt idx="747">1.1565498135680832</cx:pt>
          <cx:pt idx="748">1.155226454388723</cx:pt>
          <cx:pt idx="749">1.1201018529221081</cx:pt>
          <cx:pt idx="750">1.1169939132774409</cx:pt>
          <cx:pt idx="751">1.1068293745504845</cx:pt>
          <cx:pt idx="752">1.1116341910505649</cx:pt>
          <cx:pt idx="753">1.1704242771344702</cx:pt>
          <cx:pt idx="754">1.1154764973283637</cx:pt>
          <cx:pt idx="755">1.1411939704366301</cx:pt>
          <cx:pt idx="756">1.1470817044925834</cx:pt>
          <cx:pt idx="757">1.1445959483841763</cx:pt>
          <cx:pt idx="758">1.1497500477989961</cx:pt>
          <cx:pt idx="759">1.1698647136638762</cx:pt>
          <cx:pt idx="760">1.2008328527442471</cx:pt>
          <cx:pt idx="761">1.212838458508297</cx:pt>
          <cx:pt idx="762">1.2257995279647573</cx:pt>
          <cx:pt idx="763">1.26724812727893</cx:pt>
          <cx:pt idx="764">1.2323179262123753</cx:pt>
          <cx:pt idx="765">1.2645521218856572</cx:pt>
          <cx:pt idx="766">1.2529445318927734</cx:pt>
          <cx:pt idx="767">1.2635667906694761</cx:pt>
          <cx:pt idx="768">1.2466852140731064</cx:pt>
          <cx:pt idx="769">1.2414243302819925</cx:pt>
          <cx:pt idx="770">1.2466582457149982</cx:pt>
          <cx:pt idx="771">1.2244587826239104</cx:pt>
          <cx:pt idx="772">1.2138475448214108</cx:pt>
          <cx:pt idx="773">1.1764233736299994</cx:pt>
          <cx:pt idx="774">1.2103317679486678</cx:pt>
          <cx:pt idx="775">1.2401466357495472</cx:pt>
          <cx:pt idx="776">1.2216544274998087</cx:pt>
          <cx:pt idx="777">1.2196872125884264</cx:pt>
          <cx:pt idx="778">1.2002088419803516</cx:pt>
          <cx:pt idx="779">1.2188234386951393</cx:pt>
          <cx:pt idx="780">1.225402819062172</cx:pt>
          <cx:pt idx="781">1.2252028215862829</cx:pt>
          <cx:pt idx="782">1.2352542201934578</cx:pt>
          <cx:pt idx="783">1.1937132253467815</cx:pt>
          <cx:pt idx="784">1.183092819980603</cx:pt>
          <cx:pt idx="785">1.1551070508184837</cx:pt>
          <cx:pt idx="786">1.154061344213078</cx:pt>
          <cx:pt idx="787">1.1705603825499145</cx:pt>
          <cx:pt idx="788">1.1503015596620392</cx:pt>
          <cx:pt idx="789">1.1207083658915509</cx:pt>
          <cx:pt idx="790">1.0898107502059096</cx:pt>
          <cx:pt idx="791">1.0450298901296398</cx:pt>
          <cx:pt idx="792">1.088319594710067</cx:pt>
          <cx:pt idx="793">1.0487370072352873</cx:pt>
          <cx:pt idx="794">1.0575139465399197</cx:pt>
          <cx:pt idx="795">1.0717005500444221</cx:pt>
          <cx:pt idx="796">1.0764452460836507</cx:pt>
          <cx:pt idx="797">1.0380142957401495</cx:pt>
          <cx:pt idx="798">1.068552356195537</cx:pt>
          <cx:pt idx="799">1.0928171440569674</cx:pt>
          <cx:pt idx="800">1.0847821434972893</cx:pt>
          <cx:pt idx="801">1.1136158358630934</cx:pt>
          <cx:pt idx="802">1.1111860185477906</cx:pt>
          <cx:pt idx="803">1.1104472020342731</cx:pt>
          <cx:pt idx="804">1.0598761584564331</cx:pt>
          <cx:pt idx="805">1.0181439615480614</cx:pt>
          <cx:pt idx="806">1.0314659247997422</cx:pt>
          <cx:pt idx="807">0.97407214913687823</cx:pt>
          <cx:pt idx="808">0.97414837549074795</cx:pt>
          <cx:pt idx="809">0.95492004840749567</cx:pt>
          <cx:pt idx="810">0.95993061291386828</cx:pt>
          <cx:pt idx="811">0.97216336548720117</cx:pt>
          <cx:pt idx="812">0.96526602848495913</cx:pt>
          <cx:pt idx="813">0.99081854005178183</cx:pt>
          <cx:pt idx="814">0.99146825987765608</cx:pt>
          <cx:pt idx="815">0.99961492585895273</cx:pt>
          <cx:pt idx="816">1.0743714548462764</cx:pt>
          <cx:pt idx="817">1.0665165124199283</cx:pt>
          <cx:pt idx="818">1.0571716767029786</cx:pt>
          <cx:pt idx="819">1.069097212873886</cx:pt>
          <cx:pt idx="820">1.0466632806153586</cx:pt>
          <cx:pt idx="821">1.050520177663504</cx:pt>
          <cx:pt idx="822">1.0265075820917997</cx:pt>
          <cx:pt idx="823">1.0223417450530718</cx:pt>
          <cx:pt idx="824">1.0446811095686828</cx:pt>
          <cx:pt idx="825">0.9833559709063856</cx:pt>
          <cx:pt idx="826">0.97839277071792718</cx:pt>
          <cx:pt idx="827">1.045198325787926</cx:pt>
          <cx:pt idx="828">0.98681823548465897</cx:pt>
          <cx:pt idx="829">0.97966103685225525</cx:pt>
          <cx:pt idx="830">0.98193241334004988</cx:pt>
          <cx:pt idx="831">0.96404136173010502</cx:pt>
          <cx:pt idx="832">0.96873712078943308</cx:pt>
          <cx:pt idx="833">1.0110370230950816</cx:pt>
          <cx:pt idx="834">1.0141937514682486</cx:pt>
          <cx:pt idx="835">1.0627198352697953</cx:pt>
          <cx:pt idx="836">1.0955047123187756</cx:pt>
          <cx:pt idx="837">1.1047025916924218</cx:pt>
          <cx:pt idx="838">1.1185216536371443</cx:pt>
          <cx:pt idx="839">1.118032395229051</cx:pt>
          <cx:pt idx="840">1.1263518569910229</cx:pt>
          <cx:pt idx="841">1.1252639026356048</cx:pt>
          <cx:pt idx="842">1.1266946878104243</cx:pt>
          <cx:pt idx="843">1.1060382338385248</cx:pt>
          <cx:pt idx="844">1.1810834690738583</cx:pt>
          <cx:pt idx="845">1.1773192322869115</cx:pt>
          <cx:pt idx="846">1.1561392351418935</cx:pt>
          <cx:pt idx="847">1.1816947210650912</cx:pt>
          <cx:pt idx="848">1.1957178866136513</cx:pt>
          <cx:pt idx="849">1.1755906316968221</cx:pt>
          <cx:pt idx="850">1.1727872292353254</cx:pt>
          <cx:pt idx="851">1.1860443770651317</cx:pt>
          <cx:pt idx="852">1.1726902463110638</cx:pt>
          <cx:pt idx="853">1.2082684485155446</cx:pt>
          <cx:pt idx="854">1.1609291265110071</cx:pt>
          <cx:pt idx="855">1.1637495879476292</cx:pt>
          <cx:pt idx="856">1.1634374850455853</cx:pt>
          <cx:pt idx="857">1.1715468210972146</cx:pt>
          <cx:pt idx="858">1.1868217482288426</cx:pt>
          <cx:pt idx="859">1.2221375658595306</cx:pt>
          <cx:pt idx="860">1.2226953925604311</cx:pt>
          <cx:pt idx="861">1.2292571347965717</cx:pt>
          <cx:pt idx="862">1.2345551574480624</cx:pt>
          <cx:pt idx="863">1.1978776730285239</cx:pt>
          <cx:pt idx="864">1.2473053253765276</cx:pt>
          <cx:pt idx="865">1.2322046404157347</cx:pt>
          <cx:pt idx="866">1.1910687270865938</cx:pt>
          <cx:pt idx="867">1.1626328128309751</cx:pt>
          <cx:pt idx="868">1.1379538503459803</cx:pt>
          <cx:pt idx="869">1.1342350706102768</cx:pt>
          <cx:pt idx="870">1.1508609470914504</cx:pt>
          <cx:pt idx="871">1.172381847096883</cx:pt>
          <cx:pt idx="872">1.1707862079934093</cx:pt>
          <cx:pt idx="873">1.1810449298975809</cx:pt>
          <cx:pt idx="874">1.1822161635975315</cx:pt>
          <cx:pt idx="875">1.187854290766319</cx:pt>
          <cx:pt idx="876">1.1679759484218648</cx:pt>
          <cx:pt idx="877">1.1935601145842789</cx:pt>
          <cx:pt idx="878">1.1822443102825249</cx:pt>
          <cx:pt idx="879">1.2085583698495219</cx:pt>
          <cx:pt idx="880">1.2091174705012184</cx:pt>
          <cx:pt idx="881">1.1820977360063187</cx:pt>
          <cx:pt idx="882">1.1792485431141231</cx:pt>
          <cx:pt idx="883">1.1452478525097356</cx:pt>
          <cx:pt idx="884">1.1496040797726341</cx:pt>
          <cx:pt idx="885">1.1910519353259448</cx:pt>
          <cx:pt idx="886">1.2135698266428394</cx:pt>
          <cx:pt idx="887">1.1852614532851724</cx:pt>
          <cx:pt idx="888">1.1464017169176453</cx:pt>
          <cx:pt idx="889">1.1370672601139253</cx:pt>
          <cx:pt idx="890">1.1778308525596448</cx:pt>
          <cx:pt idx="891">1.184230678056676</cx:pt>
          <cx:pt idx="892">1.1815964750645875</cx:pt>
          <cx:pt idx="893">1.1349152583687299</cx:pt>
          <cx:pt idx="894">1.0897234174031418</cx:pt>
          <cx:pt idx="895">1.0982226497872587</cx:pt>
          <cx:pt idx="896">1.1022639189987296</cx:pt>
          <cx:pt idx="897">1.109667030933257</cx:pt>
          <cx:pt idx="898">1.0961770559225528</cx:pt>
          <cx:pt idx="899">1.0963629003187778</cx:pt>
          <cx:pt idx="900">1.0665547175448815</cx:pt>
          <cx:pt idx="901">1.0468988687448806</cx:pt>
          <cx:pt idx="902">1.076051957896065</cx:pt>
          <cx:pt idx="903">1.0800079288768127</cx:pt>
          <cx:pt idx="904">1.100056686104711</cx:pt>
          <cx:pt idx="905">1.107945234963426</cx:pt>
          <cx:pt idx="906">1.1120109153520343</cx:pt>
          <cx:pt idx="907">1.0690427558302351</cx:pt>
          <cx:pt idx="908">1.0770039327989329</cx:pt>
          <cx:pt idx="909">1.0784071374128552</cx:pt>
          <cx:pt idx="910">1.0786249228243947</cx:pt>
          <cx:pt idx="911">1.1314163639022319</cx:pt>
          <cx:pt idx="912">1.124386984962928</cx:pt>
          <cx:pt idx="913">1.1394400722113118</cx:pt>
          <cx:pt idx="914">1.145944824251973</cx:pt>
          <cx:pt idx="915">1.11538978290824</cx:pt>
          <cx:pt idx="916">1.1226936000263961</cx:pt>
          <cx:pt idx="917">1.1473225202693622</cx:pt>
          <cx:pt idx="918">1.1941870701949044</cx:pt>
          <cx:pt idx="919">1.1477696512862645</cx:pt>
          <cx:pt idx="920">1.1415776540515699</cx:pt>
          <cx:pt idx="921">1.1285338367499909</cx:pt>
          <cx:pt idx="922">1.1509830381126336</cx:pt>
          <cx:pt idx="923">1.2021071537909598</cx:pt>
          <cx:pt idx="924">1.2072096162105668</cx:pt>
          <cx:pt idx="925">1.2461861357989306</cx:pt>
          <cx:pt idx="926">1.2442521180746822</cx:pt>
          <cx:pt idx="927">1.2503397699145158</cx:pt>
          <cx:pt idx="928">1.2460966180875361</cx:pt>
          <cx:pt idx="929">1.290163003156052</cx:pt>
          <cx:pt idx="930">1.2986649201055067</cx:pt>
          <cx:pt idx="931">1.2861139900499869</cx:pt>
          <cx:pt idx="932">1.2510051131404087</cx:pt>
          <cx:pt idx="933">1.2829854282864637</cx:pt>
          <cx:pt idx="934">1.2439102233192554</cx:pt>
          <cx:pt idx="935">1.2334860887073198</cx:pt>
          <cx:pt idx="936">1.2615637076682835</cx:pt>
          <cx:pt idx="937">1.2746631288124803</cx:pt>
          <cx:pt idx="938">1.2689222506367039</cx:pt>
          <cx:pt idx="939">1.2328956663635127</cx:pt>
          <cx:pt idx="940">1.274659341464067</cx:pt>
          <cx:pt idx="941">1.2476142289857934</cx:pt>
          <cx:pt idx="942">1.2693205712678248</cx:pt>
          <cx:pt idx="943">1.2519281680396181</cx:pt>
          <cx:pt idx="944">1.234782125134521</cx:pt>
          <cx:pt idx="945">1.279010078775455</cx:pt>
          <cx:pt idx="946">1.2926033607707592</cx:pt>
          <cx:pt idx="947">1.2716039287939218</cx:pt>
          <cx:pt idx="948">1.2210034030848675</cx:pt>
          <cx:pt idx="949">1.2395848396590865</cx:pt>
          <cx:pt idx="950">1.2061175959136046</cx:pt>
          <cx:pt idx="951">1.2113727844839939</cx:pt>
          <cx:pt idx="952">1.2315692260773201</cx:pt>
          <cx:pt idx="953">1.1698297842583469</cx:pt>
          <cx:pt idx="954">1.1635963375593827</cx:pt>
          <cx:pt idx="955">1.1404939442108444</cx:pt>
          <cx:pt idx="956">1.1384658461098516</cx:pt>
          <cx:pt idx="957">1.1871157454534282</cx:pt>
          <cx:pt idx="958">1.2200497446048442</cx:pt>
          <cx:pt idx="959">1.2321147599185698</cx:pt>
          <cx:pt idx="960">1.2233513419076003</cx:pt>
          <cx:pt idx="961">1.2263280860816341</cx:pt>
          <cx:pt idx="962">1.2478325576590892</cx:pt>
          <cx:pt idx="963">1.1960463605361309</cx:pt>
          <cx:pt idx="964">1.2323917965606093</cx:pt>
          <cx:pt idx="965">1.2723794796482244</cx:pt>
          <cx:pt idx="966">1.2252304029160741</cx:pt>
          <cx:pt idx="967">1.227449650160104</cx:pt>
          <cx:pt idx="968">1.2244468138714726</cx:pt>
          <cx:pt idx="969">1.2934292386529307</cx:pt>
          <cx:pt idx="970">1.2829377207808252</cx:pt>
          <cx:pt idx="971">1.2985693277028278</cx:pt>
          <cx:pt idx="972">1.3310728971289527</cx:pt>
          <cx:pt idx="973">1.3265357614617035</cx:pt>
          <cx:pt idx="974">1.336222372917419</cx:pt>
          <cx:pt idx="975">1.2995817187380567</cx:pt>
          <cx:pt idx="976">1.2547436886224737</cx:pt>
          <cx:pt idx="977">1.2591796271117686</cx:pt>
          <cx:pt idx="978">1.2588267206584385</cx:pt>
          <cx:pt idx="979">1.2806870013404128</cx:pt>
          <cx:pt idx="980">1.2853571443399483</cx:pt>
          <cx:pt idx="981">1.2365385502308031</cx:pt>
          <cx:pt idx="982">1.1969361749469145</cx:pt>
          <cx:pt idx="983">1.21918966870453</cx:pt>
          <cx:pt idx="984">1.2198104243136993</cx:pt>
          <cx:pt idx="985">1.211862298235677</cx:pt>
          <cx:pt idx="986">1.2367040456599645</cx:pt>
          <cx:pt idx="987">1.2163975454207998</cx:pt>
          <cx:pt idx="988">1.2227264146396242</cx:pt>
          <cx:pt idx="989">1.1993015208574669</cx:pt>
          <cx:pt idx="990">1.2386516584716147</cx:pt>
          <cx:pt idx="991">1.2534575629310172</cx:pt>
          <cx:pt idx="992">1.260082327177223</cx:pt>
          <cx:pt idx="993">1.2765761049479722</cx:pt>
          <cx:pt idx="994">1.2546815321532534</cx:pt>
          <cx:pt idx="995">1.1946020354027966</cx:pt>
          <cx:pt idx="996">1.2090946551273272</cx:pt>
          <cx:pt idx="997">1.1623837971831947</cx:pt>
          <cx:pt idx="998">1.1919318811053765</cx:pt>
          <cx:pt idx="999">1.1535674302319538</cx:pt>
          <cx:pt idx="1000">1.1728588218928797</cx:pt>
          <cx:pt idx="1001">1.1479545026828739</cx:pt>
          <cx:pt idx="1002">1.1182038656065678</cx:pt>
          <cx:pt idx="1003">1.1288912778657556</cx:pt>
          <cx:pt idx="1004">1.1052656101433342</cx:pt>
          <cx:pt idx="1005">1.1030857450441192</cx:pt>
          <cx:pt idx="1006">1.0994730190142137</cx:pt>
          <cx:pt idx="1007">1.1336792406539227</cx:pt>
          <cx:pt idx="1008">1.199107378739338</cx:pt>
          <cx:pt idx="1009">1.1394231753013417</cx:pt>
          <cx:pt idx="1010">1.1618982189780511</cx:pt>
          <cx:pt idx="1011">1.174368061907163</cx:pt>
          <cx:pt idx="1012">1.1604977628032138</cx:pt>
          <cx:pt idx="1013">1.1609734322303968</cx:pt>
          <cx:pt idx="1014">1.1667488969378748</cx:pt>
          <cx:pt idx="1015">1.1825058139391962</cx:pt>
          <cx:pt idx="1016">1.1732313174041731</cx:pt>
          <cx:pt idx="1017">1.1941377883105722</cx:pt>
          <cx:pt idx="1018">1.1839195083699108</cx:pt>
          <cx:pt idx="1019">1.1417031540440026</cx:pt>
          <cx:pt idx="1020">1.1216010723591709</cx:pt>
          <cx:pt idx="1021">1.1057280329080121</cx:pt>
          <cx:pt idx="1022">1.1269915195144424</cx:pt>
          <cx:pt idx="1023">1.1138790561475418</cx:pt>
          <cx:pt idx="1024">1.1477278403011313</cx:pt>
          <cx:pt idx="1025">1.1466938482477331</cx:pt>
          <cx:pt idx="1026">1.1154894807254774</cx:pt>
          <cx:pt idx="1027">1.1671411678743604</cx:pt>
          <cx:pt idx="1028">1.1467447180065236</cx:pt>
          <cx:pt idx="1029">1.1424213547216882</cx:pt>
          <cx:pt idx="1030">1.1206693915055728</cx:pt>
          <cx:pt idx="1031">1.1317883316178012</cx:pt>
          <cx:pt idx="1032">1.150269383741223</cx:pt>
          <cx:pt idx="1033">1.1386007242204801</cx:pt>
          <cx:pt idx="1034">1.1420383571471675</cx:pt>
          <cx:pt idx="1035">1.171233213915704</cx:pt>
          <cx:pt idx="1036">1.2004646609954202</cx:pt>
          <cx:pt idx="1037">1.2069873676833265</cx:pt>
          <cx:pt idx="1038">1.1441638517014201</cx:pt>
          <cx:pt idx="1039">1.1466998625240359</cx:pt>
          <cx:pt idx="1040">1.11878854842725</cx:pt>
          <cx:pt idx="1041">1.1100844433034662</cx:pt>
          <cx:pt idx="1042">1.1340885245910894</cx:pt>
          <cx:pt idx="1043">1.1412991689751846</cx:pt>
          <cx:pt idx="1044">1.1791659335524296</cx:pt>
          <cx:pt idx="1045">1.1505720716035224</cx:pt>
          <cx:pt idx="1046">1.114837032572654</cx:pt>
          <cx:pt idx="1047">1.1104229804008456</cx:pt>
          <cx:pt idx="1048">1.1036262589936088</cx:pt>
          <cx:pt idx="1049">1.1460839872134696</cx:pt>
          <cx:pt idx="1050">1.1516642630179341</cx:pt>
          <cx:pt idx="1051">1.142827507825952</cx:pt>
          <cx:pt idx="1052">1.139998185116522</cx:pt>
          <cx:pt idx="1053">1.1969426569965371</cx:pt>
          <cx:pt idx="1054">1.1133637548324948</cx:pt>
          <cx:pt idx="1055">1.1367803394807126</cx:pt>
          <cx:pt idx="1056">1.1506380538790129</cx:pt>
          <cx:pt idx="1057">1.141311203996445</cx:pt>
          <cx:pt idx="1058">1.0934978149335131</cx:pt>
          <cx:pt idx="1059">1.088296200806405</cx:pt>
          <cx:pt idx="1060">1.0876092097364052</cx:pt>
          <cx:pt idx="1061">1.1507942784287586</cx:pt>
          <cx:pt idx="1062">1.1971625457386896</cx:pt>
          <cx:pt idx="1063">1.1864362264952253</cx:pt>
          <cx:pt idx="1064">1.1257487929496466</cx:pt>
          <cx:pt idx="1065">1.000533248627548</cx:pt>
          <cx:pt idx="1066">1.0166055757036372</cx:pt>
          <cx:pt idx="1067">1.0140380187390785</cx:pt>
          <cx:pt idx="1068">0.94692490811531316</cx:pt>
          <cx:pt idx="1069">0.8914874564779196</cx:pt>
          <cx:pt idx="1070">0.84152051764005986</cx:pt>
          <cx:pt idx="1071">0.81966638854215945</cx:pt>
          <cx:pt idx="1072">0.82471869115488639</cx:pt>
          <cx:pt idx="1073">0.82802048950160756</cx:pt>
          <cx:pt idx="1074">0.8694567599778974</cx:pt>
          <cx:pt idx="1075">0.879312754109838</cx:pt>
          <cx:pt idx="1076">0.87815434718007468</cx:pt>
          <cx:pt idx="1077">0.8741714632304326</cx:pt>
          <cx:pt idx="1078">0.86813745667270903</cx:pt>
          <cx:pt idx="1079">0.90420276690472456</cx:pt>
          <cx:pt idx="1080">0.90256696507061462</cx:pt>
          <cx:pt idx="1081">0.88972835839043407</cx:pt>
          <cx:pt idx="1082">0.89131982726895365</cx:pt>
          <cx:pt idx="1083">0.87723186622832816</cx:pt>
          <cx:pt idx="1084">0.88484533358537554</cx:pt>
          <cx:pt idx="1085">1.0084666863467837</cx:pt>
          <cx:pt idx="1086">1.0256945502169863</cx:pt>
          <cx:pt idx="1087">1.0242236196204928</cx:pt>
          <cx:pt idx="1088">1.0820545060314597</cx:pt>
          <cx:pt idx="1089">1.1780219637708096</cx:pt>
          <cx:pt idx="1090">1.1712288958341062</cx:pt>
          <cx:pt idx="1091">1.2209653708363752</cx:pt>
          <cx:pt idx="1092">1.1929497874606025</cx:pt>
          <cx:pt idx="1093">1.2622222694403957</cx:pt>
          <cx:pt idx="1094">1.264654602793907</cx:pt>
          <cx:pt idx="1095">1.2956906914136916</cx:pt>
          <cx:pt idx="1096">1.3585250622743716</cx:pt>
          <cx:pt idx="1097">1.3719674604901082</cx:pt>
          <cx:pt idx="1098">1.3581233248557512</cx:pt>
          <cx:pt idx="1099">1.3431110309201206</cx:pt>
          <cx:pt idx="1100">1.2996912100107891</cx:pt>
          <cx:pt idx="1101">1.3030287000306049</cx:pt>
          <cx:pt idx="1102">1.332546650107471</cx:pt>
          <cx:pt idx="1103">1.305365408831838</cx:pt>
          <cx:pt idx="1104">1.2243600251822857</cx:pt>
          <cx:pt idx="1105">1.2291199075462231</cx:pt>
          <cx:pt idx="1106">1.2227878924347659</cx:pt>
          <cx:pt idx="1107">1.2618698040205458</cx:pt>
          <cx:pt idx="1108">1.2306262306404128</cx:pt>
          <cx:pt idx="1109">1.1392637771925294</cx:pt>
          <cx:pt idx="1110">1.16720754293136</cx:pt>
          <cx:pt idx="1111">1.1389473361322549</cx:pt>
          <cx:pt idx="1112">1.0890879871149812</cx:pt>
          <cx:pt idx="1113">1.0298593252891666</cx:pt>
          <cx:pt idx="1114">1.0275906985167591</cx:pt>
          <cx:pt idx="1115">1.0828394453324166</cx:pt>
          <cx:pt idx="1116">1.1050165651226238</cx:pt>
          <cx:pt idx="1117">1.0742291542599598</cx:pt>
          <cx:pt idx="1118">1.0943848847010218</cx:pt>
          <cx:pt idx="1119">1.0771640074058242</cx:pt>
          <cx:pt idx="1120">1.1051840227482168</cx:pt>
          <cx:pt idx="1121">1.0755493651067853</cx:pt>
          <cx:pt idx="1122">1.0831817754286164</cx:pt>
          <cx:pt idx="1123">1.0643726769333657</cx:pt>
          <cx:pt idx="1124">1.0689270590041513</cx:pt>
          <cx:pt idx="1125">1.072409468890273</cx:pt>
          <cx:pt idx="1126">1.1097379311630597</cx:pt>
          <cx:pt idx="1127">1.1140294471850378</cx:pt>
          <cx:pt idx="1128">1.1141382423148867</cx:pt>
          <cx:pt idx="1129">1.1149323467955508</cx:pt>
          <cx:pt idx="1130">1.115245450021251</cx:pt>
          <cx:pt idx="1131">1.1504406452142233</cx:pt>
          <cx:pt idx="1132">1.1405556218075383</cx:pt>
          <cx:pt idx="1133">1.1262612342685383</cx:pt>
          <cx:pt idx="1134">1.1666803283272356</cx:pt>
          <cx:pt idx="1135">1.1664030572465169</cx:pt>
          <cx:pt idx="1136">1.1389436525474643</cx:pt>
          <cx:pt idx="1137">1.099462982812387</cx:pt>
          <cx:pt idx="1138">1.1399604752172197</cx:pt>
          <cx:pt idx="1139">1.1038946726367782</cx:pt>
          <cx:pt idx="1140">1.0693281272266992</cx:pt>
          <cx:pt idx="1141">1.016692236347005</cx:pt>
          <cx:pt idx="1142">1.0054657524303567</cx:pt>
          <cx:pt idx="1143">1.0035234478301072</cx:pt>
          <cx:pt idx="1144">1.0020069515898986</cx:pt>
          <cx:pt idx="1145">0.94924628297777658</cx:pt>
          <cx:pt idx="1146">0.98362834070784932</cx:pt>
          <cx:pt idx="1147">0.97230405348007898</cx:pt>
          <cx:pt idx="1148">0.98520346227008582</cx:pt>
          <cx:pt idx="1149">1.036242992849594</cx:pt>
          <cx:pt idx="1150">1.0010592665633802</cx:pt>
          <cx:pt idx="1151">1.0019936448739653</cx:pt>
          <cx:pt idx="1152">1.0494119316545094</cx:pt>
          <cx:pt idx="1153">1.051036106207452</cx:pt>
          <cx:pt idx="1154">1.0505256483927616</cx:pt>
          <cx:pt idx="1155">1.0534785837580087</cx:pt>
          <cx:pt idx="1156">0.99225512338564215</cx:pt>
          <cx:pt idx="1157">0.99462555768490013</cx:pt>
          <cx:pt idx="1158">1.0222713048352934</cx:pt>
          <cx:pt idx="1159">1.0099653459401459</cx:pt>
          <cx:pt idx="1160">1.0756596479188563</cx:pt>
          <cx:pt idx="1161">1.0517492817797101</cx:pt>
          <cx:pt idx="1162">1.0342077872103048</cx:pt>
          <cx:pt idx="1163">1.0335688089133781</cx:pt>
          <cx:pt idx="1164">0.98415895594904357</cx:pt>
          <cx:pt idx="1165">0.98349388909390612</cx:pt>
          <cx:pt idx="1166">1.0044004330370713</cx:pt>
          <cx:pt idx="1167">1.0285946220701927</cx:pt>
          <cx:pt idx="1168">1.0385146333481101</cx:pt>
          <cx:pt idx="1169">1.0547133401474811</cx:pt>
          <cx:pt idx="1170">1.0507143164117649</cx:pt>
          <cx:pt idx="1171">1.0670348322961776</cx:pt>
          <cx:pt idx="1172">1.0892412206584947</cx:pt>
          <cx:pt idx="1173">1.0845704165731911</cx:pt>
          <cx:pt idx="1174">1.08059907820435</cx:pt>
          <cx:pt idx="1175">1.0926555230053165</cx:pt>
          <cx:pt idx="1176">1.0818581822201927</cx:pt>
          <cx:pt idx="1177">1.1153139344658936</cx:pt>
          <cx:pt idx="1178">1.0850192540269481</cx:pt>
          <cx:pt idx="1179">1.0435098267964176</cx:pt>
          <cx:pt idx="1180">1.1041355905407861</cx:pt>
          <cx:pt idx="1181">1.1398290353755063</cx:pt>
          <cx:pt idx="1182">1.0933962695650881</cx:pt>
          <cx:pt idx="1183">1.1115152751521464</cx:pt>
          <cx:pt idx="1184">1.1407549929862189</cx:pt>
          <cx:pt idx="1185">1.1454267387280179</cx:pt>
          <cx:pt idx="1186">1.1973142358254765</cx:pt>
          <cx:pt idx="1187">1.2232228018592957</cx:pt>
          <cx:pt idx="1188">1.2417046125498552</cx:pt>
          <cx:pt idx="1189">1.2417333084021716</cx:pt>
          <cx:pt idx="1190">1.1844582155432146</cx:pt>
          <cx:pt idx="1191">1.1941326386213094</cx:pt>
          <cx:pt idx="1192">1.2010354249371764</cx:pt>
          <cx:pt idx="1193">1.2072496051750867</cx:pt>
          <cx:pt idx="1194">1.1985920859515748</cx:pt>
          <cx:pt idx="1195">1.1986081966995732</cx:pt>
          <cx:pt idx="1196">1.2073634236556985</cx:pt>
          <cx:pt idx="1197">1.2014098997121827</cx:pt>
          <cx:pt idx="1198">1.1977201043131331</cx:pt>
          <cx:pt idx="1199">1.1812754163172119</cx:pt>
          <cx:pt idx="1200">1.1782802586040775</cx:pt>
          <cx:pt idx="1201">1.1735401300260717</cx:pt>
          <cx:pt idx="1202">1.1735401300260717</cx:pt>
          <cx:pt idx="1203">1.2019315871670422</cx:pt>
          <cx:pt idx="1204">1.1995779430196731</cx:pt>
          <cx:pt idx="1205">1.2199319747381432</cx:pt>
          <cx:pt idx="1206">1.1961377020639596</cx:pt>
          <cx:pt idx="1207">1.2122374582450475</cx:pt>
          <cx:pt idx="1208">1.2302354227554571</cx:pt>
          <cx:pt idx="1209">1.224780346246511</cx:pt>
          <cx:pt idx="1210">1.1758194012550631</cx:pt>
          <cx:pt idx="1211">1.1753575635945215</cx:pt>
          <cx:pt idx="1212">1.219079217250066</cx:pt>
          <cx:pt idx="1213">1.2278371321101609</cx:pt>
          <cx:pt idx="1214">1.2455685125838039</cx:pt>
          <cx:pt idx="1215">1.2294639987156724</cx:pt>
          <cx:pt idx="1216">1.2058991017818037</cx:pt>
          <cx:pt idx="1217">1.155253318491255</cx:pt>
          <cx:pt idx="1218">1.1617804410057211</cx:pt>
          <cx:pt idx="1219">1.2194885398602866</cx:pt>
          <cx:pt idx="1220">1.2199755509138639</cx:pt>
          <cx:pt idx="1221">1.2125247242413455</cx:pt>
          <cx:pt idx="1222">1.211034705312471</cx:pt>
          <cx:pt idx="1223">1.2414354409404411</cx:pt>
          <cx:pt idx="1224">1.2105135226447272</cx:pt>
          <cx:pt idx="1225">1.2353611785139231</cx:pt>
          <cx:pt idx="1226">1.2070151271800111</cx:pt>
          <cx:pt idx="1227">1.1886913987151202</cx:pt>
          <cx:pt idx="1228">1.1575650226268908</cx:pt>
          <cx:pt idx="1229">1.1771905479602256</cx:pt>
          <cx:pt idx="1230">1.1913906199040689</cx:pt>
          <cx:pt idx="1231">1.1917205276791842</cx:pt>
          <cx:pt idx="1232">1.1874768479291775</cx:pt>
          <cx:pt idx="1233">1.1617487808838265</cx:pt>
          <cx:pt idx="1234">1.2160322231816441</cx:pt>
          <cx:pt idx="1235">1.2363102779837574</cx:pt>
          <cx:pt idx="1236">1.3026602312809425</cx:pt>
          <cx:pt idx="1237">1.2715905959380795</cx:pt>
          <cx:pt idx="1238">1.3048211221924404</cx:pt>
          <cx:pt idx="1239">1.3550586787990051</cx:pt>
          <cx:pt idx="1240">1.367398066133036</cx:pt>
          <cx:pt idx="1241">1.3042057961152791</cx:pt>
          <cx:pt idx="1242">1.2905724026325609</cx:pt>
          <cx:pt idx="1243">1.2738806671046496</cx:pt>
          <cx:pt idx="1244">1.3225067194492832</cx:pt>
          <cx:pt idx="1245">1.3216301324109367</cx:pt>
          <cx:pt idx="1246">1.3164227476668391</cx:pt>
          <cx:pt idx="1247">1.3452309975545491</cx:pt>
          <cx:pt idx="1248">1.3003953863804421</cx:pt>
          <cx:pt idx="1249">1.2080094770123802</cx:pt>
          <cx:pt idx="1250">1.2419304587487239</cx:pt>
          <cx:pt idx="1251">1.2242327646607751</cx:pt>
          <cx:pt idx="1252">1.210370941526586</cx:pt>
          <cx:pt idx="1253">1.1431877190206079</cx:pt>
          <cx:pt idx="1254">1.1333368492169944</cx:pt>
          <cx:pt idx="1255">1.1408978114151831</cx:pt>
          <cx:pt idx="1256">1.0934528775408199</cx:pt>
          <cx:pt idx="1257">1.0808487512082834</cx:pt>
          <cx:pt idx="1258">1.0837544362820017</cx:pt>
          <cx:pt idx="1259">0.98719712363820222</cx:pt>
          <cx:pt idx="1260">1.002806922661551</cx:pt>
          <cx:pt idx="1261">0.93783199485553492</cx:pt>
          <cx:pt idx="1262">0.94117198887540088</cx:pt>
          <cx:pt idx="1263">0.90531127561028768</cx:pt>
          <cx:pt idx="1264">0.90596008640608405</cx:pt>
          <cx:pt idx="1265">0.91546740778284574</cx:pt>
          <cx:pt idx="1266">0.91330277237233204</cx:pt>
          <cx:pt idx="1267">0.95044575144338539</cx:pt>
          <cx:pt idx="1268">0.95489115947147674</cx:pt>
          <cx:pt idx="1269">0.9375282371226471</cx:pt>
          <cx:pt idx="1270">0.97217282414188033</cx:pt>
          <cx:pt idx="1271">0.93857681453443575</cx:pt>
          <cx:pt idx="1272">0.90378260024507351</cx:pt>
          <cx:pt idx="1273">0.88107196987076686</cx:pt>
          <cx:pt idx="1274">0.86130054028176162</cx:pt>
          <cx:pt idx="1275">0.87665383933624996</cx:pt>
          <cx:pt idx="1276">0.9059357263238289</cx:pt>
          <cx:pt idx="1277">1.0705775109241509</cx:pt>
          <cx:pt idx="1278">1.0994008817763303</cx:pt>
          <cx:pt idx="1279">1.1347015405854066</cx:pt>
          <cx:pt idx="1280">1.1527052139835345</cx:pt>
          <cx:pt idx="1281">1.162383401642415</cx:pt>
          <cx:pt idx="1282">1.1620148969310395</cx:pt>
          <cx:pt idx="1283">1.1408035079180638</cx:pt>
          <cx:pt idx="1284">1.153924886497453</cx:pt>
          <cx:pt idx="1285">1.1755429657685059</cx:pt>
          <cx:pt idx="1286">1.20536940491239</cx:pt>
          <cx:pt idx="1287">1.2166469845676149</cx:pt>
          <cx:pt idx="1288">1.2148618009478682</cx:pt>
          <cx:pt idx="1289">1.1772913095687938</cx:pt>
          <cx:pt idx="1290">1.1572162893037257</cx:pt>
          <cx:pt idx="1291">1.2319051687640512</cx:pt>
          <cx:pt idx="1292">1.2131785931389385</cx:pt>
          <cx:pt idx="1293">1.197070370222389</cx:pt>
          <cx:pt idx="1294">1.2136905341328479</cx:pt>
          <cx:pt idx="1295">1.1807171500853821</cx:pt>
          <cx:pt idx="1296">1.2319263020948545</cx:pt>
          <cx:pt idx="1297">1.2129364482882876</cx:pt>
          <cx:pt idx="1298">1.1495198397891901</cx:pt>
          <cx:pt idx="1299">1.1329659986173408</cx:pt>
          <cx:pt idx="1300">1.0660659227853304</cx:pt>
          <cx:pt idx="1301">1.075708587637582</cx:pt>
          <cx:pt idx="1302">1.0877510808053021</cx:pt>
          <cx:pt idx="1303">1.072617434558818</cx:pt>
          <cx:pt idx="1304">1.0118473488976802</cx:pt>
          <cx:pt idx="1305">0.93582227657463524</cx:pt>
          <cx:pt idx="1306">1.0109936502864592</cx:pt>
          <cx:pt idx="1307">0.9749683755555012</cx:pt>
          <cx:pt idx="1308">1.0053981312389884</cx:pt>
          <cx:pt idx="1309">1.0052091907863652</cx:pt>
          <cx:pt idx="1310">1.0490280668587806</cx:pt>
          <cx:pt idx="1311">1.086272758448414</cx:pt>
          <cx:pt idx="1312">1.1027976961440791</cx:pt>
          <cx:pt idx="1313">1.1139327142848539</cx:pt>
          <cx:pt idx="1314">1.1107460473074817</cx:pt>
          <cx:pt idx="1315">1.1149810059719223</cx:pt>
          <cx:pt idx="1316">1.129957836666341</cx:pt>
          <cx:pt idx="1317">1.1661280858652181</cx:pt>
          <cx:pt idx="1318">1.1489968138166959</cx:pt>
          <cx:pt idx="1319">1.1371121417822012</cx:pt>
          <cx:pt idx="1320">1.1593634797426211</cx:pt>
          <cx:pt idx="1321">1.1668350453206764</cx:pt>
          <cx:pt idx="1322">1.1772842311521627</cx:pt>
          <cx:pt idx="1323">1.1983952871935932</cx:pt>
          <cx:pt idx="1324">1.1937119254324047</cx:pt>
          <cx:pt idx="1325">1.1999499989582891</cx:pt>
          <cx:pt idx="1326">1.1945113943635561</cx:pt>
          <cx:pt idx="1327">1.1931172828245813</cx:pt>
          <cx:pt idx="1328">1.2142390834280277</cx:pt>
          <cx:pt idx="1329">1.2254105106209219</cx:pt>
          <cx:pt idx="1330">1.2504364755197857</cx:pt>
          <cx:pt idx="1331">1.2417109534646225</cx:pt>
          <cx:pt idx="1332">1.246665621734149</cx:pt>
          <cx:pt idx="1333">1.2417787112912233</cx:pt>
          <cx:pt idx="1334">1.2458436646632709</cx:pt>
          <cx:pt idx="1335">1.2322766520252002</cx:pt>
          <cx:pt idx="1336">1.2363872101139401</cx:pt>
          <cx:pt idx="1337">1.2199417736246605</cx:pt>
          <cx:pt idx="1338">1.2318774103063128</cx:pt>
          <cx:pt idx="1339">1.2748445476565582</cx:pt>
          <cx:pt idx="1340">1.2977566851274944</cx:pt>
          <cx:pt idx="1341">1.2705489808124981</cx:pt>
          <cx:pt idx="1342">1.243323503088932</cx:pt>
          <cx:pt idx="1343">1.2620224600438665</cx:pt>
          <cx:pt idx="1344">1.261106110004093</cx:pt>
          <cx:pt idx="1345">1.2689329846529447</cx:pt>
          <cx:pt idx="1346">1.2960566186014753</cx:pt>
          <cx:pt idx="1347">1.2618634277705443</cx:pt>
          <cx:pt idx="1348">1.3104348668399681</cx:pt>
          <cx:pt idx="1349">1.3006543004178328</cx:pt>
          <cx:pt idx="1350">1.314614099226483</cx:pt>
          <cx:pt idx="1351">1.2662254524971939</cx:pt>
          <cx:pt idx="1352">1.273945631204239</cx:pt>
          <cx:pt idx="1353">1.2529507241872599</cx:pt>
          <cx:pt idx="1354">1.2543824784725155</cx:pt>
          <cx:pt idx="1355">1.2429273935943024</cx:pt>
          <cx:pt idx="1356">1.2044404910794568</cx:pt>
          <cx:pt idx="1357">1.220354951191067</cx:pt>
          <cx:pt idx="1358">1.199717639193949</cx:pt>
          <cx:pt idx="1359">1.19979308560929</cx:pt>
          <cx:pt idx="1360">1.1894643341852877</cx:pt>
          <cx:pt idx="1361">1.2185744450631317</cx:pt>
          <cx:pt idx="1362">1.2157542949737525</cx:pt>
          <cx:pt idx="1363">1.2364121713535756</cx:pt>
          <cx:pt idx="1364">1.2374389570454745</cx:pt>
          <cx:pt idx="1365">1.2956690012960641</cx:pt>
          <cx:pt idx="1366">1.2570628053330208</cx:pt>
          <cx:pt idx="1367">1.2910539221446395</cx:pt>
          <cx:pt idx="1368">1.2900486046265274</cx:pt>
          <cx:pt idx="1369">1.269623167914695</cx:pt>
          <cx:pt idx="1370">1.2503211541463044</cx:pt>
          <cx:pt idx="1371">1.2474017133557085</cx:pt>
          <cx:pt idx="1372">1.248683398578301</cx:pt>
          <cx:pt idx="1373">1.2409999675826862</cx:pt>
          <cx:pt idx="1374">1.2519904152987746</cx:pt>
          <cx:pt idx="1375">1.2395040257639574</cx:pt>
          <cx:pt idx="1376">1.2195158734174969</cx:pt>
          <cx:pt idx="1377">1.2634810516252672</cx:pt>
          <cx:pt idx="1378">1.2299002856507018</cx:pt>
          <cx:pt idx="1379">1.2692182859820702</cx:pt>
          <cx:pt idx="1380">1.2728034493548699</cx:pt>
          <cx:pt idx="1381">1.3180996857632563</cx:pt>
          <cx:pt idx="1382">1.3315594521885392</cx:pt>
          <cx:pt idx="1383">1.3164515610700143</cx:pt>
          <cx:pt idx="1384">1.3131512068128413</cx:pt>
          <cx:pt idx="1385">1.2904316305420629</cx:pt>
          <cx:pt idx="1386">1.2932532710140368</cx:pt>
          <cx:pt idx="1387">1.278594594830994</cx:pt>
          <cx:pt idx="1388">1.2457146773925654</cx:pt>
          <cx:pt idx="1389">1.2568965611844281</cx:pt>
          <cx:pt idx="1390">1.2463406667004264</cx:pt>
          <cx:pt idx="1391">1.2270034520181134</cx:pt>
          <cx:pt idx="1392">1.2716943173505211</cx:pt>
          <cx:pt idx="1393">1.2097532758813867</cx:pt>
          <cx:pt idx="1394">1.2061942143612776</cx:pt>
          <cx:pt idx="1395">1.1558568499045474</cx:pt>
          <cx:pt idx="1396">1.2107461364367635</cx:pt>
          <cx:pt idx="1397">1.1568975555436996</cx:pt>
          <cx:pt idx="1398">1.1676637447012106</cx:pt>
          <cx:pt idx="1399">1.1786132509870646</cx:pt>
          <cx:pt idx="1400">1.2102569785062129</cx:pt>
          <cx:pt idx="1401">1.176252768206155</cx:pt>
          <cx:pt idx="1402">1.1989545733536016</cx:pt>
          <cx:pt idx="1403">1.1727919336098067</cx:pt>
          <cx:pt idx="1404">1.1657938935758971</cx:pt>
          <cx:pt idx="1405">1.180733066663521</cx:pt>
          <cx:pt idx="1406">1.1768811793655407</cx:pt>
          <cx:pt idx="1407">1.1694494726004694</cx:pt>
          <cx:pt idx="1408">1.1891861894183968</cx:pt>
          <cx:pt idx="1409">1.1795783875664185</cx:pt>
          <cx:pt idx="1410">1.1264696148158846</cx:pt>
          <cx:pt idx="1411">1.0597720422851296</cx:pt>
          <cx:pt idx="1412">1.0306132534374466</cx:pt>
          <cx:pt idx="1413">1.0709218823802782</cx:pt>
          <cx:pt idx="1414">1.0373179940064927</cx:pt>
          <cx:pt idx="1415">1.0700426997603152</cx:pt>
          <cx:pt idx="1416">1.0736721818241297</cx:pt>
          <cx:pt idx="1417">1.0742300637596474</cx:pt>
          <cx:pt idx="1418">1.0655020941526472</cx:pt>
          <cx:pt idx="1419">1.0639149672183688</cx:pt>
          <cx:pt idx="1420">1.1116224551342146</cx:pt>
          <cx:pt idx="1421">1.1110118097389015</cx:pt>
          <cx:pt idx="1422">1.0683823845141909</cx:pt>
          <cx:pt idx="1423">1.0690225420459094</cx:pt>
          <cx:pt idx="1424">1.1046239803349527</cx:pt>
          <cx:pt idx="1425">1.1399836659446874</cx:pt>
          <cx:pt idx="1426">1.0760966606158138</cx:pt>
          <cx:pt idx="1427">1.0772073835276272</cx:pt>
          <cx:pt idx="1428">1.0687980143143507</cx:pt>
          <cx:pt idx="1429">1.0594523091684207</cx:pt>
          <cx:pt idx="1430">1.0599412258700247</cx:pt>
          <cx:pt idx="1431">1.0710500272720878</cx:pt>
          <cx:pt idx="1432">1.0283042619635558</cx:pt>
          <cx:pt idx="1433">1.0314560626587068</cx:pt>
          <cx:pt idx="1434">1.0290172188946154</cx:pt>
          <cx:pt idx="1435">1.0134903840790448</cx:pt>
          <cx:pt idx="1436">1.0135677284867968</cx:pt>
          <cx:pt idx="1437">1.0407389063854426</cx:pt>
          <cx:pt idx="1438">1.0031857301593767</cx:pt>
          <cx:pt idx="1439">0.97396358118323101</cx:pt>
          <cx:pt idx="1440">1.0435300941857231</cx:pt>
          <cx:pt idx="1441">1.0397570450079565</cx:pt>
          <cx:pt idx="1442">1.0341971176525873</cx:pt>
          <cx:pt idx="1443">0.99385034373748959</cx:pt>
          <cx:pt idx="1444">1.0602136522917194</cx:pt>
          <cx:pt idx="1445">1.0125500413346968</cx:pt>
          <cx:pt idx="1446">1.0116973901297772</cx:pt>
          <cx:pt idx="1447">1.0439934381262053</cx:pt>
          <cx:pt idx="1448">1.0528508097476141</cx:pt>
          <cx:pt idx="1449">1.0540174375316043</cx:pt>
          <cx:pt idx="1450">1.0130142230452415</cx:pt>
          <cx:pt idx="1451">1.0562036223920193</cx:pt>
          <cx:pt idx="1452">1.055131086261514</cx:pt>
          <cx:pt idx="1453">1.0513746338435483</cx:pt>
          <cx:pt idx="1454">1.011801397985552</cx:pt>
          <cx:pt idx="1455">0.9816547722870923</cx:pt>
          <cx:pt idx="1456">0.98053797103614415</cx:pt>
          <cx:pt idx="1457">1.0134933895071603</cx:pt>
          <cx:pt idx="1458">1.0209916860525874</cx:pt>
          <cx:pt idx="1459">1.0482662204638271</cx:pt>
          <cx:pt idx="1460">0.99377146474324296</cx:pt>
          <cx:pt idx="1461">1.038360555721451</cx:pt>
          <cx:pt idx="1462">1.0389860773684683</cx:pt>
          <cx:pt idx="1463">1.0678647725315191</cx:pt>
          <cx:pt idx="1464">1.0671408249288772</cx:pt>
          <cx:pt idx="1465">1.0301467365625998</cx:pt>
          <cx:pt idx="1466">1.0528647291703879</cx:pt>
          <cx:pt idx="1467">1.039868526172486</cx:pt>
          <cx:pt idx="1468">1.0446054636620676</cx:pt>
          <cx:pt idx="1469">1.0419378497581417</cx:pt>
          <cx:pt idx="1470">1.0016026812236889</cx:pt>
          <cx:pt idx="1471">1.0225272387682336</cx:pt>
          <cx:pt idx="1472">1.0423332028421268</cx:pt>
          <cx:pt idx="1473">1.0739742499963267</cx:pt>
          <cx:pt idx="1474">1.0287251344741464</cx:pt>
          <cx:pt idx="1475">1.0693107136369908</cx:pt>
          <cx:pt idx="1476">1.0431528248976532</cx:pt>
          <cx:pt idx="1477">0.99073431491930308</cx:pt>
          <cx:pt idx="1478">0.96993239484755456</cx:pt>
          <cx:pt idx="1479">0.98414143689618705</cx:pt>
          <cx:pt idx="1480">0.9848195470388903</cx:pt>
          <cx:pt idx="1481">1.0344644902601514</cx:pt>
          <cx:pt idx="1482">1.0651978392681845</cx:pt>
          <cx:pt idx="1483">1.1032089557286957</cx:pt>
          <cx:pt idx="1484">1.1062723989550018</cx:pt>
          <cx:pt idx="1485">1.1683176331606155</cx:pt>
          <cx:pt idx="1486">1.1869954342454481</cx:pt>
          <cx:pt idx="1487">1.152162434668857</cx:pt>
          <cx:pt idx="1488">1.181298185175466</cx:pt>
          <cx:pt idx="1489">1.1641919895385582</cx:pt>
          <cx:pt idx="1490">1.1639127924830737</cx:pt>
          <cx:pt idx="1491">1.1414733371000585</cx:pt>
          <cx:pt idx="1492">1.1392003648456082</cx:pt>
          <cx:pt idx="1493">1.1151176939069554</cx:pt>
          <cx:pt idx="1494">1.1464538528792199</cx:pt>
          <cx:pt idx="1495">1.1573940208676685</cx:pt>
          <cx:pt idx="1496">1.1324789206634818</cx:pt>
          <cx:pt idx="1497">1.1539053627602633</cx:pt>
          <cx:pt idx="1498">1.1533294631520998</cx:pt>
          <cx:pt idx="1499">1.1940787339989372</cx:pt>
          <cx:pt idx="1500">1.2010328888086281</cx:pt>
          <cx:pt idx="1501">1.2464568635310558</cx:pt>
          <cx:pt idx="1502">1.264421361457621</cx:pt>
          <cx:pt idx="1503">1.2232825633863404</cx:pt>
          <cx:pt idx="1504">1.2238642400858513</cx:pt>
          <cx:pt idx="1505">1.2073943160719109</cx:pt>
          <cx:pt idx="1506">1.232751151814043</cx:pt>
          <cx:pt idx="1507">1.2475568768274812</cx:pt>
          <cx:pt idx="1508">1.2500981570656158</cx:pt>
          <cx:pt idx="1509">1.2571354502319485</cx:pt>
          <cx:pt idx="1510">1.2655501279826022</cx:pt>
          <cx:pt idx="1511">1.2403874070387164</cx:pt>
          <cx:pt idx="1512">1.2184303073188483</cx:pt>
          <cx:pt idx="1513">1.2090125637520663</cx:pt>
          <cx:pt idx="1514">1.2021460216925661</cx:pt>
          <cx:pt idx="1515">1.1684162087122931</cx:pt>
          <cx:pt idx="1516">1.2006050198933469</cx:pt>
          <cx:pt idx="1517">1.2123199475272251</cx:pt>
          <cx:pt idx="1518">1.2262136844775466</cx:pt>
          <cx:pt idx="1519">1.2469800300735774</cx:pt>
          <cx:pt idx="1520">1.2505026115963118</cx:pt>
          <cx:pt idx="1521">1.2448795814912361</cx:pt>
          <cx:pt idx="1522">1.2551085953840404</cx:pt>
          <cx:pt idx="1523">1.2551678918700921</cx:pt>
          <cx:pt idx="1524">1.247578850616565</cx:pt>
          <cx:pt idx="1525">1.2597221459740529</cx:pt>
          <cx:pt idx="1526">1.2706492593276431</cx:pt>
          <cx:pt idx="1527">1.268679692010376</cx:pt>
          <cx:pt idx="1528">1.2820934748141111</cx:pt>
          <cx:pt idx="1529">1.255863306127766</cx:pt>
          <cx:pt idx="1530">1.2560329814836531</cx:pt>
          <cx:pt idx="1531">1.2213926477591068</cx:pt>
          <cx:pt idx="1532">1.2198777025568603</cx:pt>
          <cx:pt idx="1533">1.2129626028291518</cx:pt>
          <cx:pt idx="1534">1.2395079205303503</cx:pt>
          <cx:pt idx="1535">1.2515131531125809</cx:pt>
          <cx:pt idx="1536">1.2253814325231209</cx:pt>
          <cx:pt idx="1537">1.2295447713798746</cx:pt>
          <cx:pt idx="1538">1.24739544744193</cx:pt>
          <cx:pt idx="1539">1.2253099068464655</cx:pt>
          <cx:pt idx="1540">1.217141223778363</cx:pt>
          <cx:pt idx="1541">1.1884250661825655</cx:pt>
          <cx:pt idx="1542">1.206130127746369</cx:pt>
          <cx:pt idx="1543">1.1643221598655695</cx:pt>
          <cx:pt idx="1544">1.1336907482394303</cx:pt>
          <cx:pt idx="1545">1.1090403846175507</cx:pt>
          <cx:pt idx="1546">1.1222717109075899</cx:pt>
          <cx:pt idx="1547">1.1178754480000803</cx:pt>
          <cx:pt idx="1548">1.1137811749832762</cx:pt>
          <cx:pt idx="1549">1.0770316807686351</cx:pt>
          <cx:pt idx="1550">1.1142651307517415</cx:pt>
          <cx:pt idx="1551">1.1538290078301658</cx:pt>
          <cx:pt idx="1552">1.181190515743654</cx:pt>
          <cx:pt idx="1553">1.1919163069438312</cx:pt>
          <cx:pt idx="1554">1.1872358024313088</cx:pt>
          <cx:pt idx="1555">1.1524979866339911</cx:pt>
          <cx:pt idx="1556">1.1515199350942824</cx:pt>
          <cx:pt idx="1557">1.1409992092031875</cx:pt>
          <cx:pt idx="1558">1.1498716070256185</cx:pt>
          <cx:pt idx="1559">1.1448575678112596</cx:pt>
          <cx:pt idx="1560">1.1324328403623036</cx:pt>
          <cx:pt idx="1561">1.1217478664397222</cx:pt>
          <cx:pt idx="1562">1.0948449740677351</cx:pt>
          <cx:pt idx="1563">1.0969259030497953</cx:pt>
          <cx:pt idx="1564">1.0698493287406861</cx:pt>
          <cx:pt idx="1565">1.0508869269970644</cx:pt>
          <cx:pt idx="1566">1.050740078536875</cx:pt>
          <cx:pt idx="1567">1.0623701543377366</cx:pt>
          <cx:pt idx="1568">1.0555066877173691</cx:pt>
          <cx:pt idx="1569">1.0377919198786998</cx:pt>
          <cx:pt idx="1570">1.0268723297514619</cx:pt>
          <cx:pt idx="1571">1.0308115316550857</cx:pt>
          <cx:pt idx="1572">1.012742719594643</cx:pt>
          <cx:pt idx="1573">1.0108594840786349</cx:pt>
          <cx:pt idx="1574">1.063184546214976</cx:pt>
          <cx:pt idx="1575">1.0704112970384729</cx:pt>
          <cx:pt idx="1576">1.0729602407176697</cx:pt>
          <cx:pt idx="1577">1.0771183885666913</cx:pt>
          <cx:pt idx="1578">1.0395675493469254</cx:pt>
          <cx:pt idx="1579">1.0281041585946147</cx:pt>
          <cx:pt idx="1580">0.9987419672975496</cx:pt>
          <cx:pt idx="1581">0.95397950531011089</cx:pt>
          <cx:pt idx="1582">0.9308864271380719</cx:pt>
          <cx:pt idx="1583">0.93381949571355194</cx:pt>
          <cx:pt idx="1584">0.94838786381410645</cx:pt>
          <cx:pt idx="1585">0.97051923536161588</cx:pt>
          <cx:pt idx="1586">1.0093847562782465</cx:pt>
          <cx:pt idx="1587">1.0681162384546792</cx:pt>
          <cx:pt idx="1588">1.0200476098872937</cx:pt>
          <cx:pt idx="1589">1.0007572420278874</cx:pt>
          <cx:pt idx="1590">1.057149496273476</cx:pt>
          <cx:pt idx="1591">1.1060845824114336</cx:pt>
          <cx:pt idx="1592">1.133045737681476</cx:pt>
          <cx:pt idx="1593">1.1367728065858642</cx:pt>
          <cx:pt idx="1594">1.1789859757581862</cx:pt>
          <cx:pt idx="1595">1.1730140468140133</cx:pt>
          <cx:pt idx="1596">1.1925634034567587</cx:pt>
          <cx:pt idx="1597">1.1862304344764389</cx:pt>
          <cx:pt idx="1598">1.170630491285118</cx:pt>
          <cx:pt idx="1599">1.1707459553438668</cx:pt>
          <cx:pt idx="1600">1.2071113519853727</cx:pt>
          <cx:pt idx="1601">1.2181670798715416</cx:pt>
          <cx:pt idx="1602">1.2361220878586201</cx:pt>
          <cx:pt idx="1603">1.247418668023424</cx:pt>
          <cx:pt idx="1604">1.1984931151769025</cx:pt>
          <cx:pt idx="1605">1.1609790260166521</cx:pt>
          <cx:pt idx="1606">1.1081476726356536</cx:pt>
          <cx:pt idx="1607">1.1549637502397274</cx:pt>
          <cx:pt idx="1608">1.1612268581513061</cx:pt>
          <cx:pt idx="1609">1.1679759976277264</cx:pt>
          <cx:pt idx="1610">1.1699582957495123</cx:pt>
          <cx:pt idx="1611">1.1268950322869933</cx:pt>
          <cx:pt idx="1612">1.1551369028681477</cx:pt>
          <cx:pt idx="1613">1.1572564166134933</cx:pt>
          <cx:pt idx="1614">1.1268368911738496</cx:pt>
          <cx:pt idx="1615">1.0914106131226606</cx:pt>
          <cx:pt idx="1616">1.0803247702405991</cx:pt>
          <cx:pt idx="1617">1.0526042690044717</cx:pt>
          <cx:pt idx="1618">1.0738841308245424</cx:pt>
          <cx:pt idx="1619">1.0734756099033982</cx:pt>
          <cx:pt idx="1620">1.0509919233697786</cx:pt>
          <cx:pt idx="1621">1.0591842447694442</cx:pt>
          <cx:pt idx="1622">1.0398996414884552</cx:pt>
          <cx:pt idx="1623">1.0439364603908297</cx:pt>
          <cx:pt idx="1624">1.0386419625822858</cx:pt>
          <cx:pt idx="1625">1.1044945273379767</cx:pt>
          <cx:pt idx="1626">1.0877229722534207</cx:pt>
          <cx:pt idx="1627">1.0780732600445055</cx:pt>
          <cx:pt idx="1628">1.1233795993064546</cx:pt>
          <cx:pt idx="1629">1.1424237694330053</cx:pt>
          <cx:pt idx="1630">1.0774503748873201</cx:pt>
          <cx:pt idx="1631">1.1133022743275915</cx:pt>
          <cx:pt idx="1632">1.1450949365852174</cx:pt>
          <cx:pt idx="1633">1.1420850059954115</cx:pt>
          <cx:pt idx="1634">1.1416984725832167</cx:pt>
          <cx:pt idx="1635">1.1982679549892097</cx:pt>
          <cx:pt idx="1636">1.2000940576165005</cx:pt>
          <cx:pt idx="1637">1.1600741157456229</cx:pt>
          <cx:pt idx="1638">1.1769473469409175</cx:pt>
          <cx:pt idx="1639">1.2389170280123081</cx:pt>
          <cx:pt idx="1640">1.2235289079158473</cx:pt>
          <cx:pt idx="1641">1.2162654353369584</cx:pt>
          <cx:pt idx="1642">1.2061735831312494</cx:pt>
          <cx:pt idx="1643">1.2008581222963253</cx:pt>
          <cx:pt idx="1644">1.1581688380677762</cx:pt>
          <cx:pt idx="1645">1.1421325586853717</cx:pt>
          <cx:pt idx="1646">1.1407793262784729</cx:pt>
          <cx:pt idx="1647">1.1325558523184134</cx:pt>
          <cx:pt idx="1648">1.1819635426238631</cx:pt>
          <cx:pt idx="1649">1.2026670075438506</cx:pt>
          <cx:pt idx="1650">1.2215763793454386</cx:pt>
          <cx:pt idx="1651">1.2185887824404313</cx:pt>
          <cx:pt idx="1652">1.2425411485126452</cx:pt>
          <cx:pt idx="1653">1.2538678091244784</cx:pt>
          <cx:pt idx="1654">1.2335727478093577</cx:pt>
          <cx:pt idx="1655">1.2233543485306964</cx:pt>
          <cx:pt idx="1656">1.206043212279335</cx:pt>
          <cx:pt idx="1657">1.2214122220167742</cx:pt>
          <cx:pt idx="1658">1.1678686747144602</cx:pt>
          <cx:pt idx="1659">1.1983722676839708</cx:pt>
          <cx:pt idx="1660">1.1933983158316777</cx:pt>
          <cx:pt idx="1661">1.1281505565131451</cx:pt>
          <cx:pt idx="1662">1.1652803421761084</cx:pt>
          <cx:pt idx="1663">1.1673444172589968</cx:pt>
          <cx:pt idx="1664">1.1788736100641777</cx:pt>
          <cx:pt idx="1665">1.1748487307861744</cx:pt>
          <cx:pt idx="1666">1.2055210158019767</cx:pt>
          <cx:pt idx="1667">1.1927503713165895</cx:pt>
          <cx:pt idx="1668">1.1979722330940594</cx:pt>
          <cx:pt idx="1669">1.16504175841494</cx:pt>
          <cx:pt idx="1670">1.1492214255997284</cx:pt>
          <cx:pt idx="1671">1.1391303397919323</cx:pt>
          <cx:pt idx="1672">1.1124479065680275</cx:pt>
          <cx:pt idx="1673">1.126102218671357</cx:pt>
          <cx:pt idx="1674">1.1491416586844889</cx:pt>
          <cx:pt idx="1675">1.1515908037624933</cx:pt>
          <cx:pt idx="1676">1.1649717573410523</cx:pt>
          <cx:pt idx="1677">1.203891630285411</cx:pt>
          <cx:pt idx="1678">1.2004380905300376</cx:pt>
          <cx:pt idx="1679">1.2077965117490215</cx:pt>
          <cx:pt idx="1680">1.2191339021060683</cx:pt>
          <cx:pt idx="1681">1.2054190381237826</cx:pt>
          <cx:pt idx="1682">1.1935006464612614</cx:pt>
          <cx:pt idx="1683">1.2109168655082869</cx:pt>
          <cx:pt idx="1684">1.210454697505299</cx:pt>
          <cx:pt idx="1685">1.1885904430792427</cx:pt>
          <cx:pt idx="1686">1.1737943190560582</cx:pt>
          <cx:pt idx="1687">1.1774826547762181</cx:pt>
          <cx:pt idx="1688">1.2040326875312308</cx:pt>
          <cx:pt idx="1689">1.1826642920060648</cx:pt>
          <cx:pt idx="1690">1.2279187138471717</cx:pt>
          <cx:pt idx="1691">1.238619736067011</cx:pt>
          <cx:pt idx="1692">1.1859258956128147</cx:pt>
          <cx:pt idx="1693">1.186631279338046</cx:pt>
          <cx:pt idx="1694">1.1969281083472487</cx:pt>
          <cx:pt idx="1695">1.1581934009581418</cx:pt>
          <cx:pt idx="1696">1.1680881324016055</cx:pt>
          <cx:pt idx="1697">1.1654543290508845</cx:pt>
          <cx:pt idx="1698">1.1142770451433219</cx:pt>
          <cx:pt idx="1699">1.1087654934837343</cx:pt>
          <cx:pt idx="1700">1.2204676416717548</cx:pt>
          <cx:pt idx="1701">1.1580868091258374</cx:pt>
          <cx:pt idx="1702">1.1592867902589783</cx:pt>
          <cx:pt idx="1703">1.1803070416818149</cx:pt>
          <cx:pt idx="1704">1.2210642145652919</cx:pt>
          <cx:pt idx="1705">1.2303955069197363</cx:pt>
          <cx:pt idx="1706">1.2654091156163909</cx:pt>
          <cx:pt idx="1707">1.242672130124638</cx:pt>
          <cx:pt idx="1708">1.3105805066335356</cx:pt>
          <cx:pt idx="1709">1.3474475231288996</cx:pt>
          <cx:pt idx="1710">1.3633090659111018</cx:pt>
          <cx:pt idx="1711">1.3546495496248652</cx:pt>
          <cx:pt idx="1712">1.3927168520144559</cx:pt>
          <cx:pt idx="1713">1.4226898596607793</cx:pt>
          <cx:pt idx="1714">1.4144133262491783</cx:pt>
          <cx:pt idx="1715">1.3611670533503359</cx:pt>
          <cx:pt idx="1716">1.3585106787831354</cx:pt>
          <cx:pt idx="1717">1.3618939229878599</cx:pt>
          <cx:pt idx="1718">1.2848149828788127</cx:pt>
          <cx:pt idx="1719">1.288644302331343</cx:pt>
          <cx:pt idx="1720">1.1550916767119372</cx:pt>
          <cx:pt idx="1721">1.0895938819515305</cx:pt>
          <cx:pt idx="1722">1.0227832210402059</cx:pt>
          <cx:pt idx="1723">1.021122044559345</cx:pt>
          <cx:pt idx="1724">1.0265319922118756</cx:pt>
          <cx:pt idx="1725">0.9543220497885625</cx:pt>
          <cx:pt idx="1726">0.954322832675357</cx:pt>
          <cx:pt idx="1727">0.95608661176454202</cx:pt>
          <cx:pt idx="1728">0.93960770733224652</cx:pt>
          <cx:pt idx="1729">0.92585965024620387</cx:pt>
          <cx:pt idx="1730">0.91372051110489627</cx:pt>
          <cx:pt idx="1731">0.88570440828222963</cx:pt>
          <cx:pt idx="1732">0.88231904464979327</cx:pt>
          <cx:pt idx="1733">0.88142811235028073</cx:pt>
          <cx:pt idx="1734">0.93288552475577102</cx:pt>
          <cx:pt idx="1735">0.93397703582490466</cx:pt>
          <cx:pt idx="1736">0.93752455906529431</cx:pt>
          <cx:pt idx="1737">0.90004495417741737</cx:pt>
          <cx:pt idx="1738">0.88149226921718082</cx:pt>
          <cx:pt idx="1739">0.89416473578007072</cx:pt>
          <cx:pt idx="1740">0.89260441612069152</cx:pt>
          <cx:pt idx="1741">0.87992293288451784</cx:pt>
          <cx:pt idx="1742">0.8622941866717041</cx:pt>
          <cx:pt idx="1743">0.88216009702412201</cx:pt>
          <cx:pt idx="1744">0.97658918526758653</cx:pt>
          <cx:pt idx="1745">1.0541522169742485</cx:pt>
          <cx:pt idx="1746">1.0460717981556289</cx:pt>
          <cx:pt idx="1747">1.2026224218993973</cx:pt>
          <cx:pt idx="1748">1.1899101192754109</cx:pt>
          <cx:pt idx="1749">1.187232075038406</cx:pt>
          <cx:pt idx="1750">1.1893205343108024</cx:pt>
          <cx:pt idx="1751">1.176498848375928</cx:pt>
          <cx:pt idx="1752">1.1821654103683055</cx:pt>
          <cx:pt idx="1753">1.1509316565986529</cx:pt>
          <cx:pt idx="1754">1.1505498935166889</cx:pt>
          <cx:pt idx="1755">1.1261314106368703</cx:pt>
          <cx:pt idx="1756">1.1255202628424621</cx:pt>
          <cx:pt idx="1757">1.0925152356969143</cx:pt>
          <cx:pt idx="1758">1.111860613111421</cx:pt>
          <cx:pt idx="1759">1.1134088177315187</cx:pt>
          <cx:pt idx="1760">1.1124883571649573</cx:pt>
          <cx:pt idx="1761">1.081252147695694</cx:pt>
          <cx:pt idx="1762">1.1828076863922152</cx:pt>
          <cx:pt idx="1763">1.1845899431167448</cx:pt>
          <cx:pt idx="1764">1.2034586651068198</cx:pt>
          <cx:pt idx="1765">1.1931000863682617</cx:pt>
          <cx:pt idx="1766">1.1900933992130929</cx:pt>
          <cx:pt idx="1767">1.1656553087643768</cx:pt>
          <cx:pt idx="1768">1.1702111510026874</cx:pt>
          <cx:pt idx="1769">1.1881582386197553</cx:pt>
          <cx:pt idx="1770">1.1949626551179062</cx:pt>
          <cx:pt idx="1771">1.1956280992533326</cx:pt>
          <cx:pt idx="1772">1.1742517304380615</cx:pt>
          <cx:pt idx="1773">1.1975329045463696</cx:pt>
          <cx:pt idx="1774">1.2185840662165175</cx:pt>
          <cx:pt idx="1775">1.2223294136206893</cx:pt>
          <cx:pt idx="1776">1.2475174888784009</cx:pt>
          <cx:pt idx="1777">1.1759273181074008</cx:pt>
          <cx:pt idx="1778">1.1806594689448755</cx:pt>
          <cx:pt idx="1779">1.1684445402663155</cx:pt>
          <cx:pt idx="1780">1.1925467773181706</cx:pt>
          <cx:pt idx="1781">1.1852998553642184</cx:pt>
          <cx:pt idx="1782">1.1815226879196885</cx:pt>
          <cx:pt idx="1783">1.129869079996012</cx:pt>
          <cx:pt idx="1784">1.1172748043815128</cx:pt>
          <cx:pt idx="1785">1.1030286935753644</cx:pt>
          <cx:pt idx="1786">1.0956017083996705</cx:pt>
          <cx:pt idx="1787">1.1633918405733488</cx:pt>
          <cx:pt idx="1788">1.163809094824148</cx:pt>
          <cx:pt idx="1789">1.1793888929948173</cx:pt>
          <cx:pt idx="1790">1.1650028858925334</cx:pt>
          <cx:pt idx="1791">1.1111754674848746</cx:pt>
          <cx:pt idx="1792">1.0958848836264323</cx:pt>
          <cx:pt idx="1793">1.1163714312063848</cx:pt>
          <cx:pt idx="1794">1.1171005676128352</cx:pt>
          <cx:pt idx="1795">1.0568689389053822</cx:pt>
          <cx:pt idx="1796">1.03721272161744</cx:pt>
          <cx:pt idx="1797">1.1007556965322849</cx:pt>
          <cx:pt idx="1798">1.117239825456561</cx:pt>
          <cx:pt idx="1799">1.1345329688780599</cx:pt>
          <cx:pt idx="1800">1.1383755819224344</cx:pt>
          <cx:pt idx="1801">1.1445194243190799</cx:pt>
          <cx:pt idx="1802">1.1620335425550281</cx:pt>
          <cx:pt idx="1803">1.1581404040107999</cx:pt>
          <cx:pt idx="1804">1.1524095695940542</cx:pt>
          <cx:pt idx="1805">1.181561454713367</cx:pt>
          <cx:pt idx="1806">1.104743169820193</cx:pt>
          <cx:pt idx="1807">1.0931427328957359</cx:pt>
          <cx:pt idx="1808">1.0936876878801778</cx:pt>
          <cx:pt idx="1809">1.1187205849212021</cx:pt>
          <cx:pt idx="1810">1.0918662711261797</cx:pt>
          <cx:pt idx="1811">1.0849387397293528</cx:pt>
          <cx:pt idx="1812">1.0849506053696423</cx:pt>
          <cx:pt idx="1813">1.08449808296466</cx:pt>
          <cx:pt idx="1814">1.0335509596565116</cx:pt>
          <cx:pt idx="1815">1.0310035285400669</cx:pt>
          <cx:pt idx="1816">1.0141153780512353</cx:pt>
          <cx:pt idx="1817">0.89828988230062956</cx:pt>
          <cx:pt idx="1818">0.89779992907310846</cx:pt>
          <cx:pt idx="1819">0.90018618763775393</cx:pt>
          <cx:pt idx="1820">0.97302118676062643</cx:pt>
          <cx:pt idx="1821">1.0169544910081321</cx:pt>
          <cx:pt idx="1822">1.0191651417738423</cx:pt>
          <cx:pt idx="1823">0.98653119215940077</cx:pt>
          <cx:pt idx="1824">1.0309525224025964</cx:pt>
          <cx:pt idx="1825">1.0483101344216008</cx:pt>
          <cx:pt idx="1826">1.0230774512539935</cx:pt>
          <cx:pt idx="1827">0.98618625691769446</cx:pt>
          <cx:pt idx="1828">0.9837785471766789</cx:pt>
          <cx:pt idx="1829">0.99689408469102381</cx:pt>
          <cx:pt idx="1830">0.99721451133103511</cx:pt>
          <cx:pt idx="1831">1.0487378292417791</cx:pt>
          <cx:pt idx="1832">1.0109656815121877</cx:pt>
          <cx:pt idx="1833">1.0359117257026658</cx:pt>
          <cx:pt idx="1834">1.0434316174191218</cx:pt>
          <cx:pt idx="1835">0.98763947072701119</cx:pt>
          <cx:pt idx="1836">0.98505971579298701</cx:pt>
          <cx:pt idx="1837">0.99297654241835098</cx:pt>
          <cx:pt idx="1838">0.99048716679531312</cx:pt>
          <cx:pt idx="1839">1.0343667061340573</cx:pt>
          <cx:pt idx="1840">1.0404458040976317</cx:pt>
          <cx:pt idx="1841">0.99919070700518253</cx:pt>
          <cx:pt idx="1842">0.99919070700518253</cx:pt>
          <cx:pt idx="1843">1.000152861879841</cx:pt>
          <cx:pt idx="1844">1.0007512120930691</cx:pt>
          <cx:pt idx="1845">0.99992758358482758</cx:pt>
          <cx:pt idx="1846">1.0288237341070958</cx:pt>
          <cx:pt idx="1847">1.0235347811754427</cx:pt>
          <cx:pt idx="1848">1.0334787254037059</cx:pt>
          <cx:pt idx="1849">1.0489263805072961</cx:pt>
          <cx:pt idx="1850">1.0444665360017935</cx:pt>
          <cx:pt idx="1851">1.0066596635213507</cx:pt>
          <cx:pt idx="1852">1.0158315205588568</cx:pt>
          <cx:pt idx="1853">1.0343178106043291</cx:pt>
          <cx:pt idx="1854">0.99882597750225377</cx:pt>
          <cx:pt idx="1855">0.96267228641655733</cx:pt>
          <cx:pt idx="1856">1.0131027225492888</cx:pt>
          <cx:pt idx="1857">1.0472712764306968</cx:pt>
          <cx:pt idx="1858">1.0832348850050728</cx:pt>
          <cx:pt idx="1859">1.0744972628239178</cx:pt>
          <cx:pt idx="1860">1.1208546103180663</cx:pt>
          <cx:pt idx="1861">1.08289421692863</cx:pt>
          <cx:pt idx="1862">1.1140802092505182</cx:pt>
          <cx:pt idx="1863">1.1118507404168587</cx:pt>
          <cx:pt idx="1864">1.1375851111268429</cx:pt>
          <cx:pt idx="1865">1.1452532721940876</cx:pt>
          <cx:pt idx="1866">1.1350849884631911</cx:pt>
          <cx:pt idx="1867">1.156331148130989</cx:pt>
          <cx:pt idx="1868">1.1493966933224968</cx:pt>
          <cx:pt idx="1869">1.1410080237863487</cx:pt>
          <cx:pt idx="1870">1.1475699462817925</cx:pt>
          <cx:pt idx="1871">1.2106837148781944</cx:pt>
          <cx:pt idx="1872">1.214752422626052</cx:pt>
          <cx:pt idx="1873">1.2075844607666406</cx:pt>
          <cx:pt idx="1874">1.2206180834917721</cx:pt>
          <cx:pt idx="1875">1.2560576895748978</cx:pt>
          <cx:pt idx="1876">1.2286019061022828</cx:pt>
          <cx:pt idx="1877">1.2349640043151151</cx:pt>
          <cx:pt idx="1878">1.2511715888828308</cx:pt>
          <cx:pt idx="1879">1.2389692137594375</cx:pt>
          <cx:pt idx="1880">1.2114610254118596</cx:pt>
          <cx:pt idx="1881">1.2504750361730355</cx:pt>
          <cx:pt idx="1882">1.2266898267428823</cx:pt>
          <cx:pt idx="1883">1.2544248120933363</cx:pt>
          <cx:pt idx="1884">1.2660003086923775</cx:pt>
          <cx:pt idx="1885">1.2630816174791686</cx:pt>
          <cx:pt idx="1886">1.2632762095476959</cx:pt>
          <cx:pt idx="1887">1.2729486089074999</cx:pt>
          <cx:pt idx="1888">1.2375495345943579</cx:pt>
          <cx:pt idx="1889">1.2376453821487086</cx:pt>
          <cx:pt idx="1890">1.1806908653581718</cx:pt>
          <cx:pt idx="1891">1.1382433026782779</cx:pt>
          <cx:pt idx="1892">1.1328440965668827</cx:pt>
          <cx:pt idx="1893">1.1336080126907981</cx:pt>
          <cx:pt idx="1894">1.1229374451620739</cx:pt>
          <cx:pt idx="1895">1.1414101482100028</cx:pt>
          <cx:pt idx="1896">1.231664092511269</cx:pt>
          <cx:pt idx="1897">1.2193893327512688</cx:pt>
          <cx:pt idx="1898">1.2113130047193821</cx:pt>
          <cx:pt idx="1899">1.1470740388373852</cx:pt>
          <cx:pt idx="1900">1.2178820885492956</cx:pt>
          <cx:pt idx="1901">1.2080453005892871</cx:pt>
          <cx:pt idx="1902">1.2246040880275519</cx:pt>
          <cx:pt idx="1903">1.2236411182233522</cx:pt>
          <cx:pt idx="1904">1.1851223807992419</cx:pt>
          <cx:pt idx="1905">1.0900405982105095</cx:pt>
          <cx:pt idx="1906">1.1267777779666845</cx:pt>
          <cx:pt idx="1907">1.126494970934282</cx:pt>
          <cx:pt idx="1908">1.1226215726603057</cx:pt>
          <cx:pt idx="1909">1.1690178606936203</cx:pt>
          <cx:pt idx="1910">1.1668937053306219</cx:pt>
          <cx:pt idx="1911">1.1944046273324223</cx:pt>
          <cx:pt idx="1912">1.1990793403139821</cx:pt>
          <cx:pt idx="1913">1.2242767041301819</cx:pt>
          <cx:pt idx="1914">1.1662408911078159</cx:pt>
          <cx:pt idx="1915">1.1720262442630616</cx:pt>
          <cx:pt idx="1916">1.040421499466309</cx:pt>
          <cx:pt idx="1917">0.88903337666680782</cx:pt>
          <cx:pt idx="1918">0.89128732934350396</cx:pt>
          <cx:pt idx="1919">0.92389505300413688</cx:pt>
          <cx:pt idx="1920">0.92646708757937857</cx:pt>
          <cx:pt idx="1921">0.89044325782292189</cx:pt>
          <cx:pt idx="1922">0.90518938134069682</cx:pt>
          <cx:pt idx="1923">0.91392446681029527</cx:pt>
          <cx:pt idx="1924">0.92201858759033073</cx:pt>
          <cx:pt idx="1925">0.97343307629389109</cx:pt>
          <cx:pt idx="1926">0.95072362035391278</cx:pt>
          <cx:pt idx="1927">0.93047262740224013</cx:pt>
          <cx:pt idx="1928">0.91300715712721392</cx:pt>
          <cx:pt idx="1929">0.91708489936519955</cx:pt>
          <cx:pt idx="1930">0.90998193742336531</cx:pt>
          <cx:pt idx="1931">0.95890772391742951</cx:pt>
          <cx:pt idx="1932">1.0825120317347858</cx:pt>
          <cx:pt idx="1933">1.2033908509831228</cx:pt>
          <cx:pt idx="1934">1.2080776503169826</cx:pt>
          <cx:pt idx="1935">1.2772980192128445</cx:pt>
          <cx:pt idx="1936">1.2466306313557682</cx:pt>
          <cx:pt idx="1937">1.2644437239491844</cx:pt>
          <cx:pt idx="1938">1.3503458901290823</cx:pt>
          <cx:pt idx="1939">1.3379811949952503</cx:pt>
          <cx:pt idx="1940">1.3449361818812562</cx:pt>
          <cx:pt idx="1941">1.3779028292650213</cx:pt>
          <cx:pt idx="1942">1.3363787490526551</cx:pt>
          <cx:pt idx="1943">1.2962729952293686</cx:pt>
          <cx:pt idx="1944">1.3034165537707725</cx:pt>
          <cx:pt idx="1945">1.3048285658303531</cx:pt>
          <cx:pt idx="1946">1.3047756666300472</cx:pt>
          <cx:pt idx="1947">1.2842728610420737</cx:pt>
          <cx:pt idx="1948">1.377918178175731</cx:pt>
          <cx:pt idx="1949">1.3483391656950139</cx:pt>
          <cx:pt idx="1950">1.3469754966241021</cx:pt>
          <cx:pt idx="1951">1.3153594849745991</cx:pt>
          <cx:pt idx="1952">1.2930415448784347</cx:pt>
          <cx:pt idx="1953">1.3137978640514707</cx:pt>
          <cx:pt idx="1954">1.2434472383188435</cx:pt>
          <cx:pt idx="1955">1.3011611083509445</cx:pt>
          <cx:pt idx="1956">1.2939879105477294</cx:pt>
          <cx:pt idx="1957">1.2545162551688038</cx:pt>
          <cx:pt idx="1958">1.1916042022050126</cx:pt>
          <cx:pt idx="1959">1.1301807403009163</cx:pt>
          <cx:pt idx="1960">1.1545064129190727</cx:pt>
          <cx:pt idx="1961">1.1726884820198713</cx:pt>
          <cx:pt idx="1962">1.2023155819587015</cx:pt>
          <cx:pt idx="1963">1.1708826123715494</cx:pt>
          <cx:pt idx="1964">1.1731547506469548</cx:pt>
          <cx:pt idx="1965">1.1514576469170197</cx:pt>
          <cx:pt idx="1966">1.1441374806869342</cx:pt>
          <cx:pt idx="1967">1.1882636806334885</cx:pt>
          <cx:pt idx="1968">1.1560619340685432</cx:pt>
          <cx:pt idx="1969">1.1565893180272393</cx:pt>
          <cx:pt idx="1970">1.1776069636850581</cx:pt>
          <cx:pt idx="1971">1.1519074136644727</cx:pt>
          <cx:pt idx="1972">1.1619323975824609</cx:pt>
          <cx:pt idx="1973">1.1829614601042402</cx:pt>
          <cx:pt idx="1974">1.1611928567532244</cx:pt>
          <cx:pt idx="1975">1.1202175999618869</cx:pt>
          <cx:pt idx="1976">1.1257165789362595</cx:pt>
          <cx:pt idx="1977">1.1164756227038528</cx:pt>
          <cx:pt idx="1978">1.1001588704500302</cx:pt>
          <cx:pt idx="1979">1.0974073940455062</cx:pt>
          <cx:pt idx="1980">1.1218849081463029</cx:pt>
          <cx:pt idx="1981">1.1659995958280887</cx:pt>
          <cx:pt idx="1982">1.1766541792180343</cx:pt>
          <cx:pt idx="1983">1.1400494040514919</cx:pt>
          <cx:pt idx="1984">1.1186159860014213</cx:pt>
          <cx:pt idx="1985">1.1247083402263511</cx:pt>
          <cx:pt idx="1986">1.1256681796047687</cx:pt>
          <cx:pt idx="1987">1.1058172200404242</cx:pt>
          <cx:pt idx="1988">1.107282268885629</cx:pt>
          <cx:pt idx="1989">1.1095352656617667</cx:pt>
          <cx:pt idx="1990">1.0599965300311893</cx:pt>
          <cx:pt idx="1991">1.046617979686141</cx:pt>
          <cx:pt idx="1992">1.0644023200137129</cx:pt>
          <cx:pt idx="1993">1.0534054791239105</cx:pt>
          <cx:pt idx="1994">1.0549995369612752</cx:pt>
          <cx:pt idx="1995">1.0565320085342758</cx:pt>
          <cx:pt idx="1996">1.0832699008838562</cx:pt>
          <cx:pt idx="1997">1.0129656017579409</cx:pt>
          <cx:pt idx="1998">1.0309242031515593</cx:pt>
          <cx:pt idx="1999">1.0500084838190371</cx:pt>
          <cx:pt idx="2000">1.0610526111735274</cx:pt>
          <cx:pt idx="2001">1.070087760929894</cx:pt>
          <cx:pt idx="2002">1.0790741561555248</cx:pt>
          <cx:pt idx="2003">1.0671681292523467</cx:pt>
          <cx:pt idx="2004">1.0721460378310321</cx:pt>
          <cx:pt idx="2005">1.1270085008195547</cx:pt>
          <cx:pt idx="2006">1.1338458611211706</cx:pt>
          <cx:pt idx="2007">1.1516427048091911</cx:pt>
          <cx:pt idx="2008">1.1310231356313334</cx:pt>
          <cx:pt idx="2009">1.1275135904066631</cx:pt>
          <cx:pt idx="2010">1.147004895318698</cx:pt>
          <cx:pt idx="2011">1.1097379311630604</cx:pt>
          <cx:pt idx="2012">1.1227495498659252</cx:pt>
          <cx:pt idx="2013">1.1528001391913258</cx:pt>
          <cx:pt idx="2014">1.163531287706207</cx:pt>
          <cx:pt idx="2015">1.1278267169420468</cx:pt>
          <cx:pt idx="2016">1.1301179370862748</cx:pt>
          <cx:pt idx="2017">1.1702016723723259</cx:pt>
          <cx:pt idx="2018">1.1877685540251663</cx:pt>
          <cx:pt idx="2019">1.1874472281075188</cx:pt>
          <cx:pt idx="2020">1.2376620989851665</cx:pt>
          <cx:pt idx="2021">1.2577006935208228</cx:pt>
          <cx:pt idx="2022">1.2198690809724804</cx:pt>
          <cx:pt idx="2023">1.2166027695392503</cx:pt>
          <cx:pt idx="2024">1.2641452066310563</cx:pt>
          <cx:pt idx="2025">1.2982898123229689</cx:pt>
          <cx:pt idx="2026">1.2875276584463604</cx:pt>
          <cx:pt idx="2027">1.2967182272643276</cx:pt>
          <cx:pt idx="2028">1.2692102712488893</cx:pt>
          <cx:pt idx="2029">1.262843216122155</cx:pt>
          <cx:pt idx="2030">1.2603026456453583</cx:pt>
          <cx:pt idx="2031">1.2481969064379945</cx:pt>
          <cx:pt idx="2032">1.210572962093456</cx:pt>
          <cx:pt idx="2033">1.2109749563172587</cx:pt>
          <cx:pt idx="2034">1.1566648944966387</cx:pt>
          <cx:pt idx="2035">1.1869199006566165</cx:pt>
          <cx:pt idx="2036">1.1636861764416466</cx:pt>
          <cx:pt idx="2037">1.1617375017569613</cx:pt>
          <cx:pt idx="2038">1.1688735612968797</cx:pt>
          <cx:pt idx="2039">1.1754668429396784</cx:pt>
          <cx:pt idx="2040">1.2270040609212509</cx:pt>
          <cx:pt idx="2041">1.2715390710455585</cx:pt>
          <cx:pt idx="2042">1.2893214824307673</cx:pt>
          <cx:pt idx="2043">1.2935855898087762</cx:pt>
          <cx:pt idx="2044">1.2865797570552584</cx:pt>
          <cx:pt idx="2045">1.3279558658363597</cx:pt>
          <cx:pt idx="2046">1.3591515693644132</cx:pt>
          <cx:pt idx="2047">1.3430934014644966</cx:pt>
          <cx:pt idx="2048">1.3368087320955442</cx:pt>
          <cx:pt idx="2049">1.370126934299138</cx:pt>
          <cx:pt idx="2050">1.3728669557393096</cx:pt>
          <cx:pt idx="2051">1.346410511087839</cx:pt>
          <cx:pt idx="2052">1.3463626605759327</cx:pt>
          <cx:pt idx="2053">1.3644275882868102</cx:pt>
          <cx:pt idx="2054">1.3448300324174627</cx:pt>
          <cx:pt idx="2055">1.3123884079544947</cx:pt>
          <cx:pt idx="2056">1.3254627905736935</cx:pt>
          <cx:pt idx="2057">1.351185260871137</cx:pt>
          <cx:pt idx="2058">1.3537415583842256</cx:pt>
          <cx:pt idx="2059">1.340245988744166</cx:pt>
          <cx:pt idx="2060">1.3511264351192904</cx:pt>
          <cx:pt idx="2061">1.3537837991025909</cx:pt>
          <cx:pt idx="2062">1.3361445651016119</cx:pt>
          <cx:pt idx="2063">1.3381708651617761</cx:pt>
          <cx:pt idx="2064">1.3333606750070188</cx:pt>
          <cx:pt idx="2065">1.3069250125794318</cx:pt>
          <cx:pt idx="2066">1.2977867986355249</cx:pt>
          <cx:pt idx="2067">1.3514491583430759</cx:pt>
          <cx:pt idx="2068">1.3222048809191551</cx:pt>
          <cx:pt idx="2069">1.3014395212940966</cx:pt>
          <cx:pt idx="2070">1.2600950976701775</cx:pt>
          <cx:pt idx="2071">1.2182533662452226</cx:pt>
          <cx:pt idx="2072">1.161030853887252</cx:pt>
          <cx:pt idx="2073">1.1610308538872518</cx:pt>
          <cx:pt idx="2074">1.1580623928558975</cx:pt>
          <cx:pt idx="2075">1.118723667255753</cx:pt>
          <cx:pt idx="2076">1.0777898308762384</cx:pt>
          <cx:pt idx="2077">1.0775922500979973</cx:pt>
          <cx:pt idx="2078">1.0576236646803787</cx:pt>
          <cx:pt idx="2079">1.0525245512739752</cx:pt>
          <cx:pt idx="2080">1.0251576273527603</cx:pt>
          <cx:pt idx="2081">1.0040675894270921</cx:pt>
          <cx:pt idx="2082">1.0083673500484231</cx:pt>
          <cx:pt idx="2083">0.9945613600228872</cx:pt>
          <cx:pt idx="2084">0.96800042747212034</cx:pt>
          <cx:pt idx="2085">1.0265462685039146</cx:pt>
          <cx:pt idx="2086">1.0177112026277511</cx:pt>
          <cx:pt idx="2087">1.0140815447045399</cx:pt>
          <cx:pt idx="2088">1.0165741996766773</cx:pt>
          <cx:pt idx="2089">1.0208695865014685</cx:pt>
          <cx:pt idx="2090">1.0115355346852797</cx:pt>
          <cx:pt idx="2091">0.99488583068207082</cx:pt>
          <cx:pt idx="2092">1.0436617675556923</cx:pt>
          <cx:pt idx="2093">1.057032062715789</cx:pt>
          <cx:pt idx="2094">1.0629923605655358</cx:pt>
          <cx:pt idx="2095">1.0423624802485387</cx:pt>
          <cx:pt idx="2096">1.0335381146734548</cx:pt>
          <cx:pt idx="2097">0.99898137775608653</cx:pt>
          <cx:pt idx="2098">1.0141404831384213</cx:pt>
          <cx:pt idx="2099">1.0089644173122754</cx:pt>
          <cx:pt idx="2100">1.0096832893673076</cx:pt>
          <cx:pt idx="2101">1.0192158919889145</cx:pt>
          <cx:pt idx="2102">1.0622357683613406</cx:pt>
          <cx:pt idx="2103">1.0644738055765495</cx:pt>
          <cx:pt idx="2104">1.1081731886722201</cx:pt>
          <cx:pt idx="2105">1.110670347443226</cx:pt>
          <cx:pt idx="2106">1.1390762540952555</cx:pt>
          <cx:pt idx="2107">1.1601099828954988</cx:pt>
          <cx:pt idx="2108">1.1556875845588417</cx:pt>
          <cx:pt idx="2109">1.1591625990491945</cx:pt>
          <cx:pt idx="2110">1.180878496285078</cx:pt>
          <cx:pt idx="2111">1.1765222958548975</cx:pt>
          <cx:pt idx="2112">1.1802036157852784</cx:pt>
          <cx:pt idx="2113">1.1966994840695866</cx:pt>
          <cx:pt idx="2114">1.1987140619425685</cx:pt>
          <cx:pt idx="2115">1.1442690785553598</cx:pt>
          <cx:pt idx="2116">1.1111953282259899</cx:pt>
          <cx:pt idx="2117">1.1235662127719752</cx:pt>
          <cx:pt idx="2118">1.1238464839737812</cx:pt>
          <cx:pt idx="2119">1.1296790308063966</cx:pt>
          <cx:pt idx="2120">1.1180484331416845</cx:pt>
          <cx:pt idx="2121">1.1101752994019907</cx:pt>
          <cx:pt idx="2122">1.0958605499002085</cx:pt>
          <cx:pt idx="2123">1.0817533659885634</cx:pt>
          <cx:pt idx="2124">1.0753850419760116</cx:pt>
          <cx:pt idx="2125">1.0917612576374753</cx:pt>
          <cx:pt idx="2126">1.0968158721824122</cx:pt>
          <cx:pt idx="2127">1.09910041585741</cx:pt>
          <cx:pt idx="2128">1.1243938852534745</cx:pt>
          <cx:pt idx="2129">1.127975554067868</cx:pt>
          <cx:pt idx="2130">1.1836987132197798</cx:pt>
          <cx:pt idx="2131">1.190336811216864</cx:pt>
          <cx:pt idx="2132">1.1464959609635561</cx:pt>
          <cx:pt idx="2133">1.1113456687288163</cx:pt>
          <cx:pt idx="2134">1.0746859471759516</cx:pt>
          <cx:pt idx="2135">1.0983792134557739</cx:pt>
          <cx:pt idx="2136">1.0946247454417126</cx:pt>
          <cx:pt idx="2137">1.0728978912540894</cx:pt>
          <cx:pt idx="2138">1.0897443019709538</cx:pt>
          <cx:pt idx="2139">1.0557771556056947</cx:pt>
          <cx:pt idx="2140">1.0407436002105952</cx:pt>
          <cx:pt idx="2141">1.0885285333036028</cx:pt>
          <cx:pt idx="2142">1.1021214652378075</cx:pt>
          <cx:pt idx="2143">1.0576306745164694</cx:pt>
          <cx:pt idx="2144">1.0632237359294039</cx:pt>
          <cx:pt idx="2145">1.06357475730097</cx:pt>
          <cx:pt idx="2146">1.0695409370809303</cx:pt>
          <cx:pt idx="2147">1.0683171856688458</cx:pt>
          <cx:pt idx="2148">1.0726296508190014</cx:pt>
          <cx:pt idx="2149">1.0577117461440217</cx:pt>
          <cx:pt idx="2150">1.051753653250816</cx:pt>
          <cx:pt idx="2151">1.0548236765003658</cx:pt>
          <cx:pt idx="2152">1.0334520324854353</cx:pt>
          <cx:pt idx="2153">1.0725983597690758</cx:pt>
          <cx:pt idx="2154">1.1167720828608998</cx:pt>
          <cx:pt idx="2155">1.1727688525916762</cx:pt>
          <cx:pt idx="2156">1.169634779425347</cx:pt>
          <cx:pt idx="2157">1.156834960760083</cx:pt>
          <cx:pt idx="2158">1.129768616326716</cx:pt>
          <cx:pt idx="2159">1.1494988413247302</cx:pt>
          <cx:pt idx="2160">1.1011955885027562</cx:pt>
          <cx:pt idx="2161">1.1263235381735031</cx:pt>
          <cx:pt idx="2162">1.1274711811695306</cx:pt>
          <cx:pt idx="2163">1.1282263570062874</cx:pt>
          <cx:pt idx="2164">1.129718711811083</cx:pt>
          <cx:pt idx="2165">1.1235240126034476</cx:pt>
          <cx:pt idx="2166">1.128685330246054</cx:pt>
          <cx:pt idx="2167">1.1147249029224218</cx:pt>
          <cx:pt idx="2168">1.0883999117126444</cx:pt>
          <cx:pt idx="2169">1.0935980896148252</cx:pt>
          <cx:pt idx="2170">1.080949401773923</cx:pt>
          <cx:pt idx="2171">1.0529403275273168</cx:pt>
          <cx:pt idx="2172">1.0653370304770913</cx:pt>
          <cx:pt idx="2173">1.117421549613318</cx:pt>
          <cx:pt idx="2174">1.1313090779645754</cx:pt>
          <cx:pt idx="2175">1.1431161282908315</cx:pt>
          <cx:pt idx="2176">1.148419403544185</cx:pt>
          <cx:pt idx="2177">1.1690118137511079</cx:pt>
          <cx:pt idx="2178">1.180221341017482</cx:pt>
          <cx:pt idx="2179">1.178461104454722</cx:pt>
          <cx:pt idx="2180">1.1774680121091312</cx:pt>
          <cx:pt idx="2181">1.1564235393223583</cx:pt>
          <cx:pt idx="2182">1.216772818546676</cx:pt>
          <cx:pt idx="2183">1.1630736626833169</cx:pt>
          <cx:pt idx="2184">1.1675753932190307</cx:pt>
          <cx:pt idx="2185">1.1322304809838699</cx:pt>
          <cx:pt idx="2186">1.1418122316798824</cx:pt>
          <cx:pt idx="2187">1.1175064606771508</cx:pt>
          <cx:pt idx="2188">1.1606595429809052</cx:pt>
          <cx:pt idx="2189">1.145828817127986</cx:pt>
          <cx:pt idx="2190">1.1551282956063125</cx:pt>
          <cx:pt idx="2191">1.1391517816380727</cx:pt>
          <cx:pt idx="2192">1.1403631706257182</cx:pt>
          <cx:pt idx="2193">1.2102484308470789</cx:pt>
          <cx:pt idx="2194">1.2115402944423566</cx:pt>
          <cx:pt idx="2195">1.1800598562648492</cx:pt>
          <cx:pt idx="2196">1.165757412512392</cx:pt>
          <cx:pt idx="2197">1.1559682710516588</cx:pt>
          <cx:pt idx="2198">1.1563687217707228</cx:pt>
          <cx:pt idx="2199">1.1565523478569113</cx:pt>
          <cx:pt idx="2200">1.1212741623378453</cx:pt>
          <cx:pt idx="2201">1.1174182065260356</cx:pt>
          <cx:pt idx="2202">1.1024443062013891</cx:pt>
          <cx:pt idx="2203">1.0877109255088253</cx:pt>
          <cx:pt idx="2204">1.0555376142859212</cx:pt>
          <cx:pt idx="2205">1.0379345648544231</cx:pt>
          <cx:pt idx="2206">1.0541358611645388</cx:pt>
          <cx:pt idx="2207">1.012741187393738</cx:pt>
          <cx:pt idx="2208">1.0178677284616495</cx:pt>
          <cx:pt idx="2209">1.0685011523829435</cx:pt>
          <cx:pt idx="2210">1.0923548852833034</cx:pt>
          <cx:pt idx="2211">1.0891695138430277</cx:pt>
          <cx:pt idx="2212">1.0402889187541884</cx:pt>
          <cx:pt idx="2213">1.0776831790850032</cx:pt>
          <cx:pt idx="2214">1.0605739608517557</cx:pt>
          <cx:pt idx="2215">1.0582677235523361</cx:pt>
          <cx:pt idx="2216">1.0629088260118049</cx:pt>
          <cx:pt idx="2217">1.0858157588048563</cx:pt>
          <cx:pt idx="2218">1.0530865963017213</cx:pt>
          <cx:pt idx="2219">1.0907153088947963</cx:pt>
          <cx:pt idx="2220">1.0657718049516438</cx:pt>
          <cx:pt idx="2221">1.0597883111111461</cx:pt>
          <cx:pt idx="2222">1.0831809265031533</cx:pt>
          <cx:pt idx="2223">1.0403967523492419</cx:pt>
          <cx:pt idx="2224">1.4313475685761878</cx:pt>
          <cx:pt idx="2225">1.4977168831488028</cx:pt>
          <cx:pt idx="2226">1.5568881429489951</cx:pt>
          <cx:pt idx="2227">1.6831205624037171</cx:pt>
          <cx:pt idx="2228">1.7047486078867913</cx:pt>
          <cx:pt idx="2229">1.7042807833528328</cx:pt>
          <cx:pt idx="2230">1.7935069351515704</cx:pt>
          <cx:pt idx="2231">1.8913073991715144</cx:pt>
          <cx:pt idx="2232">1.9062806055579633</cx:pt>
          <cx:pt idx="2233">1.9886521745303691</cx:pt>
          <cx:pt idx="2234">2.2643457353494845</cx:pt>
          <cx:pt idx="2235">2.4243400808438986</cx:pt>
          <cx:pt idx="2236">2.5242806190434051</cx:pt>
          <cx:pt idx="2237">2.5216341171331043</cx:pt>
          <cx:pt idx="2238">2.5483949422350514</cx:pt>
          <cx:pt idx="2239">2.526664263183886</cx:pt>
          <cx:pt idx="2240">2.6153867431207853</cx:pt>
          <cx:pt idx="2241">2.7625324879766451</cx:pt>
          <cx:pt idx="2242">2.761150871997224</cx:pt>
          <cx:pt idx="2243">2.7968143002146308</cx:pt>
          <cx:pt idx="2244">2.9273297235441085</cx:pt>
          <cx:pt idx="2245">2.9542251838310509</cx:pt>
          <cx:pt idx="2246">3.0432167645210662</cx:pt>
          <cx:pt idx="2247">3.2300429519225227</cx:pt>
          <cx:pt idx="2248">3.3958288308269986</cx:pt>
          <cx:pt idx="2249">3.4413886531557232</cx:pt>
          <cx:pt idx="2250">3.5559658306156074</cx:pt>
          <cx:pt idx="2251">3.5528855683892999</cx:pt>
          <cx:pt idx="2252">3.6214180241649987</cx:pt>
          <cx:pt idx="2253">21.319161056686053</cx:pt>
          <cx:pt idx="2254">21.394007636686972</cx:pt>
          <cx:pt idx="2255">21.376028425887899</cx:pt>
          <cx:pt idx="2256">21.23551201583593</cx:pt>
          <cx:pt idx="2257">20.940242193046572</cx:pt>
          <cx:pt idx="2258">20.593466514976246</cx:pt>
          <cx:pt idx="2259">20.113883022178602</cx:pt>
          <cx:pt idx="2260">19.554898272217663</cx:pt>
          <cx:pt idx="2261">18.853029342848288</cx:pt>
          <cx:pt idx="2262">18.038093025594463</cx:pt>
          <cx:pt idx="2263">17.041628746831311</cx:pt>
          <cx:pt idx="2264">15.8658892727068</cx:pt>
          <cx:pt idx="2265">14.486596107492231</cx:pt>
          <cx:pt idx="2266">12.804143909858549</cx:pt>
          <cx:pt idx="2267">10.65550775501762</cx:pt>
          <cx:pt idx="2268">7.7073688355894703</cx:pt>
          <cx:pt idx="2269">1.1718565680542794</cx:pt>
          <cx:pt idx="2270">1.15533987635027</cx:pt>
          <cx:pt idx="2271">1.1613535503736654</cx:pt>
          <cx:pt idx="2272">1.1622382785349801</cx:pt>
          <cx:pt idx="2273">1.1432937394705898</cx:pt>
          <cx:pt idx="2274">1.1984539849418452</cx:pt>
          <cx:pt idx="2275">1.1308584878490455</cx:pt>
          <cx:pt idx="2276">1.1503693060186735</cx:pt>
          <cx:pt idx="2277">1.1767227527253852</cx:pt>
          <cx:pt idx="2278">1.1982595136567726</cx:pt>
          <cx:pt idx="2279">1.1588058161487751</cx:pt>
          <cx:pt idx="2280">1.2014770603040164</cx:pt>
          <cx:pt idx="2281">1.1574315600034211</cx:pt>
          <cx:pt idx="2282">1.1526682688141603</cx:pt>
          <cx:pt idx="2283">1.0884304844776393</cx:pt>
          <cx:pt idx="2284">1.0886260981664893</cx:pt>
          <cx:pt idx="2285">1.0727727528746913</cx:pt>
          <cx:pt idx="2286">1.0832870900828775</cx:pt>
          <cx:pt idx="2287">1.1398237411633163</cx:pt>
          <cx:pt idx="2288">1.1552857535751886</cx:pt>
          <cx:pt idx="2289">1.145813769947934</cx:pt>
          <cx:pt idx="2290">1.1435273117174227</cx:pt>
          <cx:pt idx="2291">1.1615754758976682</cx:pt>
          <cx:pt idx="2292">1.2386442811285296</cx:pt>
          <cx:pt idx="2293">1.2207789580295914</cx:pt>
          <cx:pt idx="2294">1.2040852396603052</cx:pt>
          <cx:pt idx="2295">1.21180097755176</cx:pt>
          <cx:pt idx="2296">1.2702035767690074</cx:pt>
          <cx:pt idx="2297">1.2435804814297711</cx:pt>
          <cx:pt idx="2298">1.2722169987679071</cx:pt>
          <cx:pt idx="2299">1.2960501001384797</cx:pt>
          <cx:pt idx="2300">1.3119249698198365</cx:pt>
          <cx:pt idx="2301">1.3163081426614285</cx:pt>
          <cx:pt idx="2302">1.3431085919072854</cx:pt>
          <cx:pt idx="2303">1.3515204294661498</cx:pt>
          <cx:pt idx="2304">1.3478413989715581</cx:pt>
          <cx:pt idx="2305">1.392895107899081</cx:pt>
          <cx:pt idx="2306">1.3815174066321365</cx:pt>
          <cx:pt idx="2307">1.3815270994217881</cx:pt>
          <cx:pt idx="2308">1.3621747318167363</cx:pt>
          <cx:pt idx="2309">1.3181029994812155</cx:pt>
          <cx:pt idx="2310">1.3048410745700239</cx:pt>
          <cx:pt idx="2311">1.3136181498739115</cx:pt>
          <cx:pt idx="2312">1.2952552227086442</cx:pt>
          <cx:pt idx="2313">1.3084903998259898</cx:pt>
          <cx:pt idx="2314">1.28652521406958</cx:pt>
          <cx:pt idx="2315">1.2512336900541137</cx:pt>
          <cx:pt idx="2316">1.2555982225822564</cx:pt>
          <cx:pt idx="2317">1.2284246523237716</cx:pt>
          <cx:pt idx="2318">1.1923923600182464</cx:pt>
          <cx:pt idx="2319">1.2319353991123903</cx:pt>
          <cx:pt idx="2320">1.2254377120877642</cx:pt>
          <cx:pt idx="2321">1.2592024934617259</cx:pt>
          <cx:pt idx="2322">1.2110347053124701</cx:pt>
          <cx:pt idx="2323">1.2543268103355021</cx:pt>
          <cx:pt idx="2324">1.2608173320618588</cx:pt>
          <cx:pt idx="2325">1.2836749060287085</cx:pt>
          <cx:pt idx="2326">1.2394297910315653</cx:pt>
          <cx:pt idx="2327">1.2370638207270155</cx:pt>
          <cx:pt idx="2328">1.2028252182869812</cx:pt>
          <cx:pt idx="2329">1.1785635129355509</cx:pt>
          <cx:pt idx="2330">1.1397170953667679</cx:pt>
          <cx:pt idx="2331">1.1124180972046904</cx:pt>
          <cx:pt idx="2332">1.0975896266390939</cx:pt>
          <cx:pt idx="2333">1.0724598966325296</cx:pt>
          <cx:pt idx="2334">1.0340124390634426</cx:pt>
          <cx:pt idx="2335">0.9995203447355282</cx:pt>
          <cx:pt idx="2336">1.0499974822082565</cx:pt>
          <cx:pt idx="2337">1.0875838453607405</cx:pt>
          <cx:pt idx="2338">1.1243540163235906</cx:pt>
          <cx:pt idx="2339">1.1182386087981833</cx:pt>
          <cx:pt idx="2340">1.0836212703113872</cx:pt>
          <cx:pt idx="2341">1.0739625306505716</cx:pt>
          <cx:pt idx="2342">1.096740258859088</cx:pt>
          <cx:pt idx="2343">1.0786060075580104</cx:pt>
          <cx:pt idx="2344">1.082872138789025</cx:pt>
          <cx:pt idx="2345">1.0750709145281383</cx:pt>
          <cx:pt idx="2346">1.1133282916810616</cx:pt>
          <cx:pt idx="2347">1.1057176896456897</cx:pt>
          <cx:pt idx="2348">1.1169832627194565</cx:pt>
          <cx:pt idx="2349">1.0571643376417921</cx:pt>
          <cx:pt idx="2350">1.0667109724993808</cx:pt>
          <cx:pt idx="2351">1.0171752637777718</cx:pt>
          <cx:pt idx="2352">1.015595912492397</cx:pt>
          <cx:pt idx="2353">1.0230917757509317</cx:pt>
          <cx:pt idx="2354">1.0287236260777597</cx:pt>
          <cx:pt idx="2355">0.99732377523233529</cx:pt>
          <cx:pt idx="2356">0.99549998989706545</cx:pt>
          <cx:pt idx="2357">1.019849493065397</cx:pt>
          <cx:pt idx="2358">1.0219774048832753</cx:pt>
          <cx:pt idx="2359">1.0295929337342025</cx:pt>
          <cx:pt idx="2360">1.0431958522765017</cx:pt>
          <cx:pt idx="2361">1.02919279830941</cx:pt>
          <cx:pt idx="2362">1.0176576666231043</cx:pt>
          <cx:pt idx="2363">0.98305411972019663</cx:pt>
          <cx:pt idx="2364">1.0239643492357278</cx:pt>
          <cx:pt idx="2365">1.053662250406189</cx:pt>
          <cx:pt idx="2366">1.0192253086953136</cx:pt>
          <cx:pt idx="2367">0.99778006467921776</cx:pt>
          <cx:pt idx="2368">0.95707342468061696</cx:pt>
          <cx:pt idx="2369">0.99371796919390065</cx:pt>
          <cx:pt idx="2370">1.0312619765936373</cx:pt>
          <cx:pt idx="2371">1.0258133302437371</cx:pt>
          <cx:pt idx="2372">1.022586790371538</cx:pt>
          <cx:pt idx="2373">1.0389432971068124</cx:pt>
          <cx:pt idx="2374">1.0391751056895562</cx:pt>
          <cx:pt idx="2375">1.057892244040006</cx:pt>
          <cx:pt idx="2376">1.0243131031736992</cx:pt>
          <cx:pt idx="2377">1.0304241423042642</cx:pt>
          <cx:pt idx="2378">1.0335020475129397</cx:pt>
          <cx:pt idx="2379">1.0524072590784612</cx:pt>
          <cx:pt idx="2380">1.0646812623861615</cx:pt>
          <cx:pt idx="2381">1.0894933636666559</cx:pt>
          <cx:pt idx="2382">1.1189199575237854</cx:pt>
          <cx:pt idx="2383">1.0598458390796182</cx:pt>
          <cx:pt idx="2384">1.0626378803270109</cx:pt>
          <cx:pt idx="2385">1.0888457190989</cx:pt>
          <cx:pt idx="2386">1.0829435196106338</cx:pt>
          <cx:pt idx="2387">1.0921148452268359</cx:pt>
          <cx:pt idx="2388">1.1360491592830357</cx:pt>
          <cx:pt idx="2389">1.1753229730202208</cx:pt>
          <cx:pt idx="2390">1.1791969532463416</cx:pt>
          <cx:pt idx="2391">1.242426389502949</cx:pt>
          <cx:pt idx="2392">1.2199601541762657</cx:pt>
          <cx:pt idx="2393">1.2694817559033407</cx:pt>
          <cx:pt idx="2394">1.3135701986063273</cx:pt>
          <cx:pt idx="2395">1.3571551127266184</cx:pt>
          <cx:pt idx="2396">1.50985098602478</cx:pt>
          <cx:pt idx="2397">1.5650851946992108</cx:pt>
          <cx:pt idx="2398">1.7643790220169056</cx:pt>
          <cx:pt idx="2399">0.38183766184073509</cx:pt>
        </cx:lvl>
      </cx:numDim>
    </cx:data>
    <cx:data id="1">
      <cx:numDim type="val">
        <cx:f>Sheet2!$B$4919:$B$7318</cx:f>
        <cx:lvl ptCount="2400" formatCode="#,##0.00">
          <cx:pt idx="0">0.95842087556179822</cx:pt>
          <cx:pt idx="1">1.0066843265559138</cx:pt>
          <cx:pt idx="2">1.0257669404362542</cx:pt>
          <cx:pt idx="3">1.0465756421361256</cx:pt>
          <cx:pt idx="4">1.0349981953451977</cx:pt>
          <cx:pt idx="5">1.0469812105154579</cx:pt>
          <cx:pt idx="6">1.0050072911041059</cx:pt>
          <cx:pt idx="7">1.01350019421713</cx:pt>
          <cx:pt idx="8">1.0638093014657546</cx:pt>
          <cx:pt idx="9">1.0665299301726239</cx:pt>
          <cx:pt idx="10">1.0602626003067328</cx:pt>
          <cx:pt idx="11">1.0581530211136538</cx:pt>
          <cx:pt idx="12">1.0829547172159268</cx:pt>
          <cx:pt idx="13">1.1187552606952658</cx:pt>
          <cx:pt idx="14">1.1107673644517257</cx:pt>
          <cx:pt idx="15">1.1097107420560013</cx:pt>
          <cx:pt idx="16">1.1162558516920664</cx:pt>
          <cx:pt idx="17">1.1367758399723429</cx:pt>
          <cx:pt idx="18">1.1837447398807737</cx:pt>
          <cx:pt idx="19">1.1590779133412046</cx:pt>
          <cx:pt idx="20">1.1998634500852894</cx:pt>
          <cx:pt idx="21">1.2061179771119586</cx:pt>
          <cx:pt idx="22">1.2408416220591898</cx:pt>
          <cx:pt idx="23">1.2402160082527702</cx:pt>
          <cx:pt idx="24">1.2477002292493833</cx:pt>
          <cx:pt idx="25">1.2159477170399684</cx:pt>
          <cx:pt idx="26">1.2145573433271417</cx:pt>
          <cx:pt idx="27">1.230538429950973</cx:pt>
          <cx:pt idx="28">1.2319016231807638</cx:pt>
          <cx:pt idx="29">1.2502549625033954</cx:pt>
          <cx:pt idx="30">1.2543219993928665</cx:pt>
          <cx:pt idx="31">1.2242529976679044</cx:pt>
          <cx:pt idx="32">1.1991683420786581</cx:pt>
          <cx:pt idx="33">1.2359262430100426</cx:pt>
          <cx:pt idx="34">1.2609299615030531</cx:pt>
          <cx:pt idx="35">1.2268953903453115</cx:pt>
          <cx:pt idx="36">1.21540892319199</cx:pt>
          <cx:pt idx="37">1.1974066325514323</cx:pt>
          <cx:pt idx="38">1.1935738375765141</cx:pt>
          <cx:pt idx="39">1.2127083776388294</cx:pt>
          <cx:pt idx="40">1.209455087713224</cx:pt>
          <cx:pt idx="41">1.2465038925021406</cx:pt>
          <cx:pt idx="42">1.2226192441197521</cx:pt>
          <cx:pt idx="43">1.1946838662298427</cx:pt>
          <cx:pt idx="44">1.1856248170886741</cx:pt>
          <cx:pt idx="45">1.1951740122426651</cx:pt>
          <cx:pt idx="46">1.201423533042002</cx:pt>
          <cx:pt idx="47">1.1929844735045751</cx:pt>
          <cx:pt idx="48">1.2025316207279435</cx:pt>
          <cx:pt idx="49">1.2070189363235682</cx:pt>
          <cx:pt idx="50">1.2017210359629482</cx:pt>
          <cx:pt idx="51">1.2323747750610996</cx:pt>
          <cx:pt idx="52">1.2395503448715843</cx:pt>
          <cx:pt idx="53">1.2358437947643186</cx:pt>
          <cx:pt idx="54">1.2641577087704199</cx:pt>
          <cx:pt idx="55">1.2827413622000541</cx:pt>
          <cx:pt idx="56">1.2611591092525061</cx:pt>
          <cx:pt idx="57">1.2509979464687244</cx:pt>
          <cx:pt idx="58">1.2532261356700301</cx:pt>
          <cx:pt idx="59">1.2611924661928524</cx:pt>
          <cx:pt idx="60">1.2806596719668728</cx:pt>
          <cx:pt idx="61">1.2952406246956851</cx:pt>
          <cx:pt idx="62">1.3023217551830222</cx:pt>
          <cx:pt idx="63">1.2630548627066425</cx:pt>
          <cx:pt idx="64">1.283283504033359</cx:pt>
          <cx:pt idx="65">1.2962217864008567</cx:pt>
          <cx:pt idx="66">1.3102684203373489</cx:pt>
          <cx:pt idx="67">1.3104248674889118</cx:pt>
          <cx:pt idx="68">1.2907562160204384</cx:pt>
          <cx:pt idx="69">1.3004501431091631</cx:pt>
          <cx:pt idx="70">1.300673565556681</cx:pt>
          <cx:pt idx="71">1.2938014912847233</cx:pt>
          <cx:pt idx="72">1.319157864421225</cx:pt>
          <cx:pt idx="73">1.3159581536162024</cx:pt>
          <cx:pt idx="74">1.3537892754409195</cx:pt>
          <cx:pt idx="75">1.3533398873064784</cx:pt>
          <cx:pt idx="76">1.3495756676669222</cx:pt>
          <cx:pt idx="77">1.3097291112392613</cx:pt>
          <cx:pt idx="78">1.2934634962347999</cx:pt>
          <cx:pt idx="79">1.2880382035456486</cx:pt>
          <cx:pt idx="80">1.252531643209615</cx:pt>
          <cx:pt idx="81">1.2283447885427892</cx:pt>
          <cx:pt idx="82">1.1844624368749797</cx:pt>
          <cx:pt idx="83">1.2108496114750149</cx:pt>
          <cx:pt idx="84">1.2148466626669812</cx:pt>
          <cx:pt idx="85">1.2089640763608458</cx:pt>
          <cx:pt idx="86">1.2026476538497646</cx:pt>
          <cx:pt idx="87">1.2017707720300681</cx:pt>
          <cx:pt idx="88">1.2152805361763981</cx:pt>
          <cx:pt idx="89">1.1806507070061076</cx:pt>
          <cx:pt idx="90">1.1621433330001856</cx:pt>
          <cx:pt idx="91">1.140188580893529</cx:pt>
          <cx:pt idx="92">1.1436925979565877</cx:pt>
          <cx:pt idx="93">1.173048930396106</cx:pt>
          <cx:pt idx="94">1.1466350570355803</cx:pt>
          <cx:pt idx="95">1.1338478886000356</cx:pt>
          <cx:pt idx="96">1.1563907385610992</cx:pt>
          <cx:pt idx="97">1.2037988242208089</cx:pt>
          <cx:pt idx="98">1.1776381974689556</cx:pt>
          <cx:pt idx="99">1.1776381974689554</cx:pt>
          <cx:pt idx="100">1.1785506392155585</cx:pt>
          <cx:pt idx="101">1.1842656680043511</cx:pt>
          <cx:pt idx="102">1.1617280034599264</cx:pt>
          <cx:pt idx="103">1.2088619137175183</cx:pt>
          <cx:pt idx="104">1.1592881287743959</cx:pt>
          <cx:pt idx="105">1.2181542944378885</cx:pt>
          <cx:pt idx="106">1.238340055055162</cx:pt>
          <cx:pt idx="107">1.2312119064648006</cx:pt>
          <cx:pt idx="108">1.2127995541806109</cx:pt>
          <cx:pt idx="109">1.217233720792553</cx:pt>
          <cx:pt idx="110">1.2442528109155566</cx:pt>
          <cx:pt idx="111">1.2298827623783504</cx:pt>
          <cx:pt idx="112">1.2913044282572492</cx:pt>
          <cx:pt idx="113">1.2819708695383163</cx:pt>
          <cx:pt idx="114">1.2597655319154824</cx:pt>
          <cx:pt idx="115">1.2470205410838495</cx:pt>
          <cx:pt idx="116">1.2651989076275985</cx:pt>
          <cx:pt idx="117">1.2555156929216036</cx:pt>
          <cx:pt idx="118">1.2469053646952311</cx:pt>
          <cx:pt idx="119">1.2472063494710568</cx:pt>
          <cx:pt idx="120">1.249934067226665</cx:pt>
          <cx:pt idx="121">1.2509371659293875</cx:pt>
          <cx:pt idx="122">1.2458554739892442</cx:pt>
          <cx:pt idx="123">1.2552217828487244</cx:pt>
          <cx:pt idx="124">1.2578818631370734</cx:pt>
          <cx:pt idx="125">1.2574049174537141</cx:pt>
          <cx:pt idx="126">1.209935117477688</cx:pt>
          <cx:pt idx="127">1.1713679987543397</cx:pt>
          <cx:pt idx="128">1.2230429358728603</cx:pt>
          <cx:pt idx="129">1.2078819688093336</cx:pt>
          <cx:pt idx="130">1.2175228761805619</cx:pt>
          <cx:pt idx="131">1.1986980005621615</cx:pt>
          <cx:pt idx="132">1.1794518988111367</cx:pt>
          <cx:pt idx="133">1.1448876871081959</cx:pt>
          <cx:pt idx="134">1.1310261844382989</cx:pt>
          <cx:pt idx="135">1.0781417069336874</cx:pt>
          <cx:pt idx="136">1.0427102726278656</cx:pt>
          <cx:pt idx="137">1.0542693171592579</cx:pt>
          <cx:pt idx="138">1.0576002438833252</cx:pt>
          <cx:pt idx="139">1.0489406259563068</cx:pt>
          <cx:pt idx="140">1.0552737837266164</cx:pt>
          <cx:pt idx="141">1.0653424251190884</cx:pt>
          <cx:pt idx="142">1.0258305297962567</cx:pt>
          <cx:pt idx="143">1.0491143500783073</cx:pt>
          <cx:pt idx="144">1.0353940890019746</cx:pt>
          <cx:pt idx="145">1.0328203213008318</cx:pt>
          <cx:pt idx="146">1.0364907638026855</cx:pt>
          <cx:pt idx="147">1.0668785709055508</cx:pt>
          <cx:pt idx="148">1.0648509690125167</cx:pt>
          <cx:pt idx="149">1.0985020626331088</cx:pt>
          <cx:pt idx="150">1.1357211998013244</cx:pt>
          <cx:pt idx="151">1.1164264109355715</cx:pt>
          <cx:pt idx="152">1.1679622199054369</cx:pt>
          <cx:pt idx="153">1.1502435524205543</cx:pt>
          <cx:pt idx="154">1.1301319727633883</cx:pt>
          <cx:pt idx="155">1.1238503193174274</cx:pt>
          <cx:pt idx="156">1.1258263886902204</cx:pt>
          <cx:pt idx="157">1.133982707808719</cx:pt>
          <cx:pt idx="158">1.1061034434383643</cx:pt>
          <cx:pt idx="159">1.1021825786962924</cx:pt>
          <cx:pt idx="160">1.1416551807459805</cx:pt>
          <cx:pt idx="161">1.1408575117292101</cx:pt>
          <cx:pt idx="162">1.1405183334631306</cx:pt>
          <cx:pt idx="163">1.1498965470708731</cx:pt>
          <cx:pt idx="164">1.1450648227396829</cx:pt>
          <cx:pt idx="165">1.151469026739421</cx:pt>
          <cx:pt idx="166">1.1472768357859555</cx:pt>
          <cx:pt idx="167">1.136824625826278</cx:pt>
          <cx:pt idx="168">1.164135563066176</cx:pt>
          <cx:pt idx="169">1.1677874255464338</cx:pt>
          <cx:pt idx="170">1.1356624478260691</cx:pt>
          <cx:pt idx="171">1.1017747438596044</cx:pt>
          <cx:pt idx="172">1.0371960986845432</cx:pt>
          <cx:pt idx="173">1.032658938255328</cx:pt>
          <cx:pt idx="174">1.1010644797221221</cx:pt>
          <cx:pt idx="175">1.0979042208503071</cx:pt>
          <cx:pt idx="176">1.0914200914826309</cx:pt>
          <cx:pt idx="177">1.1086442481542571</cx:pt>
          <cx:pt idx="178">1.16305068528922</cx:pt>
          <cx:pt idx="179">1.1770100928287275</cx:pt>
          <cx:pt idx="180">1.1502148225140534</cx:pt>
          <cx:pt idx="181">1.1241099160884032</cx:pt>
          <cx:pt idx="182">1.0780399945665551</cx:pt>
          <cx:pt idx="183">1.1074566492125359</cx:pt>
          <cx:pt idx="184">1.1393585612240262</cx:pt>
          <cx:pt idx="185">1.1447592227891943</cx:pt>
          <cx:pt idx="186">1.1899919829730916</cx:pt>
          <cx:pt idx="187">1.2079168445916617</cx:pt>
          <cx:pt idx="188">1.205264124246384</cx:pt>
          <cx:pt idx="189">1.2152226511853799</cx:pt>
          <cx:pt idx="190">1.2273474341595096</cx:pt>
          <cx:pt idx="191">1.188939641556445</cx:pt>
          <cx:pt idx="192">1.1820517910741517</cx:pt>
          <cx:pt idx="193">1.1851185012769676</cx:pt>
          <cx:pt idx="194">1.189451916669592</cx:pt>
          <cx:pt idx="195">1.2182767648863986</cx:pt>
          <cx:pt idx="196">1.2375959268521042</cx:pt>
          <cx:pt idx="197">1.2561762816478874</cx:pt>
          <cx:pt idx="198">1.2436429616622104</cx:pt>
          <cx:pt idx="199">1.2433906183838841</cx:pt>
          <cx:pt idx="200">1.2610517868808573</cx:pt>
          <cx:pt idx="201">1.3011961340667841</cx:pt>
          <cx:pt idx="202">1.2712805111111529</cx:pt>
          <cx:pt idx="203">1.2388158973738623</cx:pt>
          <cx:pt idx="204">1.2466025553617652</cx:pt>
          <cx:pt idx="205">1.2578874828617346</cx:pt>
          <cx:pt idx="206">1.2578874828617346</cx:pt>
          <cx:pt idx="207">1.2578874828617344</cx:pt>
          <cx:pt idx="208">1.2571476563574613</cx:pt>
          <cx:pt idx="209">1.2491818011857976</cx:pt>
          <cx:pt idx="210">1.2581280109567639</cx:pt>
          <cx:pt idx="211">1.2509099676341366</cx:pt>
          <cx:pt idx="212">1.2649910271818434</cx:pt>
          <cx:pt idx="213">1.2731387586789491</cx:pt>
          <cx:pt idx="214">1.3208950727076878</cx:pt>
          <cx:pt idx="215">1.3876511619014473</cx:pt>
          <cx:pt idx="216">1.4366426378767676</cx:pt>
          <cx:pt idx="217">1.4911462843662626</cx:pt>
          <cx:pt idx="218">1.4855667288099603</cx:pt>
          <cx:pt idx="219">1.4621862076175955</cx:pt>
          <cx:pt idx="220">1.5021104310690465</cx:pt>
          <cx:pt idx="221">1.5016389896284705</cx:pt>
          <cx:pt idx="222">1.4926594718322646</cx:pt>
          <cx:pt idx="223">1.4992958117177817</cx:pt>
          <cx:pt idx="224">1.5130628524295671</cx:pt>
          <cx:pt idx="225">1.5022528675828577</cx:pt>
          <cx:pt idx="226">1.4962526370980898</cx:pt>
          <cx:pt idx="227">1.4798866064047242</cx:pt>
          <cx:pt idx="228">1.4726137526071852</cx:pt>
          <cx:pt idx="229">1.4908218824049606</cx:pt>
          <cx:pt idx="230">1.4702083674357727</cx:pt>
          <cx:pt idx="231">1.4590075354520096</cx:pt>
          <cx:pt idx="232">1.5075524809301399</cx:pt>
          <cx:pt idx="233">1.5560532154124427</cx:pt>
          <cx:pt idx="234">1.4743862545432951</cx:pt>
          <cx:pt idx="235">1.4844781582424342</cx:pt>
          <cx:pt idx="236">1.483741620162452</cx:pt>
          <cx:pt idx="237">1.3835050025041546</cx:pt>
          <cx:pt idx="238">1.3177696238755829</cx:pt>
          <cx:pt idx="239">1.2591937303587213</cx:pt>
          <cx:pt idx="240">1.2887617241403451</cx:pt>
          <cx:pt idx="241">1.254210792747247</cx:pt>
          <cx:pt idx="242">1.1639093854210742</cx:pt>
          <cx:pt idx="243">1.0208876574801962</cx:pt>
          <cx:pt idx="244">1.0163183499798412</cx:pt>
          <cx:pt idx="245">1.0318137139183043</cx:pt>
          <cx:pt idx="246">1.0385815370953795</cx:pt>
          <cx:pt idx="247">1.0206392520173913</cx:pt>
          <cx:pt idx="248">1.0366740030046795</cx:pt>
          <cx:pt idx="249">1.0153251560036285</cx:pt>
          <cx:pt idx="250">0.98931510036797199</cx:pt>
          <cx:pt idx="251">1.0006195781763834</cx:pt>
          <cx:pt idx="252">1.0271610803848976</cx:pt>
          <cx:pt idx="253">1.0410701832425997</cx:pt>
          <cx:pt idx="254">1.0712588469839481</cx:pt>
          <cx:pt idx="255">1.0632219521530906</cx:pt>
          <cx:pt idx="256">1.0785345528119132</cx:pt>
          <cx:pt idx="257">1.1712810552317603</cx:pt>
          <cx:pt idx="258">1.2877827331565252</cx:pt>
          <cx:pt idx="259">1.3215277209507856</cx:pt>
          <cx:pt idx="260">1.356202821097944</cx:pt>
          <cx:pt idx="261">1.3696908368335339</cx:pt>
          <cx:pt idx="262">1.3842513226065312</cx:pt>
          <cx:pt idx="263">1.337944082469851</cx:pt>
          <cx:pt idx="264">1.3747026846792607</cx:pt>
          <cx:pt idx="265">1.4450752277279904</cx:pt>
          <cx:pt idx="266">1.4555442952388287</cx:pt>
          <cx:pt idx="267">1.5227982409888123</cx:pt>
          <cx:pt idx="268">1.5203232036899788</cx:pt>
          <cx:pt idx="269">1.5609515223646164</cx:pt>
          <cx:pt idx="270">1.5450032548416406</cx:pt>
          <cx:pt idx="271">1.5493556688203474</cx:pt>
          <cx:pt idx="272">1.5546547090488663</cx:pt>
          <cx:pt idx="273">1.5602601094674573</cx:pt>
          <cx:pt idx="274">1.5081479850557056</cx:pt>
          <cx:pt idx="275">1.4501307511401511</cx:pt>
          <cx:pt idx="276">1.4971501279922219</cx:pt>
          <cx:pt idx="277">1.4790358773325212</cx:pt>
          <cx:pt idx="278">1.4086293982482387</cx:pt>
          <cx:pt idx="279">1.3736119012197054</cx:pt>
          <cx:pt idx="280">1.3938182074439616</cx:pt>
          <cx:pt idx="281">1.2534689795757294</cx:pt>
          <cx:pt idx="282">1.2612526158226749</cx:pt>
          <cx:pt idx="283">1.1870179481353269</cx:pt>
          <cx:pt idx="284">1.2051308413726642</cx:pt>
          <cx:pt idx="285">1.1778002094299922</cx:pt>
          <cx:pt idx="286">1.1649488173848828</cx:pt>
          <cx:pt idx="287">1.1567235237276137</cx:pt>
          <cx:pt idx="288">1.1484366685234302</cx:pt>
          <cx:pt idx="289">1.1512552369868532</cx:pt>
          <cx:pt idx="290">1.1560626797627496</cx:pt>
          <cx:pt idx="291">1.1607569864571978</cx:pt>
          <cx:pt idx="292">1.2171693655230633</cx:pt>
          <cx:pt idx="293">1.2466222869966592</cx:pt>
          <cx:pt idx="294">1.2510804525891106</cx:pt>
          <cx:pt idx="295">1.2253669401167282</cx:pt>
          <cx:pt idx="296">1.2801506736030863</cx:pt>
          <cx:pt idx="297">1.2506386874060711</cx:pt>
          <cx:pt idx="298">1.259880901140052</cx:pt>
          <cx:pt idx="299">1.2892833704021007</cx:pt>
          <cx:pt idx="300">1.3105147273398767</cx:pt>
          <cx:pt idx="301">1.3175126338027592</cx:pt>
          <cx:pt idx="302">1.3214737941048038</cx:pt>
          <cx:pt idx="303">1.3378942108927105</cx:pt>
          <cx:pt idx="304">1.389318240150107</cx:pt>
          <cx:pt idx="305">1.3424571741280293</cx:pt>
          <cx:pt idx="306">1.3266579304281167</cx:pt>
          <cx:pt idx="307">1.3385940471212714</cx:pt>
          <cx:pt idx="308">1.351471951903408</cx:pt>
          <cx:pt idx="309">1.378158066105776</cx:pt>
          <cx:pt idx="310">1.3511925766930275</cx:pt>
          <cx:pt idx="311">1.3513074128923919</cx:pt>
          <cx:pt idx="312">1.3438769186252852</cx:pt>
          <cx:pt idx="313">1.317073951266005</cx:pt>
          <cx:pt idx="314">1.2949759683564357</cx:pt>
          <cx:pt idx="315">1.3041269594777878</cx:pt>
          <cx:pt idx="316">1.32291718752818</cx:pt>
          <cx:pt idx="317">1.366242603118023</cx:pt>
          <cx:pt idx="318">1.3424280626716181</cx:pt>
          <cx:pt idx="319">1.3813305679420234</cx:pt>
          <cx:pt idx="320">1.3637008469602114</cx:pt>
          <cx:pt idx="321">1.395980436578659</cx:pt>
          <cx:pt idx="322">1.374882440115492</cx:pt>
          <cx:pt idx="323">1.3534928845419709</cx:pt>
          <cx:pt idx="324">1.3479198107053521</cx:pt>
          <cx:pt idx="325">1.3404820285872971</cx:pt>
          <cx:pt idx="326">1.3405233152096565</cx:pt>
          <cx:pt idx="327">1.33851418740522</cx:pt>
          <cx:pt idx="328">1.3036066679898444</cx:pt>
          <cx:pt idx="329">1.2784783070545993</cx:pt>
          <cx:pt idx="330">1.2705463120384406</cx:pt>
          <cx:pt idx="331">1.260248151079322</cx:pt>
          <cx:pt idx="332">1.2361975440098929</cx:pt>
          <cx:pt idx="333">1.2563740932019272</cx:pt>
          <cx:pt idx="334">1.2207751447432851</cx:pt>
          <cx:pt idx="335">1.236754605418144</cx:pt>
          <cx:pt idx="336">1.1919085921135157</cx:pt>
          <cx:pt idx="337">1.1657517430554334</cx:pt>
          <cx:pt idx="338">1.1785974520687665</cx:pt>
          <cx:pt idx="339">1.1595691332183018</cx:pt>
          <cx:pt idx="340">1.1992190945701326</cx:pt>
          <cx:pt idx="341">1.201690619430636</cx:pt>
          <cx:pt idx="342">1.2034997337745454</cx:pt>
          <cx:pt idx="343">1.2347015554515519</cx:pt>
          <cx:pt idx="344">1.2212872895752906</cx:pt>
          <cx:pt idx="345">1.1811262889059859</cx:pt>
          <cx:pt idx="346">1.1703833736768945</cx:pt>
          <cx:pt idx="347">1.115430126819287</cx:pt>
          <cx:pt idx="348">1.1058508972264527</cx:pt>
          <cx:pt idx="349">1.0357084309896234</cx:pt>
          <cx:pt idx="350">1.0562444858048265</cx:pt>
          <cx:pt idx="351">1.034058236648985</cx:pt>
          <cx:pt idx="352">1.0369428984821887</cx:pt>
          <cx:pt idx="353">1.0314819714717576</cx:pt>
          <cx:pt idx="354">1.041835030071967</cx:pt>
          <cx:pt idx="355">1.0337433928682931</cx:pt>
          <cx:pt idx="356">0.98817194511048934</cx:pt>
          <cx:pt idx="357">0.98844595315012052</cx:pt>
          <cx:pt idx="358">1.0338803150012703</cx:pt>
          <cx:pt idx="359">1.0566333436857391</cx:pt>
          <cx:pt idx="360">1.060948177095733</cx:pt>
          <cx:pt idx="361">1.0344091544696299</cx:pt>
          <cx:pt idx="362">1.0958949525964778</cx:pt>
          <cx:pt idx="363">1.0889277653549467</cx:pt>
          <cx:pt idx="364">1.0933818148768744</cx:pt>
          <cx:pt idx="365">1.1059174170494523</cx:pt>
          <cx:pt idx="366">1.1566460132642136</cx:pt>
          <cx:pt idx="367">1.1795683995408668</cx:pt>
          <cx:pt idx="368">1.1260879796583543</cx:pt>
          <cx:pt idx="369">1.1229896469364429</cx:pt>
          <cx:pt idx="370">1.0701399629160127</cx:pt>
          <cx:pt idx="371">1.0693773029627822</cx:pt>
          <cx:pt idx="372">1.0579455801574635</cx:pt>
          <cx:pt idx="373">1.0209486235624312</cx:pt>
          <cx:pt idx="374">1.0105648812967651</cx:pt>
          <cx:pt idx="375">1.0163726350769848</cx:pt>
          <cx:pt idx="376">1.0085145557677404</cx:pt>
          <cx:pt idx="377">1.0173447521993644</cx:pt>
          <cx:pt idx="378">1.0394882140392152</cx:pt>
          <cx:pt idx="379">1.0479723717512899</cx:pt>
          <cx:pt idx="380">1.0911820544080029</cx:pt>
          <cx:pt idx="381">1.0698157538223287</cx:pt>
          <cx:pt idx="382">1.0750207161863838</cx:pt>
          <cx:pt idx="383">1.0717479545867679</cx:pt>
          <cx:pt idx="384">1.0431508966124936</cx:pt>
          <cx:pt idx="385">1.0859779744173177</cx:pt>
          <cx:pt idx="386">1.1191360070602907</cx:pt>
          <cx:pt idx="387">1.1106392484645433</cx:pt>
          <cx:pt idx="388">1.1183592764690462</cx:pt>
          <cx:pt idx="389">1.108444078815918</cx:pt>
          <cx:pt idx="390">1.0881229752171406</cx:pt>
          <cx:pt idx="391">1.109953970258206</cx:pt>
          <cx:pt idx="392">1.077170409895307</cx:pt>
          <cx:pt idx="393">1.0446274152929407</cx:pt>
          <cx:pt idx="394">1.0410521313699359</cx:pt>
          <cx:pt idx="395">1.001292555454796</cx:pt>
          <cx:pt idx="396">0.95712548571349787</cx:pt>
          <cx:pt idx="397">0.94325219991457154</cx:pt>
          <cx:pt idx="398">0.97019941071499571</cx:pt>
          <cx:pt idx="399">1.0288161369643078</cx:pt>
          <cx:pt idx="400">1.046390841465773</cx:pt>
          <cx:pt idx="401">1.1067078651796847</cx:pt>
          <cx:pt idx="402">1.1264198702694883</cx:pt>
          <cx:pt idx="403">1.1134622920701307</cx:pt>
          <cx:pt idx="404">1.1148550238205555</cx:pt>
          <cx:pt idx="405">1.1531680002417726</cx:pt>
          <cx:pt idx="406">1.1702529935725512</cx:pt>
          <cx:pt idx="407">1.1374561252116975</cx:pt>
          <cx:pt idx="408">1.1578777653708656</cx:pt>
          <cx:pt idx="409">1.1281976267735501</cx:pt>
          <cx:pt idx="410">1.1074216196544837</cx:pt>
          <cx:pt idx="411">1.1067961944694034</cx:pt>
          <cx:pt idx="412">1.1066001053241625</cx:pt>
          <cx:pt idx="413">1.1350074687080205</cx:pt>
          <cx:pt idx="414">1.1279676057140244</cx:pt>
          <cx:pt idx="415">1.1466192686007137</cx:pt>
          <cx:pt idx="416">1.126746103436437</cx:pt>
          <cx:pt idx="417">1.1334102746025869</cx:pt>
          <cx:pt idx="418">1.1050467301712033</cx:pt>
          <cx:pt idx="419">1.1138870534376861</cx:pt>
          <cx:pt idx="420">1.1540989419525916</cx:pt>
          <cx:pt idx="421">1.1559006042461222</cx:pt>
          <cx:pt idx="422">1.19035182667326</cx:pt>
          <cx:pt idx="423">1.189843078613368</cx:pt>
          <cx:pt idx="424">1.2185540706052009</cx:pt>
          <cx:pt idx="425">1.2241677914441278</cx:pt>
          <cx:pt idx="426">1.221626765433284</cx:pt>
          <cx:pt idx="427">1.1931104909764891</cx:pt>
          <cx:pt idx="428">1.2130070926818812</cx:pt>
          <cx:pt idx="429">1.223771680680992</cx:pt>
          <cx:pt idx="430">1.217914412937698</cx:pt>
          <cx:pt idx="431">1.2042845446022359</cx:pt>
          <cx:pt idx="432">1.2001808292871974</cx:pt>
          <cx:pt idx="433">1.2204510189496225</cx:pt>
          <cx:pt idx="434">1.2140416493830763</cx:pt>
          <cx:pt idx="435">1.1730158106155357</cx:pt>
          <cx:pt idx="436">1.1654040293924408</cx:pt>
          <cx:pt idx="437">1.1959575589286686</cx:pt>
          <cx:pt idx="438">1.1655882043281687</cx:pt>
          <cx:pt idx="439">1.2010660494628982</cx:pt>
          <cx:pt idx="440">1.2269197483802747</cx:pt>
          <cx:pt idx="441">1.22635915685789</cx:pt>
          <cx:pt idx="442">1.2430466835446141</cx:pt>
          <cx:pt idx="443">1.2152761381488664</cx:pt>
          <cx:pt idx="444">1.2458619321670392</cx:pt>
          <cx:pt idx="445">1.2321237156124838</cx:pt>
          <cx:pt idx="446">1.2290431751719635</cx:pt>
          <cx:pt idx="447">1.2234955105630003</cx:pt>
          <cx:pt idx="448">1.2159484260085394</cx:pt>
          <cx:pt idx="449">1.1989044807752569</cx:pt>
          <cx:pt idx="450">1.1794782111487745</cx:pt>
          <cx:pt idx="451">1.1426547532205302</cx:pt>
          <cx:pt idx="452">1.1439958202640468</cx:pt>
          <cx:pt idx="453">1.1503723035529017</cx:pt>
          <cx:pt idx="454">1.0969202445886874</cx:pt>
          <cx:pt idx="455">1.0813093382827468</cx:pt>
          <cx:pt idx="456">1.1441349188988503</cx:pt>
          <cx:pt idx="457">1.1592705296519623</cx:pt>
          <cx:pt idx="458">1.1776791905532127</cx:pt>
          <cx:pt idx="459">1.1700997108508893</cx:pt>
          <cx:pt idx="460">1.1746745208290927</cx:pt>
          <cx:pt idx="461">1.1523334147939024</cx:pt>
          <cx:pt idx="462">1.1532076703848635</cx:pt>
          <cx:pt idx="463">1.1302470994199134</cx:pt>
          <cx:pt idx="464">1.1796590682232644</cx:pt>
          <cx:pt idx="465">1.1828273647124692</cx:pt>
          <cx:pt idx="466">1.2285373510758661</cx:pt>
          <cx:pt idx="467">1.2114610254118601</cx:pt>
          <cx:pt idx="468">1.2515781302387616</cx:pt>
          <cx:pt idx="469">1.225670072424379</cx:pt>
          <cx:pt idx="470">1.2348402102408178</cx:pt>
          <cx:pt idx="471">1.2736951402689847</cx:pt>
          <cx:pt idx="472">1.2683967615961447</cx:pt>
          <cx:pt idx="473">1.2679452560792182</cx:pt>
          <cx:pt idx="474">1.2368575308919532</cx:pt>
          <cx:pt idx="475">1.2119950779460773</cx:pt>
          <cx:pt idx="476">1.2192097025739976</cx:pt>
          <cx:pt idx="477">1.2107670220191811</cx:pt>
          <cx:pt idx="478">1.2095299742547476</cx:pt>
          <cx:pt idx="479">1.2123180512849199</cx:pt>
          <cx:pt idx="480">1.2042847354915416</cx:pt>
          <cx:pt idx="481">1.1903045104452086</cx:pt>
          <cx:pt idx="482">1.1358373790838807</cx:pt>
          <cx:pt idx="483">1.1167512920412777</cx:pt>
          <cx:pt idx="484">1.1080244924468365</cx:pt>
          <cx:pt idx="485">1.0830140997373423</cx:pt>
          <cx:pt idx="486">1.0629585690610099</cx:pt>
          <cx:pt idx="487">1.0322505821591073</cx:pt>
          <cx:pt idx="488">1.0334564813530247</cx:pt>
          <cx:pt idx="489">1.0187046654464185</cx:pt>
          <cx:pt idx="490">1.0537575895201252</cx:pt>
          <cx:pt idx="491">1.0725081249859696</cx:pt>
          <cx:pt idx="492">1.0746023589612381</cx:pt>
          <cx:pt idx="493">1.0905376191817386</cx:pt>
          <cx:pt idx="494">1.016714394960325</cx:pt>
          <cx:pt idx="495">1.024855246296797</cx:pt>
          <cx:pt idx="496">0.98366129344906383</cx:pt>
          <cx:pt idx="497">0.95460529244699666</cx:pt>
          <cx:pt idx="498">0.91950317669599313</cx:pt>
          <cx:pt idx="499">0.94441911843437809</cx:pt>
          <cx:pt idx="500">0.87820774909739463</cx:pt>
          <cx:pt idx="501">0.83720999439366661</cx:pt>
          <cx:pt idx="502">0.9063328281609897</cx:pt>
          <cx:pt idx="503">0.91359646767439173</cx:pt>
          <cx:pt idx="504">0.96027797699595674</cx:pt>
          <cx:pt idx="505">1.0078296357582677</cx:pt>
          <cx:pt idx="506">0.99258405359358604</cx:pt>
          <cx:pt idx="507">1.0368822076994459</cx:pt>
          <cx:pt idx="508">1.0373327866913427</cx:pt>
          <cx:pt idx="509">1.0656205897876172</cx:pt>
          <cx:pt idx="510">1.0917423067591614</cx:pt>
          <cx:pt idx="511">1.1474760408687472</cx:pt>
          <cx:pt idx="512">1.1915331570576686</cx:pt>
          <cx:pt idx="513">1.1984534574422032</cx:pt>
          <cx:pt idx="514">1.1953865339367178</cx:pt>
          <cx:pt idx="515">1.1891222011195488</cx:pt>
          <cx:pt idx="516">1.1684789208649617</cx:pt>
          <cx:pt idx="517">1.194476800773546</cx:pt>
          <cx:pt idx="518">1.1958685584943693</cx:pt>
          <cx:pt idx="519">1.1961186751562198</cx:pt>
          <cx:pt idx="520">1.2089228130100329</cx:pt>
          <cx:pt idx="521">1.1791140254688983</cx:pt>
          <cx:pt idx="522">1.1407970595309587</cx:pt>
          <cx:pt idx="523">1.1476825224833704</cx:pt>
          <cx:pt idx="524">1.1411438604947344</cx:pt>
          <cx:pt idx="525">1.1859338916660989</cx:pt>
          <cx:pt idx="526">1.1651126431656158</cx:pt>
          <cx:pt idx="527">1.1552749585640021</cx:pt>
          <cx:pt idx="528">1.1483229150554208</cx:pt>
          <cx:pt idx="529">1.1156811228196393</cx:pt>
          <cx:pt idx="530">1.1303605873663785</cx:pt>
          <cx:pt idx="531">1.1649399866146724</cx:pt>
          <cx:pt idx="532">1.1408264800009089</cx:pt>
          <cx:pt idx="533">1.1289761916795722</cx:pt>
          <cx:pt idx="534">1.0391428828772697</cx:pt>
          <cx:pt idx="535">1.05590126018694</cx:pt>
          <cx:pt idx="536">1.059029104263977</cx:pt>
          <cx:pt idx="537">1.0564232106499742</cx:pt>
          <cx:pt idx="538">1.1253729905307361</cx:pt>
          <cx:pt idx="539">1.1298622131435565</cx:pt>
          <cx:pt idx="540">1.1285796688606069</cx:pt>
          <cx:pt idx="541">1.0984584810008793</cx:pt>
          <cx:pt idx="542">1.1499765614802866</cx:pt>
          <cx:pt idx="543">1.1881004350130342</cx:pt>
          <cx:pt idx="544">1.2033199286036582</cx:pt>
          <cx:pt idx="545">1.2663854345994026</cx:pt>
          <cx:pt idx="546">1.2671400053283177</cx:pt>
          <cx:pt idx="547">1.2591166398089093</cx:pt>
          <cx:pt idx="548">1.2614024306120641</cx:pt>
          <cx:pt idx="549">1.2600971044501603</cx:pt>
          <cx:pt idx="550">1.2476338985566187</cx:pt>
          <cx:pt idx="551">1.2537715515389065</cx:pt>
          <cx:pt idx="552">1.2537433145786165</cx:pt>
          <cx:pt idx="553">1.2382911844438145</cx:pt>
          <cx:pt idx="554">1.2511328659562351</cx:pt>
          <cx:pt idx="555">1.2393328294162813</cx:pt>
          <cx:pt idx="556">1.2627367195850867</cx:pt>
          <cx:pt idx="557">1.2870749605298786</cx:pt>
          <cx:pt idx="558">1.2749047293682445</cx:pt>
          <cx:pt idx="559">1.2594742563065155</cx:pt>
          <cx:pt idx="560">1.2930570121930467</cx:pt>
          <cx:pt idx="561">1.2951620410758176</cx:pt>
          <cx:pt idx="562">1.3214725328861034</cx:pt>
          <cx:pt idx="563">1.363875647414087</cx:pt>
          <cx:pt idx="564">1.3982488637783588</cx:pt>
          <cx:pt idx="565">1.3601291351808533</cx:pt>
          <cx:pt idx="566">1.3653013645682606</cx:pt>
          <cx:pt idx="567">1.3465801724812154</cx:pt>
          <cx:pt idx="568">1.3141057883551484</cx:pt>
          <cx:pt idx="569">1.3123769783615276</cx:pt>
          <cx:pt idx="570">1.2955918187915283</cx:pt>
          <cx:pt idx="571">1.2913033601040818</cx:pt>
          <cx:pt idx="572">1.2804965362352001</cx:pt>
          <cx:pt idx="573">1.2592786203530026</cx:pt>
          <cx:pt idx="574">1.2722988516131313</cx:pt>
          <cx:pt idx="575">1.28079878093375</cx:pt>
          <cx:pt idx="576">1.2986292065450995</cx:pt>
          <cx:pt idx="577">1.2888797595131827</cx:pt>
          <cx:pt idx="578">1.2642722680720686</cx:pt>
          <cx:pt idx="579">1.2694694792001462</cx:pt>
          <cx:pt idx="580">1.2501860091487447</cx:pt>
          <cx:pt idx="581">1.2523223943179909</cx:pt>
          <cx:pt idx="582">1.2481583674938161</cx:pt>
          <cx:pt idx="583">1.2580515860263639</cx:pt>
          <cx:pt idx="584">1.2541169444453051</cx:pt>
          <cx:pt idx="585">1.2294478715933908</cx:pt>
          <cx:pt idx="586">1.2192703678368713</cx:pt>
          <cx:pt idx="587">1.1587103413590538</cx:pt>
          <cx:pt idx="588">1.1245840099353628</cx:pt>
          <cx:pt idx="589">1.1154703147051952</cx:pt>
          <cx:pt idx="590">1.1216935574307318</cx:pt>
          <cx:pt idx="591">1.0726542972362116</cx:pt>
          <cx:pt idx="592">1.0015137967384533</cx:pt>
          <cx:pt idx="593">0.96458936531467221</cx:pt>
          <cx:pt idx="594">0.93304131310142102</cx:pt>
          <cx:pt idx="595">0.9656231982090846</cx:pt>
          <cx:pt idx="596">1.0188082399966434</cx:pt>
          <cx:pt idx="597">1.073237876814775</cx:pt>
          <cx:pt idx="598">1.120534355287383</cx:pt>
          <cx:pt idx="599">1.1111245727153884</cx:pt>
          <cx:pt idx="600">1.1145809480047526</cx:pt>
          <cx:pt idx="601">1.1412797817493678</cx:pt>
          <cx:pt idx="602">1.0996854827265568</cx:pt>
          <cx:pt idx="603">1.1439638688933027</cx:pt>
          <cx:pt idx="604">1.1323729534685671</cx:pt>
          <cx:pt idx="605">1.1409387645127216</cx:pt>
          <cx:pt idx="606">1.212898873839414</cx:pt>
          <cx:pt idx="607">1.2434550031374616</cx:pt>
          <cx:pt idx="608">1.2416616600994486</cx:pt>
          <cx:pt idx="609">1.2811792340984363</cx:pt>
          <cx:pt idx="610">1.3157682516134905</cx:pt>
          <cx:pt idx="611">1.2655045334323893</cx:pt>
          <cx:pt idx="612">1.2615314539064815</cx:pt>
          <cx:pt idx="613">1.2288231918309513</cx:pt>
          <cx:pt idx="614">1.2515456650574661</cx:pt>
          <cx:pt idx="615">1.1916039610541742</cx:pt>
          <cx:pt idx="616">1.1670585877009068</cx:pt>
          <cx:pt idx="617">1.1444792019421581</cx:pt>
          <cx:pt idx="618">1.1283779936491682</cx:pt>
          <cx:pt idx="619">1.0299872223289561</cx:pt>
          <cx:pt idx="620">1.0323382676480486</cx:pt>
          <cx:pt idx="621">1.0478033947372893</cx:pt>
          <cx:pt idx="622">1.0276526650576054</cx:pt>
          <cx:pt idx="623">0.99960589935383404</cx:pt>
          <cx:pt idx="624">0.93211562599812903</cx:pt>
          <cx:pt idx="625">0.9358136787733492</cx:pt>
          <cx:pt idx="626">0.93668190358613534</cx:pt>
          <cx:pt idx="627">0.93583480465795577</cx:pt>
          <cx:pt idx="628">0.93554974925619649</cx:pt>
          <cx:pt idx="629">0.94070803610652809</cx:pt>
          <cx:pt idx="630">0.96461391240226213</cx:pt>
          <cx:pt idx="631">0.79370772581787807</cx:pt>
          <cx:pt idx="632">0.72370883838641942</cx:pt>
          <cx:pt idx="633">0.76408227576480992</cx:pt>
          <cx:pt idx="634">0.81817016188144098</cx:pt>
          <cx:pt idx="635">0.80410448511900834</cx:pt>
          <cx:pt idx="636">0.76424735720086434</cx:pt>
          <cx:pt idx="637">0.76674000149011234</cx:pt>
          <cx:pt idx="638">0.79377636620160852</cx:pt>
          <cx:pt idx="639">0.81447740808193214</cx:pt>
          <cx:pt idx="640">0.81182609541416106</cx:pt>
          <cx:pt idx="641">0.81205826188128627</cx:pt>
          <cx:pt idx="642">0.84108338728559884</cx:pt>
          <cx:pt idx="643">0.87454027331802919</cx:pt>
          <cx:pt idx="644">0.87657221640587812</cx:pt>
          <cx:pt idx="645">0.87367508887431444</cx:pt>
          <cx:pt idx="646">1.0247139213896022</cx:pt>
          <cx:pt idx="647">1.1751576074292549</cx:pt>
          <cx:pt idx="648">1.176829414683525</cx:pt>
          <cx:pt idx="649">1.1608015462968067</cx:pt>
          <cx:pt idx="650">1.227926202432658</cx:pt>
          <cx:pt idx="651">1.231105708039653</cx:pt>
          <cx:pt idx="652">1.3050530002008855</cx:pt>
          <cx:pt idx="653">1.3017848490067194</cx:pt>
          <cx:pt idx="654">1.3082658962047482</cx:pt>
          <cx:pt idx="655">1.3161305179312133</cx:pt>
          <cx:pt idx="656">1.389484151365733</cx:pt>
          <cx:pt idx="657">1.3874337511366452</cx:pt>
          <cx:pt idx="658">1.3837791415698093</cx:pt>
          <cx:pt idx="659">1.4028675067087806</cx:pt>
          <cx:pt idx="660">1.3504235180716155</cx:pt>
          <cx:pt idx="661">1.3536131300143057</cx:pt>
          <cx:pt idx="662">1.2765894307539305</cx:pt>
          <cx:pt idx="663">1.2779367800455168</cx:pt>
          <cx:pt idx="664">1.3317797270492262</cx:pt>
          <cx:pt idx="665">1.3177865454277278</cx:pt>
          <cx:pt idx="666">1.3254199074385757</cx:pt>
          <cx:pt idx="667">1.3654499069082913</cx:pt>
          <cx:pt idx="668">1.3915733673729203</cx:pt>
          <cx:pt idx="669">1.3586468927982522</cx:pt>
          <cx:pt idx="670">1.3957859813549951</cx:pt>
          <cx:pt idx="671">1.3547381729475918</cx:pt>
          <cx:pt idx="672">1.2580128921364873</cx:pt>
          <cx:pt idx="673">1.2902892841458495</cx:pt>
          <cx:pt idx="674">1.3192492204838047</cx:pt>
          <cx:pt idx="675">1.3141493905525563</cx:pt>
          <cx:pt idx="676">1.3379029739917956</cx:pt>
          <cx:pt idx="677">1.3162929485630397</cx:pt>
          <cx:pt idx="678">1.3178380501551701</cx:pt>
          <cx:pt idx="679">1.2966298047533502</cx:pt>
          <cx:pt idx="680">1.3234300610295884</cx:pt>
          <cx:pt idx="681">1.3451674253782868</cx:pt>
          <cx:pt idx="682">1.3003138436369974</cx:pt>
          <cx:pt idx="683">1.2930282108380262</cx:pt>
          <cx:pt idx="684">1.3134953368779041</cx:pt>
          <cx:pt idx="685">1.3140162178183548</cx:pt>
          <cx:pt idx="686">1.3173732572246082</cx:pt>
          <cx:pt idx="687">1.2992415559431791</cx:pt>
          <cx:pt idx="688">1.2991119867136114</cx:pt>
          <cx:pt idx="689">1.2489791693688248</cx:pt>
          <cx:pt idx="690">1.263871128669793</cx:pt>
          <cx:pt idx="691">1.2744423617148526</cx:pt>
          <cx:pt idx="692">1.3274485508570237</cx:pt>
          <cx:pt idx="693">1.3560985706552942</cx:pt>
          <cx:pt idx="694">1.3230053300906517</cx:pt>
          <cx:pt idx="695">1.3159334783871974</cx:pt>
          <cx:pt idx="696">1.2996808184646935</cx:pt>
          <cx:pt idx="697">1.3065403997167302</cx:pt>
          <cx:pt idx="698">1.2842668197722058</cx:pt>
          <cx:pt idx="699">1.2526384109174307</cx:pt>
          <cx:pt idx="700">1.2135167854239786</cx:pt>
          <cx:pt idx="701">1.1846260867958467</cx:pt>
          <cx:pt idx="702">1.1952328681873678</cx:pt>
          <cx:pt idx="703">1.1490437803649616</cx:pt>
          <cx:pt idx="704">1.1122765822412604</cx:pt>
          <cx:pt idx="705">1.1054589726579118</cx:pt>
          <cx:pt idx="706">1.0649108213701581</cx:pt>
          <cx:pt idx="707">1.0555713711257191</cx:pt>
          <cx:pt idx="708">1.0763903599050639</cx:pt>
          <cx:pt idx="709">1.0734295666147637</cx:pt>
          <cx:pt idx="710">1.063122758669008</cx:pt>
          <cx:pt idx="711">1.0371470594802392</cx:pt>
          <cx:pt idx="712">1.0347160196784966</cx:pt>
          <cx:pt idx="713">1.038948407334767</cx:pt>
          <cx:pt idx="714">1.0135532693869913</cx:pt>
          <cx:pt idx="715">1.0551082093005129</cx:pt>
          <cx:pt idx="716">1.0635981005719368</cx:pt>
          <cx:pt idx="717">1.0631156228680907</cx:pt>
          <cx:pt idx="718">1.0609722281782492</cx:pt>
          <cx:pt idx="719">1.0600219039159575</cx:pt>
          <cx:pt idx="720">1.0477112987446697</cx:pt>
          <cx:pt idx="721">1.0579346610856639</cx:pt>
          <cx:pt idx="722">1.0435851666251306</cx:pt>
          <cx:pt idx="723">1.0210801695477587</cx:pt>
          <cx:pt idx="724">1.0690671086319241</cx:pt>
          <cx:pt idx="725">1.0835054328375597</cx:pt>
          <cx:pt idx="726">1.1080673866391588</cx:pt>
          <cx:pt idx="727">1.1053878499651495</cx:pt>
          <cx:pt idx="728">1.1768546136244684</cx:pt>
          <cx:pt idx="729">1.1378228858395454</cx:pt>
          <cx:pt idx="730">1.1805432219324188</cx:pt>
          <cx:pt idx="731">1.1884225515024283</cx:pt>
          <cx:pt idx="732">1.2564875783240996</cx:pt>
          <cx:pt idx="733">1.2826642531102588</cx:pt>
          <cx:pt idx="734">1.2784816785151252</cx:pt>
          <cx:pt idx="735">1.2676541825106653</cx:pt>
          <cx:pt idx="736">1.2801474861151345</cx:pt>
          <cx:pt idx="737">1.285958473436176</cx:pt>
          <cx:pt idx="738">1.2841987975870943</cx:pt>
          <cx:pt idx="739">1.2825221648955141</cx:pt>
          <cx:pt idx="740">1.2682545250184944</cx:pt>
          <cx:pt idx="741">1.2716800815791129</cx:pt>
          <cx:pt idx="742">1.2870829979757179</cx:pt>
          <cx:pt idx="743">1.3124698573440774</cx:pt>
          <cx:pt idx="744">1.3148455614918104</cx:pt>
          <cx:pt idx="745">1.2943369580289135</cx:pt>
          <cx:pt idx="746">1.239362275759075</cx:pt>
          <cx:pt idx="747">1.2388300468819251</cx:pt>
          <cx:pt idx="748">1.284852556503673</cx:pt>
          <cx:pt idx="749">1.2841961124269199</cx:pt>
          <cx:pt idx="750">1.2950445339167249</cx:pt>
          <cx:pt idx="751">1.2614780602736317</cx:pt>
          <cx:pt idx="752">1.2149321914761571</cx:pt>
          <cx:pt idx="753">1.190861998239332</cx:pt>
          <cx:pt idx="754">1.1851834815999893</cx:pt>
          <cx:pt idx="755">1.137931375827187</cx:pt>
          <cx:pt idx="756">1.1465690950200831</cx:pt>
          <cx:pt idx="757">1.1053841065387662</cx:pt>
          <cx:pt idx="758">1.0822751684437211</cx:pt>
          <cx:pt idx="759">1.1162836536482557</cx:pt>
          <cx:pt idx="760">1.0965121821107331</cx:pt>
          <cx:pt idx="761">1.0602032444490206</cx:pt>
          <cx:pt idx="762">0.9883051787969046</cx:pt>
          <cx:pt idx="763">0.93896304996277768</cx:pt>
          <cx:pt idx="764">0.96958629642074456</cx:pt>
          <cx:pt idx="765">0.97188973406061541</cx:pt>
          <cx:pt idx="766">0.97578874668696547</cx:pt>
          <cx:pt idx="767">0.98830570215877023</cx:pt>
          <cx:pt idx="768">0.9573544125684943</cx:pt>
          <cx:pt idx="769">0.95968080181866189</cx:pt>
          <cx:pt idx="770">0.97629307122376929</cx:pt>
          <cx:pt idx="771">0.98225198677184733</cx:pt>
          <cx:pt idx="772">0.93936270888862416</cx:pt>
          <cx:pt idx="773">0.92819042834127918</cx:pt>
          <cx:pt idx="774">0.94400230128299234</cx:pt>
          <cx:pt idx="775">0.95567325970246997</cx:pt>
          <cx:pt idx="776">0.9962605946306381</cx:pt>
          <cx:pt idx="777">0.99313968643973183</cx:pt>
          <cx:pt idx="778">0.96687011335129924</cx:pt>
          <cx:pt idx="779">0.96624935502796261</cx:pt>
          <cx:pt idx="780">0.96900019572255236</cx:pt>
          <cx:pt idx="781">1.0017628714295179</cx:pt>
          <cx:pt idx="782">1.0144573318582302</cx:pt>
          <cx:pt idx="783">1.0196055130779014</cx:pt>
          <cx:pt idx="784">0.98005447889859421</cx:pt>
          <cx:pt idx="785">1.029525110923958</cx:pt>
          <cx:pt idx="786">1.0252002327552308</cx:pt>
          <cx:pt idx="787">1.0349177323071037</cx:pt>
          <cx:pt idx="788">1.0083230644485182</cx:pt>
          <cx:pt idx="789">1.027810360879396</cx:pt>
          <cx:pt idx="790">1.0220587742057865</cx:pt>
          <cx:pt idx="791">1.0875029396181697</cx:pt>
          <cx:pt idx="792">1.1049284056486173</cx:pt>
          <cx:pt idx="793">1.104050484019806</cx:pt>
          <cx:pt idx="794">1.0800436879201194</cx:pt>
          <cx:pt idx="795">1.0879454960147823</cx:pt>
          <cx:pt idx="796">1.0997546225795363</cx:pt>
          <cx:pt idx="797">1.0969383201260317</cx:pt>
          <cx:pt idx="798">1.1146098229745083</cx:pt>
          <cx:pt idx="799">1.107064254850556</cx:pt>
          <cx:pt idx="800">1.1105119974821183</cx:pt>
          <cx:pt idx="801">1.1157452537494248</cx:pt>
          <cx:pt idx="802">1.1540772798283887</cx:pt>
          <cx:pt idx="803">1.1832157623315729</cx:pt>
          <cx:pt idx="804">1.1772773967784811</cx:pt>
          <cx:pt idx="805">1.1662391170600133</cx:pt>
          <cx:pt idx="806">1.1325629565612292</cx:pt>
          <cx:pt idx="807">1.1324361391245876</cx:pt>
          <cx:pt idx="808">1.1364607289764777</cx:pt>
          <cx:pt idx="809">1.1627729441039767</cx:pt>
          <cx:pt idx="810">1.1577165396619746</cx:pt>
          <cx:pt idx="811">1.1301551109085175</cx:pt>
          <cx:pt idx="812">1.1597267315855155</cx:pt>
          <cx:pt idx="813">1.1351996634346173</cx:pt>
          <cx:pt idx="814">1.134801820765984</cx:pt>
          <cx:pt idx="815">1.136636700316221</cx:pt>
          <cx:pt idx="816">1.156080576279428</cx:pt>
          <cx:pt idx="817">1.1430862137013211</cx:pt>
          <cx:pt idx="818">1.1758569875509579</cx:pt>
          <cx:pt idx="819">1.1591844140373548</cx:pt>
          <cx:pt idx="820">1.1446983741650425</cx:pt>
          <cx:pt idx="821">1.0840590495856328</cx:pt>
          <cx:pt idx="822">1.1212311070436363</cx:pt>
          <cx:pt idx="823">1.1267650776581088</cx:pt>
          <cx:pt idx="824">1.1318586585738102</cx:pt>
          <cx:pt idx="825">1.1486141574778801</cx:pt>
          <cx:pt idx="826">1.1284502647436436</cx:pt>
          <cx:pt idx="827">1.1346531699563325</cx:pt>
          <cx:pt idx="828">1.131805799515134</cx:pt>
          <cx:pt idx="829">1.1278063337456399</cx:pt>
          <cx:pt idx="830">1.1149438932329603</cx:pt>
          <cx:pt idx="831">1.0918511645445272</cx:pt>
          <cx:pt idx="832">1.0492011739644003</cx:pt>
          <cx:pt idx="833">1.0120104038354865</cx:pt>
          <cx:pt idx="834">1.0360160208231817</cx:pt>
          <cx:pt idx="835">1.0546464788744612</cx:pt>
          <cx:pt idx="836">1.0752131571615615</cx:pt>
          <cx:pt idx="837">1.124088391828542</cx:pt>
          <cx:pt idx="838">1.1310261844382989</cx:pt>
          <cx:pt idx="839">1.1424368490306096</cx:pt>
          <cx:pt idx="840">1.1366787675898828</cx:pt>
          <cx:pt idx="841">1.181970106784995</cx:pt>
          <cx:pt idx="842">1.1381265610491289</cx:pt>
          <cx:pt idx="843">1.1488919699522184</cx:pt>
          <cx:pt idx="844">1.1491300557628237</cx:pt>
          <cx:pt idx="845">1.087713038982439</cx:pt>
          <cx:pt idx="846">1.0433842483261722</cx:pt>
          <cx:pt idx="847">1.0698654443272368</cx:pt>
          <cx:pt idx="848">1.0467102816888265</cx:pt>
          <cx:pt idx="849">1.0258039179886764</cx:pt>
          <cx:pt idx="850">1.0374928333778235</cx:pt>
          <cx:pt idx="851">1.0394683101548077</cx:pt>
          <cx:pt idx="852">1.0049978555475485</cx:pt>
          <cx:pt idx="853">1.0580322768472492</cx:pt>
          <cx:pt idx="854">1.0608600393023129</cx:pt>
          <cx:pt idx="855">1.0591788730226213</cx:pt>
          <cx:pt idx="856">1.0859000186825265</cx:pt>
          <cx:pt idx="857">1.1181318574187533</cx:pt>
          <cx:pt idx="858">1.1153887523933153</cx:pt>
          <cx:pt idx="859">1.1178530839253333</cx:pt>
          <cx:pt idx="860">1.1320728622828302</cx:pt>
          <cx:pt idx="861">1.168973614049875</cx:pt>
          <cx:pt idx="862">1.1911290886159758</cx:pt>
          <cx:pt idx="863">1.2163113636455642</cx:pt>
          <cx:pt idx="864">1.1821439708496129</cx:pt>
          <cx:pt idx="865">1.2188283897572123</cx:pt>
          <cx:pt idx="866">1.255920278969344</cx:pt>
          <cx:pt idx="867">1.2184692205301324</cx:pt>
          <cx:pt idx="868">1.2108420647413618</cx:pt>
          <cx:pt idx="869">1.166153959591641</cx:pt>
          <cx:pt idx="870">1.1561480337145704</cx:pt>
          <cx:pt idx="871">1.1375705611561835</cx:pt>
          <cx:pt idx="872">1.13400825069471</cx:pt>
          <cx:pt idx="873">1.1633510850669437</cx:pt>
          <cx:pt idx="874">1.1532913420034971</cx:pt>
          <cx:pt idx="875">1.1492470798634689</cx:pt>
          <cx:pt idx="876">1.1691242915940974</cx:pt>
          <cx:pt idx="877">1.1181616686514424</cx:pt>
          <cx:pt idx="878">1.1403921991210262</cx:pt>
          <cx:pt idx="879">1.1478097583568929</cx:pt>
          <cx:pt idx="880">1.1454176570995407</cx:pt>
          <cx:pt idx="881">1.1744167542417283</cx:pt>
          <cx:pt idx="882">1.190834537856424</cx:pt>
          <cx:pt idx="883">1.1668535646683815</cx:pt>
          <cx:pt idx="884">1.1607657500274464</cx:pt>
          <cx:pt idx="885">1.1520670578343628</cx:pt>
          <cx:pt idx="886">1.1269548023043252</cx:pt>
          <cx:pt idx="887">1.0968863456039608</cx:pt>
          <cx:pt idx="888">1.083556564091698</cx:pt>
          <cx:pt idx="889">1.0777957497415354</cx:pt>
          <cx:pt idx="890">1.0821808547090681</cx:pt>
          <cx:pt idx="891">1.0450193310646696</cx:pt>
          <cx:pt idx="892">1.0617614945289582</cx:pt>
          <cx:pt idx="893">1.0342313487603341</cx:pt>
          <cx:pt idx="894">1.0629185585306919</cx:pt>
          <cx:pt idx="895">1.0238269991253064</cx:pt>
          <cx:pt idx="896">0.99257062055130807</cx:pt>
          <cx:pt idx="897">0.95092598549259189</cx:pt>
          <cx:pt idx="898">0.96222975008779599</cx:pt>
          <cx:pt idx="899">0.95562845663282558</cx:pt>
          <cx:pt idx="900">1.0145491043106147</cx:pt>
          <cx:pt idx="901">1.0135158448766803</cx:pt>
          <cx:pt idx="902">1.0048034633698271</cx:pt>
          <cx:pt idx="903">0.99093593283748937</cx:pt>
          <cx:pt idx="904">1.0229652638454947</cx:pt>
          <cx:pt idx="905">1.0230889108675889</cx:pt>
          <cx:pt idx="906">1.0593149488794824</cx:pt>
          <cx:pt idx="907">1.0710546955779336</cx:pt>
          <cx:pt idx="908">1.0786060075580099</cx:pt>
          <cx:pt idx="909">1.0893336569169036</cx:pt>
          <cx:pt idx="910">1.129689256429375</cx:pt>
          <cx:pt idx="911">1.0856980910122236</cx:pt>
          <cx:pt idx="912">1.1065232388707071</cx:pt>
          <cx:pt idx="913">1.0990729635972061</cx:pt>
          <cx:pt idx="914">1.0972096269707272</cx:pt>
          <cx:pt idx="915">1.0768167754154339</cx:pt>
          <cx:pt idx="916">1.0974610196518022</cx:pt>
          <cx:pt idx="917">1.0827117934086654</cx:pt>
          <cx:pt idx="918">1.1155774753231069</cx:pt>
          <cx:pt idx="919">1.1177031559531303</cx:pt>
          <cx:pt idx="920">1.1134119147709998</cx:pt>
          <cx:pt idx="921">1.1178676848892009</cx:pt>
          <cx:pt idx="922">1.1011365601676899</cx:pt>
          <cx:pt idx="923">1.1426308119483712</cx:pt>
          <cx:pt idx="924">1.0963440289822619</cx:pt>
          <cx:pt idx="925">1.076529385219642</cx:pt>
          <cx:pt idx="926">1.0686322227905203</cx:pt>
          <cx:pt idx="927">1.112543167185245</cx:pt>
          <cx:pt idx="928">1.0916109049547342</cx:pt>
          <cx:pt idx="929">1.110140510936787</cx:pt>
          <cx:pt idx="930">1.0962305320097354</cx:pt>
          <cx:pt idx="931">1.0941037900712522</cx:pt>
          <cx:pt idx="932">1.0941037900712522</cx:pt>
          <cx:pt idx="933">1.1060982475952741</cx:pt>
          <cx:pt idx="934">1.0889497734952722</cx:pt>
          <cx:pt idx="935">1.0893256376435783</cx:pt>
          <cx:pt idx="936">1.0341213161673661</cx:pt>
          <cx:pt idx="937">1.0676380634291569</cx:pt>
          <cx:pt idx="938">1.0545350339988881</cx:pt>
          <cx:pt idx="939">1.0804580233539323</cx:pt>
          <cx:pt idx="940">1.0505595662783007</cx:pt>
          <cx:pt idx="941">1.0611157108082694</cx:pt>
          <cx:pt idx="942">1.0465481849624874</cx:pt>
          <cx:pt idx="943">1.0448048269589794</cx:pt>
          <cx:pt idx="944">1.0378264754299966</cx:pt>
          <cx:pt idx="945">1.03530666232642</cx:pt>
          <cx:pt idx="946">0.9893604110679316</cx:pt>
          <cx:pt idx="947">1.0515748452546847</cx:pt>
          <cx:pt idx="948">1.0287541846397481</cx:pt>
          <cx:pt idx="949">1.0253381275764932</cx:pt>
          <cx:pt idx="950">1.0236013165155731</cx:pt>
          <cx:pt idx="951">1.0483750425706717</cx:pt>
          <cx:pt idx="952">1.0362285728411538</cx:pt>
          <cx:pt idx="953">1.0017862781683711</cx:pt>
          <cx:pt idx="954">1.0206234853512708</cx:pt>
          <cx:pt idx="955">1.0650513451548203</cx:pt>
          <cx:pt idx="956">1.124805985824723</cx:pt>
          <cx:pt idx="957">1.0980562240907192</cx:pt>
          <cx:pt idx="958">1.1409528685602495</cx:pt>
          <cx:pt idx="959">1.1207716963781247</cx:pt>
          <cx:pt idx="960">1.1471024966981089</cx:pt>
          <cx:pt idx="961">1.1732759912842918</cx:pt>
          <cx:pt idx="962">1.207443818449804</cx:pt>
          <cx:pt idx="963">1.2253971441616553</cx:pt>
          <cx:pt idx="964">1.2118657127533261</cx:pt>
          <cx:pt idx="965">1.2118657127533259</cx:pt>
          <cx:pt idx="966">1.2110300071265452</cx:pt>
          <cx:pt idx="967">1.1873066690778682</cx:pt>
          <cx:pt idx="968">1.2396022721435489</cx:pt>
          <cx:pt idx="969">1.2516398898217906</cx:pt>
          <cx:pt idx="970">1.2499078126925545</cx:pt>
          <cx:pt idx="971">1.2336710938560944</cx:pt>
          <cx:pt idx="972">1.2302871359083658</cx:pt>
          <cx:pt idx="973">1.2407526914656728</cx:pt>
          <cx:pt idx="974">1.2484852431241833</cx:pt>
          <cx:pt idx="975">1.2796389577021192</cx:pt>
          <cx:pt idx="976">1.2914343802999397</cx:pt>
          <cx:pt idx="977">1.2600265003598918</cx:pt>
          <cx:pt idx="978">1.2463650136001241</cx:pt>
          <cx:pt idx="979">1.2516591288017056</cx:pt>
          <cx:pt idx="980">1.2536769368816538</cx:pt>
          <cx:pt idx="981">1.2451035132151422</cx:pt>
          <cx:pt idx="982">1.2386661346397783</cx:pt>
          <cx:pt idx="983">1.2623703302021612</cx:pt>
          <cx:pt idx="984">1.2767296584201586</cx:pt>
          <cx:pt idx="985">1.2339498769603956</cx:pt>
          <cx:pt idx="986">1.1864532773397969</cx:pt>
          <cx:pt idx="987">1.1854185448341787</cx:pt>
          <cx:pt idx="988">1.1376214852393396</cx:pt>
          <cx:pt idx="989">1.1386832484189291</cx:pt>
          <cx:pt idx="990">1.0890397014178899</cx:pt>
          <cx:pt idx="991">1.0793540000719248</cx:pt>
          <cx:pt idx="992">1.1022482770990465</cx:pt>
          <cx:pt idx="993">1.0725145552692363</cx:pt>
          <cx:pt idx="994">1.0537412275851428</cx:pt>
          <cx:pt idx="995">1.0613247523190334</cx:pt>
          <cx:pt idx="996">1.0812506594244218</cx:pt>
          <cx:pt idx="997">1.0918277410342503</cx:pt>
          <cx:pt idx="998">1.0349044044919231</cx:pt>
          <cx:pt idx="999">0.97997237821734851</cx:pt>
          <cx:pt idx="1000">0.98207293078432345</cx:pt>
          <cx:pt idx="1001">0.97828615093102922</cx:pt>
          <cx:pt idx="1002">0.96652482114276717</cx:pt>
          <cx:pt idx="1003">1.0032934845258163</cx:pt>
          <cx:pt idx="1004">0.99770593184403911</cx:pt>
          <cx:pt idx="1005">0.99075270352405809</cx:pt>
          <cx:pt idx="1006">0.99998528724808944</cx:pt>
          <cx:pt idx="1007">1.0052575011797531</cx:pt>
          <cx:pt idx="1008">1.0067236034747093</cx:pt>
          <cx:pt idx="1009">1.0671634439447193</cx:pt>
          <cx:pt idx="1010">1.0425072011107726</cx:pt>
          <cx:pt idx="1011">1.0180748679648317</cx:pt>
          <cx:pt idx="1012">1.0578086761802907</cx:pt>
          <cx:pt idx="1013">1.035316654320138</cx:pt>
          <cx:pt idx="1014">1.0598963840053359</cx:pt>
          <cx:pt idx="1015">1.0871014397147514</cx:pt>
          <cx:pt idx="1016">1.0785326344984472</cx:pt>
          <cx:pt idx="1017">1.0611033078287229</cx:pt>
          <cx:pt idx="1018">1.0597703069289475</cx:pt>
          <cx:pt idx="1019">1.0848743239889931</cx:pt>
          <cx:pt idx="1020">1.136007376129526</cx:pt>
          <cx:pt idx="1021">1.1249012217171293</cx:pt>
          <cx:pt idx="1022">1.1130007074178536</cx:pt>
          <cx:pt idx="1023">1.1212538650479897</cx:pt>
          <cx:pt idx="1024">1.1233931052688173</cx:pt>
          <cx:pt idx="1025">1.1145949730834908</cx:pt>
          <cx:pt idx="1026">1.0993130561411057</cx:pt>
          <cx:pt idx="1027">1.1121081254799909</cx:pt>
          <cx:pt idx="1028">1.1140152602186375</cx:pt>
          <cx:pt idx="1029">1.130033515930583</cx:pt>
          <cx:pt idx="1030">1.1302850825416082</cx:pt>
          <cx:pt idx="1031">1.1560453795332726</cx:pt>
          <cx:pt idx="1032">1.1370530573251241</cx:pt>
          <cx:pt idx="1033">1.1510040094999912</cx:pt>
          <cx:pt idx="1034">1.1927270501216751</cx:pt>
          <cx:pt idx="1035">1.1790362321750796</cx:pt>
          <cx:pt idx="1036">1.1696587575850494</cx:pt>
          <cx:pt idx="1037">1.1639453812678289</cx:pt>
          <cx:pt idx="1038">1.1778102124500887</cx:pt>
          <cx:pt idx="1039">1.1211451965397421</cx:pt>
          <cx:pt idx="1040">1.1200484390182084</cx:pt>
          <cx:pt idx="1041">1.1289199395373688</cx:pt>
          <cx:pt idx="1042">1.1046250208924333</cx:pt>
          <cx:pt idx="1043">1.1718167445290324</cx:pt>
          <cx:pt idx="1044">1.1352421889562627</cx:pt>
          <cx:pt idx="1045">1.205111193419822</cx:pt>
          <cx:pt idx="1046">1.2144690907609765</cx:pt>
          <cx:pt idx="1047">1.2277613025714544</cx:pt>
          <cx:pt idx="1048">1.274273514009354</cx:pt>
          <cx:pt idx="1049">1.3084134904795828</cx:pt>
          <cx:pt idx="1050">1.3394612487047206</cx:pt>
          <cx:pt idx="1051">1.3364011115808316</cx:pt>
          <cx:pt idx="1052">1.2862903982016456</cx:pt>
          <cx:pt idx="1053">1.2786327108264528</cx:pt>
          <cx:pt idx="1054">1.3359169221880929</cx:pt>
          <cx:pt idx="1055">1.401078402394089</cx:pt>
          <cx:pt idx="1056">1.3998308600618896</cx:pt>
          <cx:pt idx="1057">1.3420742652079038</cx:pt>
          <cx:pt idx="1058">1.3403869744888273</cx:pt>
          <cx:pt idx="1059">1.3101880184455064</cx:pt>
          <cx:pt idx="1060">1.3091499830656996</cx:pt>
          <cx:pt idx="1061">1.2419442025706515</cx:pt>
          <cx:pt idx="1062">1.2576638167102008</cx:pt>
          <cx:pt idx="1063">1.1446079989517668</cx:pt>
          <cx:pt idx="1064">1.169263644891249</cx:pt>
          <cx:pt idx="1065">1.0487278007185659</cx:pt>
          <cx:pt idx="1066">1.0334272853098994</cx:pt>
          <cx:pt idx="1067">0.98237742354904001</cx:pt>
          <cx:pt idx="1068">0.88568987333272431</cx:pt>
          <cx:pt idx="1069">0.87705024168332613</cx:pt>
          <cx:pt idx="1070">0.86502036385570558</cx:pt>
          <cx:pt idx="1071">0.8887946118586485</cx:pt>
          <cx:pt idx="1072">0.88975839417226077</cx:pt>
          <cx:pt idx="1073">0.88880916069645199</cx:pt>
          <cx:pt idx="1074">0.91998100929924886</cx:pt>
          <cx:pt idx="1075">0.90902726840983361</cx:pt>
          <cx:pt idx="1076">0.90434843503708406</cx:pt>
          <cx:pt idx="1077">0.94381647592627083</cx:pt>
          <cx:pt idx="1078">0.97744617983946236</cx:pt>
          <cx:pt idx="1079">0.97592043203079437</cx:pt>
          <cx:pt idx="1080">0.94607987318026232</cx:pt>
          <cx:pt idx="1081">0.98905766134804507</cx:pt>
          <cx:pt idx="1082">0.99003216016497131</cx:pt>
          <cx:pt idx="1083">0.98201879795665303</cx:pt>
          <cx:pt idx="1084">1.0966358693226557</cx:pt>
          <cx:pt idx="1085">1.0572401721506777</cx:pt>
          <cx:pt idx="1086">1.0776946446588831</cx:pt>
          <cx:pt idx="1087">1.0850122622327369</cx:pt>
          <cx:pt idx="1088">1.0962679112941931</cx:pt>
          <cx:pt idx="1089">1.1842650856558454</cx:pt>
          <cx:pt idx="1090">1.2809562250813697</cx:pt>
          <cx:pt idx="1091">1.3294078277239803</cx:pt>
          <cx:pt idx="1092">1.3265633154452361</cx:pt>
          <cx:pt idx="1093">1.3691219184521903</cx:pt>
          <cx:pt idx="1094">1.3174995474273465</cx:pt>
          <cx:pt idx="1095">1.3346840859152405</cx:pt>
          <cx:pt idx="1096">1.3886174799948057</cx:pt>
          <cx:pt idx="1097">1.4230209487880541</cx:pt>
          <cx:pt idx="1098">1.4113088406433794</cx:pt>
          <cx:pt idx="1099">1.4155312962187419</cx:pt>
          <cx:pt idx="1100">1.3203038661045314</cx:pt>
          <cx:pt idx="1101">1.326596197516172</cx:pt>
          <cx:pt idx="1102">1.318765357812191</cx:pt>
          <cx:pt idx="1103">1.2880521246681234</cx:pt>
          <cx:pt idx="1104">1.2933099743121022</cx:pt>
          <cx:pt idx="1105">1.2984360176589453</cx:pt>
          <cx:pt idx="1106">1.2797121174108941</cx:pt>
          <cx:pt idx="1107">1.285120013180038</cx:pt>
          <cx:pt idx="1108">1.3129857612310198</cx:pt>
          <cx:pt idx="1109">1.3073710129558631</cx:pt>
          <cx:pt idx="1110">1.2719150192099913</cx:pt>
          <cx:pt idx="1111">1.1242425802780922</cx:pt>
          <cx:pt idx="1112">1.0435752538005232</cx:pt>
          <cx:pt idx="1113">0.937418808744792</cx:pt>
          <cx:pt idx="1114">0.93548690377067056</cx:pt>
          <cx:pt idx="1115">0.94046607423213746</cx:pt>
          <cx:pt idx="1116">1.0537287923446388</cx:pt>
          <cx:pt idx="1117">1.0392959597506488</cx:pt>
          <cx:pt idx="1118">1.0956929261913422</cx:pt>
          <cx:pt idx="1119">1.0897434054194459</cx:pt>
          <cx:pt idx="1120">1.0710302806498817</cx:pt>
          <cx:pt idx="1121">1.0887556959746481</cx:pt>
          <cx:pt idx="1122">1.1732646760215697</cx:pt>
          <cx:pt idx="1123">1.2215483391284956</cx:pt>
          <cx:pt idx="1124">1.2661506510934502</cx:pt>
          <cx:pt idx="1125">1.2477356041770364</cx:pt>
          <cx:pt idx="1126">1.2200810694752844</cx:pt>
          <cx:pt idx="1127">1.1896534799254994</cx:pt>
          <cx:pt idx="1128">1.1542841738597081</cx:pt>
          <cx:pt idx="1129">1.1656919902323917</cx:pt>
          <cx:pt idx="1130">1.1762047382181797</cx:pt>
          <cx:pt idx="1131">1.1797732102341563</cx:pt>
          <cx:pt idx="1132">1.1864484333747807</cx:pt>
          <cx:pt idx="1133">1.1788761451133201</cx:pt>
          <cx:pt idx="1134">1.2219930959038936</cx:pt>
          <cx:pt idx="1135">1.2279833013953192</cx:pt>
          <cx:pt idx="1136">1.2266086786643544</cx:pt>
          <cx:pt idx="1137">1.2266086786643542</cx:pt>
          <cx:pt idx="1138">1.1935680594937514</cx:pt>
          <cx:pt idx="1139">1.2104081196406256</cx:pt>
          <cx:pt idx="1140">1.2188681389838221</cx:pt>
          <cx:pt idx="1141">1.2081126631637267</cx:pt>
          <cx:pt idx="1142">1.1565178114823231</cx:pt>
          <cx:pt idx="1143">1.1277500742119497</cx:pt>
          <cx:pt idx="1144">1.1251923973412208</cx:pt>
          <cx:pt idx="1145">1.154263262068459</cx:pt>
          <cx:pt idx="1146">1.099208963222001</cx:pt>
          <cx:pt idx="1147">1.0980066055116091</cx:pt>
          <cx:pt idx="1148">1.1219954002405359</cx:pt>
          <cx:pt idx="1149">1.1442588325471075</cx:pt>
          <cx:pt idx="1150">1.1784581783673613</cx:pt>
          <cx:pt idx="1151">1.1739394333199002</cx:pt>
          <cx:pt idx="1152">1.1648308544764039</cx:pt>
          <cx:pt idx="1153">1.1143208333062022</cx:pt>
          <cx:pt idx="1154">1.109763824931429</cx:pt>
          <cx:pt idx="1155">1.1329853252034801</cx:pt>
          <cx:pt idx="1156">1.1518575203237746</cx:pt>
          <cx:pt idx="1157">1.1702794636276002</cx:pt>
          <cx:pt idx="1158">1.1854220355210412</cx:pt>
          <cx:pt idx="1159">1.1799873854770886</cx:pt>
          <cx:pt idx="1160">1.1836877889076978</cx:pt>
          <cx:pt idx="1161">1.1971930773136865</cx:pt>
          <cx:pt idx="1162">1.2484282071892421</cx:pt>
          <cx:pt idx="1163">1.2383537459062326</cx:pt>
          <cx:pt idx="1164">1.2169163969810652</cx:pt>
          <cx:pt idx="1165">1.2075736097598786</cx:pt>
          <cx:pt idx="1166">1.2194110600340362</cx:pt>
          <cx:pt idx="1167">1.2384686966749205</cx:pt>
          <cx:pt idx="1168">1.2398935808987885</cx:pt>
          <cx:pt idx="1169">1.2743456287872581</cx:pt>
          <cx:pt idx="1170">1.2835980768871942</cx:pt>
          <cx:pt idx="1171">1.3310053239614748</cx:pt>
          <cx:pt idx="1172">1.3527226270552006</cx:pt>
          <cx:pt idx="1173">1.3520103804947337</cx:pt>
          <cx:pt idx="1174">1.3449922445616673</cx:pt>
          <cx:pt idx="1175">1.3360535900188648</cx:pt>
          <cx:pt idx="1176">1.3605146085213482</cx:pt>
          <cx:pt idx="1177">1.3600794432510259</cx:pt>
          <cx:pt idx="1178">1.3365488238821235</cx:pt>
          <cx:pt idx="1179">1.3105181917983744</cx:pt>
          <cx:pt idx="1180">1.3299140063807937</cx:pt>
          <cx:pt idx="1181">1.3227931524384038</cx:pt>
          <cx:pt idx="1182">1.2839606915600115</cx:pt>
          <cx:pt idx="1183">1.2840424671603594</cx:pt>
          <cx:pt idx="1184">1.2620508760716034</cx:pt>
          <cx:pt idx="1185">1.2465330772360903</cx:pt>
          <cx:pt idx="1186">1.2578518451581711</cx:pt>
          <cx:pt idx="1187">1.2755827606668035</cx:pt>
          <cx:pt idx="1188">1.2597144814253121</cx:pt>
          <cx:pt idx="1189">1.2782587384011304</cx:pt>
          <cx:pt idx="1190">1.2630845750297799</cx:pt>
          <cx:pt idx="1191">1.2554992138038428</cx:pt>
          <cx:pt idx="1192">1.2061097336706854</cx:pt>
          <cx:pt idx="1193">1.2424127897884358</cx:pt>
          <cx:pt idx="1194">1.2284121607919745</cx:pt>
          <cx:pt idx="1195">1.22253082136828</cx:pt>
          <cx:pt idx="1196">1.2103361839426756</cx:pt>
          <cx:pt idx="1197">1.2372597177615543</cx:pt>
          <cx:pt idx="1198">1.2754805269829261</cx:pt>
          <cx:pt idx="1199">1.2197962897573291</cx:pt>
          <cx:pt idx="1200">1.2007109484006526</cx:pt>
          <cx:pt idx="1201">1.1567014139005536</cx:pt>
          <cx:pt idx="1202">1.1469467714552948</cx:pt>
          <cx:pt idx="1203">1.1649026401032578</cx:pt>
          <cx:pt idx="1204">1.1207770805864186</cx:pt>
          <cx:pt idx="1205">1.1737012876552864</cx:pt>
          <cx:pt idx="1206">1.1802359008305057</cx:pt>
          <cx:pt idx="1207">1.2001166609959213</cx:pt>
          <cx:pt idx="1208">1.2021265161868526</cx:pt>
          <cx:pt idx="1209">1.1887632905332919</cx:pt>
          <cx:pt idx="1210">1.1807819832441648</cx:pt>
          <cx:pt idx="1211">1.1615356462335813</cx:pt>
          <cx:pt idx="1212">1.1671442700568064</cx:pt>
          <cx:pt idx="1213">1.1786315852687399</cx:pt>
          <cx:pt idx="1214">1.1567276475362349</cx:pt>
          <cx:pt idx="1215">1.1424253792377146</cx:pt>
          <cx:pt idx="1216">1.1211816426708332</cx:pt>
          <cx:pt idx="1217">1.1207155452358697</cx:pt>
          <cx:pt idx="1218">1.1044851611788937</cx:pt>
          <cx:pt idx="1219">1.1363072374719052</cx:pt>
          <cx:pt idx="1220">1.146481072924761</cx:pt>
          <cx:pt idx="1221">1.1439463856900514</cx:pt>
          <cx:pt idx="1222">1.1776327316165729</cx:pt>
          <cx:pt idx="1223">1.134528156517516</cx:pt>
          <cx:pt idx="1224">1.1113479958213319</cx:pt>
          <cx:pt idx="1225">1.1224472954372875</cx:pt>
          <cx:pt idx="1226">1.1395224347551669</cx:pt>
          <cx:pt idx="1227">1.0922654407713572</cx:pt>
          <cx:pt idx="1228">1.1118195193817024</cx:pt>
          <cx:pt idx="1229">1.1244926825477555</cx:pt>
          <cx:pt idx="1230">1.1095750455057982</cx:pt>
          <cx:pt idx="1231">1.1274834147670252</cx:pt>
          <cx:pt idx="1232">1.1425951505939969</cx:pt>
          <cx:pt idx="1233">1.1342266087515309</cx:pt>
          <cx:pt idx="1234">1.2340539677835398</cx:pt>
          <cx:pt idx="1235">1.1820955481928992</cx:pt>
          <cx:pt idx="1236">1.146550298158304</cx:pt>
          <cx:pt idx="1237">1.2297578959936055</cx:pt>
          <cx:pt idx="1238">1.2231946114462997</cx:pt>
          <cx:pt idx="1239">1.2963893714076991</cx:pt>
          <cx:pt idx="1240">1.2492931334692159</cx:pt>
          <cx:pt idx="1241">1.2409942713845197</cx:pt>
          <cx:pt idx="1242">1.2767008488566396</cx:pt>
          <cx:pt idx="1243">1.3542356286595894</cx:pt>
          <cx:pt idx="1244">1.3495988761245992</cx:pt>
          <cx:pt idx="1245">1.3942278380407611</cx:pt>
          <cx:pt idx="1246">1.3993579808686154</cx:pt>
          <cx:pt idx="1247">1.3563737999008496</cx:pt>
          <cx:pt idx="1248">1.3787879484882912</cx:pt>
          <cx:pt idx="1249">1.3084868860766175</cx:pt>
          <cx:pt idx="1250">1.3446874610169055</cx:pt>
          <cx:pt idx="1251">1.3761931500363227</cx:pt>
          <cx:pt idx="1252">1.2997796453386943</cx:pt>
          <cx:pt idx="1253">1.3068004710989232</cx:pt>
          <cx:pt idx="1254">1.3227361488748355</cx:pt>
          <cx:pt idx="1255">1.2678092245622201</cx:pt>
          <cx:pt idx="1256">1.1846180819150109</cx:pt>
          <cx:pt idx="1257">1.2054341040929382</cx:pt>
          <cx:pt idx="1258">1.2110506979905706</cx:pt>
          <cx:pt idx="1259">1.1356229745077742</cx:pt>
          <cx:pt idx="1260">1.1040468922241864</cx:pt>
          <cx:pt idx="1261">0.95547328345815041</cx:pt>
          <cx:pt idx="1262">0.96132146835345411</cx:pt>
          <cx:pt idx="1263">0.93457126441800131</cx:pt>
          <cx:pt idx="1264">0.92098029981301865</cx:pt>
          <cx:pt idx="1265">0.91306261194582561</cx:pt>
          <cx:pt idx="1266">0.86945913958178533</cx:pt>
          <cx:pt idx="1267">0.84714673239462857</cx:pt>
          <cx:pt idx="1268">0.86639535983304405</cx:pt>
          <cx:pt idx="1269">0.85873496908326519</cx:pt>
          <cx:pt idx="1270">0.85453415419727663</cx:pt>
          <cx:pt idx="1271">0.85508754677148568</cx:pt>
          <cx:pt idx="1272">0.85560787022222207</cx:pt>
          <cx:pt idx="1273">0.87533120168521217</cx:pt>
          <cx:pt idx="1274">0.88017115629167009</cx:pt>
          <cx:pt idx="1275">0.89394746432076022</cx:pt>
          <cx:pt idx="1276">1.0459805936530799</cx:pt>
          <cx:pt idx="1277">1.198599565968647</cx:pt>
          <cx:pt idx="1278">1.2710969558866734</cx:pt>
          <cx:pt idx="1279">1.3352306615488685</cx:pt>
          <cx:pt idx="1280">1.3856391529070489</cx:pt>
          <cx:pt idx="1281">1.3380463112443011</cx:pt>
          <cx:pt idx="1282">1.4244650538553658</cx:pt>
          <cx:pt idx="1283">1.4603399068977603</cx:pt>
          <cx:pt idx="1284">1.4210085862861099</cx:pt>
          <cx:pt idx="1285">1.4377872926307886</cx:pt>
          <cx:pt idx="1286">1.4369083990033724</cx:pt>
          <cx:pt idx="1287">1.3976412395471007</cx:pt>
          <cx:pt idx="1288">1.394636235684795</cx:pt>
          <cx:pt idx="1289">1.4019410189767803</cx:pt>
          <cx:pt idx="1290">1.3883631725346841</cx:pt>
          <cx:pt idx="1291">1.3856598909304301</cx:pt>
          <cx:pt idx="1292">1.3496148875985268</cx:pt>
          <cx:pt idx="1293">1.3465197370624944</cx:pt>
          <cx:pt idx="1294">1.3686120160858997</cx:pt>
          <cx:pt idx="1295">1.3120127995590956</cx:pt>
          <cx:pt idx="1296">1.2697582809157109</cx:pt>
          <cx:pt idx="1297">1.2732097641191236</cx:pt>
          <cx:pt idx="1298">1.215402114055498</cx:pt>
          <cx:pt idx="1299">1.2101762482069034</cx:pt>
          <cx:pt idx="1300">1.2559158859747244</cx:pt>
          <cx:pt idx="1301">1.2726375905109859</cx:pt>
          <cx:pt idx="1302">1.2336901006200121</cx:pt>
          <cx:pt idx="1303">1.2770129028412309</cx:pt>
          <cx:pt idx="1304">1.176636009499358</cx:pt>
          <cx:pt idx="1305">1.1841246827795688</cx:pt>
          <cx:pt idx="1306">1.1712555401063782</cx:pt>
          <cx:pt idx="1307">1.1822552479326816</cx:pt>
          <cx:pt idx="1308">1.1773996772549238</cx:pt>
          <cx:pt idx="1309">1.2104029916927874</cx:pt>
          <cx:pt idx="1310">1.1908374335329939</cx:pt>
          <cx:pt idx="1311">1.2280652946061508</cx:pt>
          <cx:pt idx="1312">1.1810671192738731</cx:pt>
          <cx:pt idx="1313">1.1717937914390792</cx:pt>
          <cx:pt idx="1314">1.1645410521183721</cx:pt>
          <cx:pt idx="1315">1.2106501055882828</cx:pt>
          <cx:pt idx="1316">1.2088714695471383</cx:pt>
          <cx:pt idx="1317">1.2117103424593638</cx:pt>
          <cx:pt idx="1318">1.2005271351780644</cx:pt>
          <cx:pt idx="1319">1.212128175006125</cx:pt>
          <cx:pt idx="1320">1.2018462808357071</cx:pt>
          <cx:pt idx="1321">1.1797461737521164</cx:pt>
          <cx:pt idx="1322">1.1816180704304657</cx:pt>
          <cx:pt idx="1323">1.1850377558367589</cx:pt>
          <cx:pt idx="1324">1.216831621631481</cx:pt>
          <cx:pt idx="1325">1.2210705685312926</cx:pt>
          <cx:pt idx="1326">1.211707069793895</cx:pt>
          <cx:pt idx="1327">1.1877933273536045</cx:pt>
          <cx:pt idx="1328">1.1457194697866822</cx:pt>
          <cx:pt idx="1329">1.1630147605827426</cx:pt>
          <cx:pt idx="1330">1.146911695285042</cx:pt>
          <cx:pt idx="1331">1.1554532871780558</cx:pt>
          <cx:pt idx="1332">1.138666744057711</cx:pt>
          <cx:pt idx="1333">1.1157243922852229</cx:pt>
          <cx:pt idx="1334">1.1389369917885572</cx:pt>
          <cx:pt idx="1335">1.0981794757322412</cx:pt>
          <cx:pt idx="1336">1.1078289838559308</cx:pt>
          <cx:pt idx="1337">1.0943439224894773</cx:pt>
          <cx:pt idx="1338">1.1005614554587031</cx:pt>
          <cx:pt idx="1339">1.0705136805430768</cx:pt>
          <cx:pt idx="1340">1.1298243175404517</cx:pt>
          <cx:pt idx="1341">1.1176581119342419</cx:pt>
          <cx:pt idx="1342">1.1662753366677789</cx:pt>
          <cx:pt idx="1343">1.1931326486360936</cx:pt>
          <cx:pt idx="1344">1.2174747277227889</cx:pt>
          <cx:pt idx="1345">1.1951323208615088</cx:pt>
          <cx:pt idx="1346">1.1941151198859474</cx:pt>
          <cx:pt idx="1347">1.1876708104618001</cx:pt>
          <cx:pt idx="1348">1.1985777491217064</cx:pt>
          <cx:pt idx="1349">1.1958049758342228</cx:pt>
          <cx:pt idx="1350">1.1850590945059514</cx:pt>
          <cx:pt idx="1351">1.1974021688735115</cx:pt>
          <cx:pt idx="1352">1.2064159897107987</cx:pt>
          <cx:pt idx="1353">1.2453020221764608</cx:pt>
          <cx:pt idx="1354">1.2242898011669376</cx:pt>
          <cx:pt idx="1355">1.2319570917292815</cx:pt>
          <cx:pt idx="1356">1.2726746204962103</cx:pt>
          <cx:pt idx="1357">1.2721624272785732</cx:pt>
          <cx:pt idx="1358">1.2791378651892535</cx:pt>
          <cx:pt idx="1359">1.2627856453915278</cx:pt>
          <cx:pt idx="1360">1.2336340577763523</cx:pt>
          <cx:pt idx="1361">1.2116672279402334</cx:pt>
          <cx:pt idx="1362">1.2090689873170826</cx:pt>
          <cx:pt idx="1363">1.2095729749003143</cx:pt>
          <cx:pt idx="1364">1.1900179173769452</cx:pt>
          <cx:pt idx="1365">1.1882258096475791</cx:pt>
          <cx:pt idx="1366">1.1944640504494444</cx:pt>
          <cx:pt idx="1367">1.2104786267204919</cx:pt>
          <cx:pt idx="1368">1.2262731596463188</cx:pt>
          <cx:pt idx="1369">1.2540866988672923</cx:pt>
          <cx:pt idx="1370">1.1850224790534858</cx:pt>
          <cx:pt idx="1371">1.1794941444456644</cx:pt>
          <cx:pt idx="1372">1.1631370581715441</cx:pt>
          <cx:pt idx="1373">1.1533816347602812</cx:pt>
          <cx:pt idx="1374">1.1132684095599485</cx:pt>
          <cx:pt idx="1375">1.1052624382793725</cx:pt>
          <cx:pt idx="1376">1.1045434382117127</cx:pt>
          <cx:pt idx="1377">1.1650571492075141</cx:pt>
          <cx:pt idx="1378">1.212495716309532</cx:pt>
          <cx:pt idx="1379">1.2021898123123429</cx:pt>
          <cx:pt idx="1380">1.2453691692892079</cx:pt>
          <cx:pt idx="1381">1.243214271209083</cx:pt>
          <cx:pt idx="1382">1.2616402842714527</cx:pt>
          <cx:pt idx="1383">1.2544963270104694</cx:pt>
          <cx:pt idx="1384">1.2146027684216232</cx:pt>
          <cx:pt idx="1385">1.2283475957936152</cx:pt>
          <cx:pt idx="1386">1.2169774126862447</cx:pt>
          <cx:pt idx="1387">1.2508355368432271</cx:pt>
          <cx:pt idx="1388">1.2734787634348441</cx:pt>
          <cx:pt idx="1389">1.257380281543254</cx:pt>
          <cx:pt idx="1390">1.263420325758704</cx:pt>
          <cx:pt idx="1391">1.2647104070865798</cx:pt>
          <cx:pt idx="1392">1.2807969860755566</cx:pt>
          <cx:pt idx="1393">1.2856870787123185</cx:pt>
          <cx:pt idx="1394">1.2679370973193504</cx:pt>
          <cx:pt idx="1395">1.267025841393387</cx:pt>
          <cx:pt idx="1396">1.294092012930701</cx:pt>
          <cx:pt idx="1397">1.2564793451655247</cx:pt>
          <cx:pt idx="1398">1.2111137175268096</cx:pt>
          <cx:pt idx="1399">1.2189485293651157</cx:pt>
          <cx:pt idx="1400">1.2353929990367296</cx:pt>
          <cx:pt idx="1401">1.2323634428091466</cx:pt>
          <cx:pt idx="1402">1.2048686674269216</cx:pt>
          <cx:pt idx="1403">1.185736155257592</cx:pt>
          <cx:pt idx="1404">1.191151090139378</cx:pt>
          <cx:pt idx="1405">1.2049394986480848</cx:pt>
          <cx:pt idx="1406">1.2064644366004362</cx:pt>
          <cx:pt idx="1407">1.1949905496668594</cx:pt>
          <cx:pt idx="1408">1.1664200560374618</cx:pt>
          <cx:pt idx="1409">1.1667768749259935</cx:pt>
          <cx:pt idx="1410">1.1520817739175906</cx:pt>
          <cx:pt idx="1411">1.1757842088355863</cx:pt>
          <cx:pt idx="1412">1.1663066768083838</cx:pt>
          <cx:pt idx="1413">1.1230326348110165</cx:pt>
          <cx:pt idx="1414">1.130783931107342</cx:pt>
          <cx:pt idx="1415">1.0871204714934908</cx:pt>
          <cx:pt idx="1416">1.0911396551892136</cx:pt>
          <cx:pt idx="1417">1.0619738724409025</cx:pt>
          <cx:pt idx="1418">1.0693332867543772</cx:pt>
          <cx:pt idx="1419">1.1106591187942949</cx:pt>
          <cx:pt idx="1420">1.0971671463940382</cx:pt>
          <cx:pt idx="1421">1.1010809735640823</cx:pt>
          <cx:pt idx="1422">1.0921454157736519</cx:pt>
          <cx:pt idx="1423">1.1048782114192341</cx:pt>
          <cx:pt idx="1424">1.1054080226557634</cx:pt>
          <cx:pt idx="1425">1.1051781985610796</cx:pt>
          <cx:pt idx="1426">1.0537859496056152</cx:pt>
          <cx:pt idx="1427">1.0992204134027808</cx:pt>
          <cx:pt idx="1428">1.0842151141692797</cx:pt>
          <cx:pt idx="1429">1.1202945528107653</cx:pt>
          <cx:pt idx="1430">1.1056584349213121</cx:pt>
          <cx:pt idx="1431">1.1234481506177481</cx:pt>
          <cx:pt idx="1432">1.124566838703972</cx:pt>
          <cx:pt idx="1433">1.1339026291590451</cx:pt>
          <cx:pt idx="1434">1.1455117814231819</cx:pt>
          <cx:pt idx="1435">1.1394995876896263</cx:pt>
          <cx:pt idx="1436">1.1400928072729009</cx:pt>
          <cx:pt idx="1437">1.1282086299278515</cx:pt>
          <cx:pt idx="1438">1.1247845259804468</cx:pt>
          <cx:pt idx="1439">1.118539945283763</cx:pt>
          <cx:pt idx="1440">1.1098359100004098</cx:pt>
          <cx:pt idx="1441">1.0611889341785417</cx:pt>
          <cx:pt idx="1442">1.0622672023532511</cx:pt>
          <cx:pt idx="1443">1.0632094656351083</cx:pt>
          <cx:pt idx="1444">1.1066737986198665</cx:pt>
          <cx:pt idx="1445">1.1219947855719186</cx:pt>
          <cx:pt idx="1446">1.1294244287378798</cx:pt>
          <cx:pt idx="1447">1.1659463622054964</cx:pt>
          <cx:pt idx="1448">1.1289003906253305</cx:pt>
          <cx:pt idx="1449">1.1063256468064049</cx:pt>
          <cx:pt idx="1450">1.1129476240116174</cx:pt>
          <cx:pt idx="1451">1.1340685073267602</cx:pt>
          <cx:pt idx="1452">1.1057501224658914</cx:pt>
          <cx:pt idx="1453">1.0801140850769468</cx:pt>
          <cx:pt idx="1454">1.0903967431496047</cx:pt>
          <cx:pt idx="1455">1.0989964073864285</cx:pt>
          <cx:pt idx="1456">1.0856315498680786</cx:pt>
          <cx:pt idx="1457">1.0441022652163368</cx:pt>
          <cx:pt idx="1458">1.099915148242506</cx:pt>
          <cx:pt idx="1459">1.0575388908910759</cx:pt>
          <cx:pt idx="1460">1.0609997995818115</cx:pt>
          <cx:pt idx="1461">1.0282490417958203</cx:pt>
          <cx:pt idx="1462">1.0484191164215584</cx:pt>
          <cx:pt idx="1463">1.0157746605027813</cx:pt>
          <cx:pt idx="1464">1.0298849952534872</cx:pt>
          <cx:pt idx="1465">1.0484296412462204</cx:pt>
          <cx:pt idx="1466">1.07649815413779</cx:pt>
          <cx:pt idx="1467">1.0523043133124999</cx:pt>
          <cx:pt idx="1468">1.1017238843019515</cx:pt>
          <cx:pt idx="1469">1.1210219578068297</cx:pt>
          <cx:pt idx="1470">1.12693812617636</cx:pt>
          <cx:pt idx="1471">1.1189370982700759</cx:pt>
          <cx:pt idx="1472">1.1028062949303159</cx:pt>
          <cx:pt idx="1473">1.0920353768847495</cx:pt>
          <cx:pt idx="1474">1.0670542219792201</cx:pt>
          <cx:pt idx="1475">1.0766990849537443</cx:pt>
          <cx:pt idx="1476">1.066862464069938</cx:pt>
          <cx:pt idx="1477">1.0095833327403572</cx:pt>
          <cx:pt idx="1478">1.0612222404747085</cx:pt>
          <cx:pt idx="1479">1.0443644605389351</cx:pt>
          <cx:pt idx="1480">1.0390776192617055</cx:pt>
          <cx:pt idx="1481">1.0026212197758568</cx:pt>
          <cx:pt idx="1482">1.0528112885011263</cx:pt>
          <cx:pt idx="1483">1.0817979924883037</cx:pt>
          <cx:pt idx="1484">1.0747180330555139</cx:pt>
          <cx:pt idx="1485">1.134162762752239</cx:pt>
          <cx:pt idx="1486">1.1776222390609956</cx:pt>
          <cx:pt idx="1487">1.1778411968756526</cx:pt>
          <cx:pt idx="1488">1.1732174544398399</cx:pt>
          <cx:pt idx="1489">1.1639688347528303</cx:pt>
          <cx:pt idx="1490">1.1662258608951737</cx:pt>
          <cx:pt idx="1491">1.1776813377706776</cx:pt>
          <cx:pt idx="1492">1.2056869077584897</cx:pt>
          <cx:pt idx="1493">1.2105517408361273</cx:pt>
          <cx:pt idx="1494">1.174520738649276</cx:pt>
          <cx:pt idx="1495">1.1637999591113524</cx:pt>
          <cx:pt idx="1496">1.1288527387339442</cx:pt>
          <cx:pt idx="1497">1.1813189589431894</cx:pt>
          <cx:pt idx="1498">1.179714021453417</cx:pt>
          <cx:pt idx="1499">1.1652833013537063</cx:pt>
          <cx:pt idx="1500">1.1823549946328864</cx:pt>
          <cx:pt idx="1501">1.2039781282620265</cx:pt>
          <cx:pt idx="1502">1.2007741276972643</cx:pt>
          <cx:pt idx="1503">1.1994129311085255</cx:pt>
          <cx:pt idx="1504">1.1908349239470404</cx:pt>
          <cx:pt idx="1505">1.2079973452813944</cx:pt>
          <cx:pt idx="1506">1.2253455529514647</cx:pt>
          <cx:pt idx="1507">1.2255320683583566</cx:pt>
          <cx:pt idx="1508">1.1703296028514125</cx:pt>
          <cx:pt idx="1509">1.1493160884910503</cx:pt>
          <cx:pt idx="1510">1.1825612180698126</cx:pt>
          <cx:pt idx="1511">1.2311579448054057</cx:pt>
          <cx:pt idx="1512">1.1982830629073311</cx:pt>
          <cx:pt idx="1513">1.1723141962429029</cx:pt>
          <cx:pt idx="1514">1.2223087256048102</cx:pt>
          <cx:pt idx="1515">1.1615109066241682</cx:pt>
          <cx:pt idx="1516">1.112137891475321</cx:pt>
          <cx:pt idx="1517">1.1140350187442523</cx:pt>
          <cx:pt idx="1518">1.0754664852609497</cx:pt>
          <cx:pt idx="1519">1.077950428561899</cx:pt>
          <cx:pt idx="1520">1.0519980442270185</cx:pt>
          <cx:pt idx="1521">1.0582090704495069</cx:pt>
          <cx:pt idx="1522">1.0049941956714648</cx:pt>
          <cx:pt idx="1523">0.9915044298855954</cx:pt>
          <cx:pt idx="1524">0.99137869865048645</cx:pt>
          <cx:pt idx="1525">0.97761121012441343</cx:pt>
          <cx:pt idx="1526">0.99478779577389786</cx:pt>
          <cx:pt idx="1527">0.91546759611699569</cx:pt>
          <cx:pt idx="1528">0.94037923384572697</cx:pt>
          <cx:pt idx="1529">0.95024110673004469</cx:pt>
          <cx:pt idx="1530">0.91072416556668068</cx:pt>
          <cx:pt idx="1531">0.8920105148599371</cx:pt>
          <cx:pt idx="1532">0.97943591553693732</cx:pt>
          <cx:pt idx="1533">0.97851570682628675</cx:pt>
          <cx:pt idx="1534">0.97790745395755485</cx:pt>
          <cx:pt idx="1535">0.95705781182351479</cx:pt>
          <cx:pt idx="1536">0.95632444117130544</cx:pt>
          <cx:pt idx="1537">0.96983000050785095</cx:pt>
          <cx:pt idx="1538">0.98546919801173172</cx:pt>
          <cx:pt idx="1539">1.0491123779696794</cx:pt>
          <cx:pt idx="1540">1.014328156562462</cx:pt>
          <cx:pt idx="1541">0.95280131445521565</cx:pt>
          <cx:pt idx="1542">0.94985546389903486</cx:pt>
          <cx:pt idx="1543">0.94811949389971073</cx:pt>
          <cx:pt idx="1544">0.91618204535446168</cx:pt>
          <cx:pt idx="1545">0.94536503926856963</cx:pt>
          <cx:pt idx="1546">0.98127854669655168</cx:pt>
          <cx:pt idx="1547">1.0011301659601521</cx:pt>
          <cx:pt idx="1548">1.0029086434598302</cx:pt>
          <cx:pt idx="1549">1.0202093542194079</cx:pt>
          <cx:pt idx="1550">1.0572197870646007</cx:pt>
          <cx:pt idx="1551">1.0507328586419504</cx:pt>
          <cx:pt idx="1552">1.0533340608174411</cx:pt>
          <cx:pt idx="1553">1.0577821082367327</cx:pt>
          <cx:pt idx="1554">1.0753954632128826</cx:pt>
          <cx:pt idx="1555">1.0769676459136679</cx:pt>
          <cx:pt idx="1556">1.0943008579984261</cx:pt>
          <cx:pt idx="1557">1.0725392043312849</cx:pt>
          <cx:pt idx="1558">1.0588651483068325</cx:pt>
          <cx:pt idx="1559">1.0505453427822042</cx:pt>
          <cx:pt idx="1560">1.0385996319093795</cx:pt>
          <cx:pt idx="1561">1.0461816725378161</cx:pt>
          <cx:pt idx="1562">1.0089425441873607</cx:pt>
          <cx:pt idx="1563">1.0417681697672614</cx:pt>
          <cx:pt idx="1564">1.0416007243495544</cx:pt>
          <cx:pt idx="1565">1.0699329122807693</cx:pt>
          <cx:pt idx="1566">1.0616835470247188</cx:pt>
          <cx:pt idx="1567">1.0320022387037995</cx:pt>
          <cx:pt idx="1568">1.0376722956229716</cx:pt>
          <cx:pt idx="1569">1.0113746193620121</cx:pt>
          <cx:pt idx="1570">1.0417408617254609</cx:pt>
          <cx:pt idx="1571">1.0656412456205966</cx:pt>
          <cx:pt idx="1572">1.1100574697766317</cx:pt>
          <cx:pt idx="1573">1.1377336314322237</cx:pt>
          <cx:pt idx="1574">1.1255029016440592</cx:pt>
          <cx:pt idx="1575">1.1022559937972984</cx:pt>
          <cx:pt idx="1576">1.1236713226648225</cx:pt>
          <cx:pt idx="1577">1.1121843992481806</cx:pt>
          <cx:pt idx="1578">1.1023442105897285</cx:pt>
          <cx:pt idx="1579">1.1356440777216996</cx:pt>
          <cx:pt idx="1580">1.1401026370412919</cx:pt>
          <cx:pt idx="1581">1.1849671415008873</cx:pt>
          <cx:pt idx="1582">1.2233778375192743</cx:pt>
          <cx:pt idx="1583">1.2540474701825555</cx:pt>
          <cx:pt idx="1584">1.2309191500756624</cx:pt>
          <cx:pt idx="1585">1.2571560680004481</cx:pt>
          <cx:pt idx="1586">1.2788507771999162</cx:pt>
          <cx:pt idx="1587">1.2816433416408859</cx:pt>
          <cx:pt idx="1588">1.2656716448762215</cx:pt>
          <cx:pt idx="1589">1.3158391405024261</cx:pt>
          <cx:pt idx="1590">1.3409736126729188</cx:pt>
          <cx:pt idx="1591">1.387644328208492</cx:pt>
          <cx:pt idx="1592">1.3843283777598674</cx:pt>
          <cx:pt idx="1593">1.341759866827849</cx:pt>
          <cx:pt idx="1594">1.3416529520252853</cx:pt>
          <cx:pt idx="1595">1.370104283303442</cx:pt>
          <cx:pt idx="1596">1.4009415553046145</cx:pt>
          <cx:pt idx="1597">1.4011042033002932</cx:pt>
          <cx:pt idx="1598">1.3982020063548453</cx:pt>
          <cx:pt idx="1599">1.4038461536039151</cx:pt>
          <cx:pt idx="1600">1.4178306239325347</cx:pt>
          <cx:pt idx="1601">1.4248880173785472</cx:pt>
          <cx:pt idx="1602">1.3967906152994107</cx:pt>
          <cx:pt idx="1603">1.3625232255744801</cx:pt>
          <cx:pt idx="1604">1.3960237458046962</cx:pt>
          <cx:pt idx="1605">1.4003210223078284</cx:pt>
          <cx:pt idx="1606">1.3786848639275724</cx:pt>
          <cx:pt idx="1607">1.3917732012358055</cx:pt>
          <cx:pt idx="1608">1.4116671484209853</cx:pt>
          <cx:pt idx="1609">1.3779720231382508</cx:pt>
          <cx:pt idx="1610">1.3797710954582538</cx:pt>
          <cx:pt idx="1611">1.3773886670906967</cx:pt>
          <cx:pt idx="1612">1.3448994322099406</cx:pt>
          <cx:pt idx="1613">1.356634993558373</cx:pt>
          <cx:pt idx="1614">1.3607847634412258</cx:pt>
          <cx:pt idx="1615">1.3493591923150252</cx:pt>
          <cx:pt idx="1616">1.3220144851137503</cx:pt>
          <cx:pt idx="1617">1.314550270546206</cx:pt>
          <cx:pt idx="1618">1.3095993947435391</cx:pt>
          <cx:pt idx="1619">1.302567579379502</cx:pt>
          <cx:pt idx="1620">1.302567579379502</cx:pt>
          <cx:pt idx="1621">1.2883020992184149</cx:pt>
          <cx:pt idx="1622">1.284255855913562</cx:pt>
          <cx:pt idx="1623">1.2965703654810556</cx:pt>
          <cx:pt idx="1624">1.2855093806799283</cx:pt>
          <cx:pt idx="1625">1.2905668361695533</cx:pt>
          <cx:pt idx="1626">1.2344017118454176</cx:pt>
          <cx:pt idx="1627">1.2755740650398548</cx:pt>
          <cx:pt idx="1628">1.2785516680275746</cx:pt>
          <cx:pt idx="1629">1.2731523010265489</cx:pt>
          <cx:pt idx="1630">1.2409203573692125</cx:pt>
          <cx:pt idx="1631">1.2092064938742211</cx:pt>
          <cx:pt idx="1632">1.2189620608317255</cx:pt>
          <cx:pt idx="1633">1.2105299020173612</cx:pt>
          <cx:pt idx="1634">1.178797556054864</cx:pt>
          <cx:pt idx="1635">1.1856577785415543</cx:pt>
          <cx:pt idx="1636">1.159263539503848</cx:pt>
          <cx:pt idx="1637">1.0970868426108691</cx:pt>
          <cx:pt idx="1638">1.0700394234868607</cx:pt>
          <cx:pt idx="1639">1.0722904907494633</cx:pt>
          <cx:pt idx="1640">1.0129767786198205</cx:pt>
          <cx:pt idx="1641">1.0189097734523809</cx:pt>
          <cx:pt idx="1642">1.0349104020299948</cx:pt>
          <cx:pt idx="1643">1.0024925258413735</cx:pt>
          <cx:pt idx="1644">1.031764251786409</cx:pt>
          <cx:pt idx="1645">1.0207011901336407</cx:pt>
          <cx:pt idx="1646">1.0825143146302092</cx:pt>
          <cx:pt idx="1647">1.0896533246019549</cx:pt>
          <cx:pt idx="1648">1.0779271295183761</cx:pt>
          <cx:pt idx="1649">1.0667020827453815</cx:pt>
          <cx:pt idx="1650">1.0574272073531001</cx:pt>
          <cx:pt idx="1651">1.034497156987922</cx:pt>
          <cx:pt idx="1652">1.0588502222238279</cx:pt>
          <cx:pt idx="1653">1.0458282753919006</cx:pt>
          <cx:pt idx="1654">1.050365234781113</cx:pt>
          <cx:pt idx="1655">1.0128203480732727</cx:pt>
          <cx:pt idx="1656">1.0604438996796657</cx:pt>
          <cx:pt idx="1657">1.0308427530953479</cx:pt>
          <cx:pt idx="1658">1.0369936653948117</cx:pt>
          <cx:pt idx="1659">1.0703359124673164</cx:pt>
          <cx:pt idx="1660">1.0699032612838175</cx:pt>
          <cx:pt idx="1661">1.0485798277539078</cx:pt>
          <cx:pt idx="1662">1.0691552686610812</cx:pt>
          <cx:pt idx="1663">1.0682984644730156</cx:pt>
          <cx:pt idx="1664">1.0735379793484017</cx:pt>
          <cx:pt idx="1665">1.0407846288633213</cx:pt>
          <cx:pt idx="1666">1.0307176386259782</cx:pt>
          <cx:pt idx="1667">1.0295378385079106</cx:pt>
          <cx:pt idx="1668">1.0527531502694725</cx:pt>
          <cx:pt idx="1669">1.0546235914013251</cx:pt>
          <cx:pt idx="1670">1.03600670126089</cx:pt>
          <cx:pt idx="1671">1.0330052686494251</cx:pt>
          <cx:pt idx="1672">1.0142865110198307</cx:pt>
          <cx:pt idx="1673">1.0112641457175235</cx:pt>
          <cx:pt idx="1674">1.0228071019581808</cx:pt>
          <cx:pt idx="1675">1.0179687347004263</cx:pt>
          <cx:pt idx="1676">0.98756195789917667</cx:pt>
          <cx:pt idx="1677">0.99053828394162691</cx:pt>
          <cx:pt idx="1678">1.0230964943648326</cx:pt>
          <cx:pt idx="1679">1.0368012256981542</cx:pt>
          <cx:pt idx="1680">1.0080987567933388</cx:pt>
          <cx:pt idx="1681">1.051786930479</cx:pt>
          <cx:pt idx="1682">1.0419548934574854</cx:pt>
          <cx:pt idx="1683">1.0511569980182591</cx:pt>
          <cx:pt idx="1684">1.0486230160954209</cx:pt>
          <cx:pt idx="1685">1.092474992480561</cx:pt>
          <cx:pt idx="1686">1.0642171587225699</cx:pt>
          <cx:pt idx="1687">1.0609579276003034</cx:pt>
          <cx:pt idx="1688">1.0617985175889173</cx:pt>
          <cx:pt idx="1689">1.0897084393353207</cx:pt>
          <cx:pt idx="1690">1.1119747371644526</cx:pt>
          <cx:pt idx="1691">1.1093518870022268</cx:pt>
          <cx:pt idx="1692">1.0738616533682128</cx:pt>
          <cx:pt idx="1693">1.1179381678458054</cx:pt>
          <cx:pt idx="1694">1.1649667747223074</cx:pt>
          <cx:pt idx="1695">1.1939141173217731</cx:pt>
          <cx:pt idx="1696">1.2091806383216499</cx:pt>
          <cx:pt idx="1697">1.2138401587665821</cx:pt>
          <cx:pt idx="1698">1.1880634295540276</cx:pt>
          <cx:pt idx="1699">1.1848810018334106</cx:pt>
          <cx:pt idx="1700">1.2654990383607385</cx:pt>
          <cx:pt idx="1701">1.3582765025837944</cx:pt>
          <cx:pt idx="1702">1.3445676141293592</cx:pt>
          <cx:pt idx="1703">1.3770174749932484</cx:pt>
          <cx:pt idx="1704">1.3229947307042702</cx:pt>
          <cx:pt idx="1705">1.3887770192494553</cx:pt>
          <cx:pt idx="1706">1.3900948450235038</cx:pt>
          <cx:pt idx="1707">1.3890097771144523</cx:pt>
          <cx:pt idx="1708">1.3521566001260237</cx:pt>
          <cx:pt idx="1709">1.3678473733504075</cx:pt>
          <cx:pt idx="1710">1.4196646843857015</cx:pt>
          <cx:pt idx="1711">1.4033842920826669</cx:pt>
          <cx:pt idx="1712">1.3735091813542302</cx:pt>
          <cx:pt idx="1713">1.410020175937821</cx:pt>
          <cx:pt idx="1714">1.3938780764306551</cx:pt>
          <cx:pt idx="1715">1.3938780764306553</cx:pt>
          <cx:pt idx="1716">1.3940525971706237</cx:pt>
          <cx:pt idx="1717">1.3641015315971712</cx:pt>
          <cx:pt idx="1718">1.3685681753477656</cx:pt>
          <cx:pt idx="1719">1.3298291308440269</cx:pt>
          <cx:pt idx="1720">1.3265345050557293</cx:pt>
          <cx:pt idx="1721">1.3267114732802054</cx:pt>
          <cx:pt idx="1722">1.316257494984719</cx:pt>
          <cx:pt idx="1723">1.3137462446767636</cx:pt>
          <cx:pt idx="1724">1.2052002266042341</cx:pt>
          <cx:pt idx="1725">1.1164665629596333</cx:pt>
          <cx:pt idx="1726">0.97961105347579358</cx:pt>
          <cx:pt idx="1727">0.99046488562450941</cx:pt>
          <cx:pt idx="1728">0.91772858031470106</cx:pt>
          <cx:pt idx="1729">0.85638111883066104</cx:pt>
          <cx:pt idx="1730">0.85042680292100148</cx:pt>
          <cx:pt idx="1731">0.83868095669714371</cx:pt>
          <cx:pt idx="1732">0.83444530408963347</cx:pt>
          <cx:pt idx="1733">0.86331258573569658</cx:pt>
          <cx:pt idx="1734">0.87517282365505777</cx:pt>
          <cx:pt idx="1735">0.84134983225165272</cx:pt>
          <cx:pt idx="1736">0.85941713742044556</cx:pt>
          <cx:pt idx="1737">0.86230005178611946</cx:pt>
          <cx:pt idx="1738">0.86611432443327319</cx:pt>
          <cx:pt idx="1739">0.88811210072168001</cx:pt>
          <cx:pt idx="1740">0.87599460713188049</cx:pt>
          <cx:pt idx="1741">0.88319690987298816</cx:pt>
          <cx:pt idx="1742">0.85955775851881233</cx:pt>
          <cx:pt idx="1743">0.97337787254417296</cx:pt>
          <cx:pt idx="1744">1.0872873024922707</cx:pt>
          <cx:pt idx="1745">1.0825111291934071</cx:pt>
          <cx:pt idx="1746">1.0818500544113701</cx:pt>
          <cx:pt idx="1747">1.0743168906841194</cx:pt>
          <cx:pt idx="1748">1.1329647811835537</cx:pt>
          <cx:pt idx="1749">1.0896769530778214</cx:pt>
          <cx:pt idx="1750">1.1461692819948128</cx:pt>
          <cx:pt idx="1751">1.1327312126007651</cx:pt>
          <cx:pt idx="1752">1.1161922649856486</cx:pt>
          <cx:pt idx="1753">1.1886631145955524</cx:pt>
          <cx:pt idx="1754">1.2920524525846016</cx:pt>
          <cx:pt idx="1755">1.3010413159262566</cx:pt>
          <cx:pt idx="1756">1.2820390099324219</cx:pt>
          <cx:pt idx="1757">1.2831613259858428</cx:pt>
          <cx:pt idx="1758">1.2656091623104413</cx:pt>
          <cx:pt idx="1759">1.2693146399425213</cx:pt>
          <cx:pt idx="1760">1.2558252770337046</cx:pt>
          <cx:pt idx="1761">1.2727703515623277</cx:pt>
          <cx:pt idx="1762">1.3486997143694475</cx:pt>
          <cx:pt idx="1763">1.3483826412137008</cx:pt>
          <cx:pt idx="1764">1.3669011853732191</cx:pt>
          <cx:pt idx="1765">1.3686221362100413</cx:pt>
          <cx:pt idx="1766">1.3684830514365038</cx:pt>
          <cx:pt idx="1767">1.3167763230926772</cx:pt>
          <cx:pt idx="1768">1.3325716646317034</cx:pt>
          <cx:pt idx="1769">1.2752577382045458</cx:pt>
          <cx:pt idx="1770">1.3143888051236901</cx:pt>
          <cx:pt idx="1771">1.3170564969248484</cx:pt>
          <cx:pt idx="1772">1.3380885320262741</cx:pt>
          <cx:pt idx="1773">1.3257078352215526</cx:pt>
          <cx:pt idx="1774">1.3201356600438987</cx:pt>
          <cx:pt idx="1775">1.2901549848981211</cx:pt>
          <cx:pt idx="1776">1.270725243189164</cx:pt>
          <cx:pt idx="1777">1.2630612329419815</cx:pt>
          <cx:pt idx="1778">1.2535608591473355</cx:pt>
          <cx:pt idx="1779">1.2159063125584715</cx:pt>
          <cx:pt idx="1780">1.2067113568913543</cx:pt>
          <cx:pt idx="1781">1.2096192998521109</cx:pt>
          <cx:pt idx="1782">1.1686372848100792</cx:pt>
          <cx:pt idx="1783">1.1911889163700091</cx:pt>
          <cx:pt idx="1784">1.1512719602408374</cx:pt>
          <cx:pt idx="1785">1.1582071460250307</cx:pt>
          <cx:pt idx="1786">1.1573295162551591</cx:pt>
          <cx:pt idx="1787">1.1451732288775918</cx:pt>
          <cx:pt idx="1788">1.1431587615125847</cx:pt>
          <cx:pt idx="1789">1.1170223657193441</cx:pt>
          <cx:pt idx="1790">1.0542077703130934</cx:pt>
          <cx:pt idx="1791">1.0326680654176017</cx:pt>
          <cx:pt idx="1792">1.0411695457457946</cx:pt>
          <cx:pt idx="1793">1.0433874981349769</cx:pt>
          <cx:pt idx="1794">1.0652356061227592</cx:pt>
          <cx:pt idx="1795">1.0322579313241469</cx:pt>
          <cx:pt idx="1796">1.0506120821342362</cx:pt>
          <cx:pt idx="1797">1.0543176689814293</cx:pt>
          <cx:pt idx="1798">1.0069685929195782</cx:pt>
          <cx:pt idx="1799">0.97614330255676851</cx:pt>
          <cx:pt idx="1800">0.9714535264349945</cx:pt>
          <cx:pt idx="1801">0.96423091859150312</cx:pt>
          <cx:pt idx="1802">0.9382157803910095</cx:pt>
          <cx:pt idx="1803">0.94154458571888655</cx:pt>
          <cx:pt idx="1804">1.0050113512254237</cx:pt>
          <cx:pt idx="1805">1.0376855325038574</cx:pt>
          <cx:pt idx="1806">1.035912668843886</cx:pt>
          <cx:pt idx="1807">1.0097377035077257</cx:pt>
          <cx:pt idx="1808">1.0826152350334053</cx:pt>
          <cx:pt idx="1809">1.0826419898382462</cx:pt>
          <cx:pt idx="1810">1.0969775089637945</cx:pt>
          <cx:pt idx="1811">1.1362020319781436</cx:pt>
          <cx:pt idx="1812">1.1402914025627917</cx:pt>
          <cx:pt idx="1813">1.1377531801100682</cx:pt>
          <cx:pt idx="1814">1.1335241049716247</cx:pt>
          <cx:pt idx="1815">1.154222632362349</cx:pt>
          <cx:pt idx="1816">1.155147201646294</cx:pt>
          <cx:pt idx="1817">1.1719795612356141</cx:pt>
          <cx:pt idx="1818">1.1706701097009038</cx:pt>
          <cx:pt idx="1819">1.2228891736516776</cx:pt>
          <cx:pt idx="1820">1.2557644555473342</cx:pt>
          <cx:pt idx="1821">1.2433601118807425</cx:pt>
          <cx:pt idx="1822">1.2310059898824364</cx:pt>
          <cx:pt idx="1823">1.2483121938575037</cx:pt>
          <cx:pt idx="1824">1.23294176760253</cx:pt>
          <cx:pt idx="1825">1.2699299012240752</cx:pt>
          <cx:pt idx="1826">1.246326833022801</cx:pt>
          <cx:pt idx="1827">1.249808077220282</cx:pt>
          <cx:pt idx="1828">1.2472323843974129</cx:pt>
          <cx:pt idx="1829">1.2886552288531545</cx:pt>
          <cx:pt idx="1830">1.2976698834591109</cx:pt>
          <cx:pt idx="1831">1.3062673416326736</cx:pt>
          <cx:pt idx="1832">1.3068856109086213</cx:pt>
          <cx:pt idx="1833">1.3281637570409914</cx:pt>
          <cx:pt idx="1834">1.2678973452771798</cx:pt>
          <cx:pt idx="1835">1.2642964514865098</cx:pt>
          <cx:pt idx="1836">1.2636327853027376</cx:pt>
          <cx:pt idx="1837">1.2742893444321559</cx:pt>
          <cx:pt idx="1838">1.2111313700017432</cx:pt>
          <cx:pt idx="1839">1.2326846228092347</cx:pt>
          <cx:pt idx="1840">1.253227786580505</cx:pt>
          <cx:pt idx="1841">1.2498930528961909</cx:pt>
          <cx:pt idx="1842">1.2458974054181131</cx:pt>
          <cx:pt idx="1843">1.2222071611750547</cx:pt>
          <cx:pt idx="1844">1.2241696693311532</cx:pt>
          <cx:pt idx="1845">1.1838356227150775</cx:pt>
          <cx:pt idx="1846">1.1928253429779963</cx:pt>
          <cx:pt idx="1847">1.2254609266551997</cx:pt>
          <cx:pt idx="1848">1.2556193233052251</cx:pt>
          <cx:pt idx="1849">1.2151070621199569</cx:pt>
          <cx:pt idx="1850">1.1490300257173436</cx:pt>
          <cx:pt idx="1851">1.1918704029680676</cx:pt>
          <cx:pt idx="1852">1.1654803163572054</cx:pt>
          <cx:pt idx="1853">1.1185407159926422</cx:pt>
          <cx:pt idx="1854">1.1219001225855494</cx:pt>
          <cx:pt idx="1855">1.0978566369987923</cx:pt>
          <cx:pt idx="1856">1.1042430704426851</cx:pt>
          <cx:pt idx="1857">1.1263702255730441</cx:pt>
          <cx:pt idx="1858">1.1793011762767878</cx:pt>
          <cx:pt idx="1859">1.1561432119061985</cx:pt>
          <cx:pt idx="1860">1.1346363030636222</cx:pt>
          <cx:pt idx="1861">1.1162828813810446</cx:pt>
          <cx:pt idx="1862">1.1112300836688025</cx:pt>
          <cx:pt idx="1863">1.1176977569370301</cx:pt>
          <cx:pt idx="1864">1.1716070601734501</cx:pt>
          <cx:pt idx="1865">1.1463830677094953</cx:pt>
          <cx:pt idx="1866">1.133050809951184</cx:pt>
          <cx:pt idx="1867">1.1160995815168415</cx:pt>
          <cx:pt idx="1868">1.1455037540639978</cx:pt>
          <cx:pt idx="1869">1.1470065487993109</cx:pt>
          <cx:pt idx="1870">1.1450407310930337</cx:pt>
          <cx:pt idx="1871">1.100647719435629</cx:pt>
          <cx:pt idx="1872">1.1028174993087521</cx:pt>
          <cx:pt idx="1873">1.0861214872460039</cx:pt>
          <cx:pt idx="1874">1.1213382809080787</cx:pt>
          <cx:pt idx="1875">1.1184852235958682</cx:pt>
          <cx:pt idx="1876">1.1336741711959313</cx:pt>
          <cx:pt idx="1877">1.1199591536065618</cx:pt>
          <cx:pt idx="1878">1.1037301435971827</cx:pt>
          <cx:pt idx="1879">1.0464565826207719</cx:pt>
          <cx:pt idx="1880">1.0441077145296023</cx:pt>
          <cx:pt idx="1881">1.0529449123794399</cx:pt>
          <cx:pt idx="1882">1.0795156960095733</cx:pt>
          <cx:pt idx="1883">1.0897685085828319</cx:pt>
          <cx:pt idx="1884">1.0805729110485571</cx:pt>
          <cx:pt idx="1885">1.0989033195632476</cx:pt>
          <cx:pt idx="1886">1.0770679654965372</cx:pt>
          <cx:pt idx="1887">1.0799830245579474</cx:pt>
          <cx:pt idx="1888">1.0563916571676115</cx:pt>
          <cx:pt idx="1889">1.0565844451132012</cx:pt>
          <cx:pt idx="1890">1.0568650236245489</cx:pt>
          <cx:pt idx="1891">1.1317843200568012</cx:pt>
          <cx:pt idx="1892">1.2173230476331456</cx:pt>
          <cx:pt idx="1893">1.2743997460152279</cx:pt>
          <cx:pt idx="1894">1.2790140329768567</cx:pt>
          <cx:pt idx="1895">1.3086942250627698</cx:pt>
          <cx:pt idx="1896">1.3079063290301951</cx:pt>
          <cx:pt idx="1897">1.3591647621148482</cx:pt>
          <cx:pt idx="1898">1.3055514094659848</cx:pt>
          <cx:pt idx="1899">1.2998447741102044</cx:pt>
          <cx:pt idx="1900">1.2903026464904379</cx:pt>
          <cx:pt idx="1901">1.3227455337767862</cx:pt>
          <cx:pt idx="1902">1.3484951595768881</cx:pt>
          <cx:pt idx="1903">1.3817631997668351</cx:pt>
          <cx:pt idx="1904">1.3751975406690005</cx:pt>
          <cx:pt idx="1905">1.3747762200345233</cx:pt>
          <cx:pt idx="1906">1.3328051827526828</cx:pt>
          <cx:pt idx="1907">1.3322070961852872</cx:pt>
          <cx:pt idx="1908">1.3614910690248692</cx:pt>
          <cx:pt idx="1909">1.410611223189616</cx:pt>
          <cx:pt idx="1910">1.4078295433000769</cx:pt>
          <cx:pt idx="1911">1.346406925559803</cx:pt>
          <cx:pt idx="1912">1.2882905005444625</cx:pt>
          <cx:pt idx="1913">1.2303426305325462</cx:pt>
          <cx:pt idx="1914">1.182699814227901</cx:pt>
          <cx:pt idx="1915">1.1096121824323566</cx:pt>
          <cx:pt idx="1916">1.0701839996483999</cx:pt>
          <cx:pt idx="1917">0.86763524567656236</cx:pt>
          <cx:pt idx="1918">0.87324635435958042</cx:pt>
          <cx:pt idx="1919">0.84851465894042233</cx:pt>
          <cx:pt idx="1920">0.8410327531993167</cx:pt>
          <cx:pt idx="1921">0.82992348352468415</cx:pt>
          <cx:pt idx="1922">0.84290521139823227</cx:pt>
          <cx:pt idx="1923">0.84002250927695599</cx:pt>
          <cx:pt idx="1924">0.90098853756725783</cx:pt>
          <cx:pt idx="1925">0.92127104851264385</cx:pt>
          <cx:pt idx="1926">0.92221223278530107</cx:pt>
          <cx:pt idx="1927">0.92151274930216598</cx:pt>
          <cx:pt idx="1928">0.91968266641083962</cx:pt>
          <cx:pt idx="1929">0.90450272106489138</cx:pt>
          <cx:pt idx="1930">0.92443266229965981</cx:pt>
          <cx:pt idx="1931">1.0774382132856972</cx:pt>
          <cx:pt idx="1932">1.109171586904119</cx:pt>
          <cx:pt idx="1933">1.1554605988099718</cx:pt>
          <cx:pt idx="1934">1.1552610791156863</cx:pt>
          <cx:pt idx="1935">1.3044563759595833</cx:pt>
          <cx:pt idx="1936">1.301838178760387</cx:pt>
          <cx:pt idx="1937">1.3275701163377789</cx:pt>
          <cx:pt idx="1938">1.3589052388874887</cx:pt>
          <cx:pt idx="1939">1.3823087467220803</cx:pt>
          <cx:pt idx="1940">1.3907390328423461</cx:pt>
          <cx:pt idx="1941">1.3927439632346057</cx:pt>
          <cx:pt idx="1942">1.3499505738078481</cx:pt>
          <cx:pt idx="1943">1.3327867701596696</cx:pt>
          <cx:pt idx="1944">1.4083545873387715</cx:pt>
          <cx:pt idx="1945">1.3398600029802392</cx:pt>
          <cx:pt idx="1946">1.2857584192388858</cx:pt>
          <cx:pt idx="1947">1.2001852826308441</cx:pt>
          <cx:pt idx="1948">1.2525668358059461</cx:pt>
          <cx:pt idx="1949">1.3013355208903792</cx:pt>
          <cx:pt idx="1950">1.3345378897994411</cx:pt>
          <cx:pt idx="1951">1.3061118925505846</cx:pt>
          <cx:pt idx="1952">1.3033969764277191</cx:pt>
          <cx:pt idx="1953">1.2451531780393965</cx:pt>
          <cx:pt idx="1954">1.2814047607682515</cx:pt>
          <cx:pt idx="1955">1.2974938265306148</cx:pt>
          <cx:pt idx="1956">1.3129380932784336</cx:pt>
          <cx:pt idx="1957">1.3043880407760335</cx:pt>
          <cx:pt idx="1958">1.3314999320185925</cx:pt>
          <cx:pt idx="1959">1.3261505956334105</cx:pt>
          <cx:pt idx="1960">1.2220388089478629</cx:pt>
          <cx:pt idx="1961">1.2233917897649822</cx:pt>
          <cx:pt idx="1962">1.2457230278312126</cx:pt>
          <cx:pt idx="1963">1.2650364585178204</cx:pt>
          <cx:pt idx="1964">1.2389225945967315</cx:pt>
          <cx:pt idx="1965">1.1933727438428969</cx:pt>
          <cx:pt idx="1966">1.2078298673678114</cx:pt>
          <cx:pt idx="1967">1.2420482249508054</cx:pt>
          <cx:pt idx="1968">1.2585541786866601</cx:pt>
          <cx:pt idx="1969">1.2772220214019256</cx:pt>
          <cx:pt idx="1970">1.2731030061891357</cx:pt>
          <cx:pt idx="1971">1.2736099476882918</cx:pt>
          <cx:pt idx="1972">1.3034270037186537</cx:pt>
          <cx:pt idx="1973">1.2732525099221237</cx:pt>
          <cx:pt idx="1974">1.2714840636586564</cx:pt>
          <cx:pt idx="1975">1.2668396736054206</cx:pt>
          <cx:pt idx="1976">1.2764577422759011</cx:pt>
          <cx:pt idx="1977">1.2795645811139735</cx:pt>
          <cx:pt idx="1978">1.2564470981083231</cx:pt>
          <cx:pt idx="1979">1.2292545633875818</cx:pt>
          <cx:pt idx="1980">1.2083605308076688</cx:pt>
          <cx:pt idx="1981">1.1533033017151757</cx:pt>
          <cx:pt idx="1982">1.1508398232814911</cx:pt>
          <cx:pt idx="1983">1.1288904633138324</cx:pt>
          <cx:pt idx="1984">1.1056648283470347</cx:pt>
          <cx:pt idx="1985">1.1415509212238961</cx:pt>
          <cx:pt idx="1986">1.1210481548609947</cx:pt>
          <cx:pt idx="1987">1.1295791098976826</cx:pt>
          <cx:pt idx="1988">1.0645242853138617</cx:pt>
          <cx:pt idx="1989">1.1034096060034506</cx:pt>
          <cx:pt idx="1990">1.1185257641455879</cx:pt>
          <cx:pt idx="1991">1.0784962391826105</cx:pt>
          <cx:pt idx="1992">1.0902304406835754</cx:pt>
          <cx:pt idx="1993">1.1001822732996376</cx:pt>
          <cx:pt idx="1994">1.1443154857968509</cx:pt>
          <cx:pt idx="1995">1.1425945470071939</cx:pt>
          <cx:pt idx="1996">1.1037316015571279</cx:pt>
          <cx:pt idx="1997">1.1008928455900078</cx:pt>
          <cx:pt idx="1998">1.0895134419684251</cx:pt>
          <cx:pt idx="1999">1.0427659946221057</cx:pt>
          <cx:pt idx="2000">1.0429986059214187</cx:pt>
          <cx:pt idx="2001">1.046343386636825</cx:pt>
          <cx:pt idx="2002">1.0453828974585582</cx:pt>
          <cx:pt idx="2003">1.0447982261342776</cx:pt>
          <cx:pt idx="2004">1.0849749189325268</cx:pt>
          <cx:pt idx="2005">1.0988072948722025</cx:pt>
          <cx:pt idx="2006">1.0873388373117352</cx:pt>
          <cx:pt idx="2007">1.0794733177240465</cx:pt>
          <cx:pt idx="2008">1.101544631284926</cx:pt>
          <cx:pt idx="2009">1.1098609729647873</cx:pt>
          <cx:pt idx="2010">1.0976171159987134</cx:pt>
          <cx:pt idx="2011">1.0976832970805628</cx:pt>
          <cx:pt idx="2012">1.1285502855993779</cx:pt>
          <cx:pt idx="2013">1.1270172208497764</cx:pt>
          <cx:pt idx="2014">1.1305338480599312</cx:pt>
          <cx:pt idx="2015">1.0731824517353254</cx:pt>
          <cx:pt idx="2016">1.0304432703129918</cx:pt>
          <cx:pt idx="2017">1.0790287245971479</cx:pt>
          <cx:pt idx="2018">1.0973167377692303</cx:pt>
          <cx:pt idx="2019">1.0288550158686893</cx:pt>
          <cx:pt idx="2020">0.99625990238664563</cx:pt>
          <cx:pt idx="2021">1.0135104011964224</cx:pt>
          <cx:pt idx="2022">1.0343224780046827</cx:pt>
          <cx:pt idx="2023">1.0322305387157806</cx:pt>
          <cx:pt idx="2024">1.0327114739876508</cx:pt>
          <cx:pt idx="2025">1.0683869030986122</cx:pt>
          <cx:pt idx="2026">1.071106689471168</cx:pt>
          <cx:pt idx="2027">1.0362855861643325</cx:pt>
          <cx:pt idx="2028">1.027175347933496</cx:pt>
          <cx:pt idx="2029">1.048643129855483</cx:pt>
          <cx:pt idx="2030">1.0524915703924314</cx:pt>
          <cx:pt idx="2031">1.0987451567766886</cx:pt>
          <cx:pt idx="2032">1.0986060132794617</cx:pt>
          <cx:pt idx="2033">1.0856186328964486</cx:pt>
          <cx:pt idx="2034">1.0220322328857694</cx:pt>
          <cx:pt idx="2035">1.0277083087219314</cx:pt>
          <cx:pt idx="2036">1.0260217223395633</cx:pt>
          <cx:pt idx="2037">1.073589157061918</cx:pt>
          <cx:pt idx="2038">1.1191144384899971</cx:pt>
          <cx:pt idx="2039">1.1365007800210722</cx:pt>
          <cx:pt idx="2040">1.1447750368773211</cx:pt>
          <cx:pt idx="2041">1.1624134623580651</cx:pt>
          <cx:pt idx="2042">1.1223149823201282</cx:pt>
          <cx:pt idx="2043">1.1329203439550048</cx:pt>
          <cx:pt idx="2044">1.1379639511087285</cx:pt>
          <cx:pt idx="2045">1.157093266589261</cx:pt>
          <cx:pt idx="2046">1.1928831585218469</cx:pt>
          <cx:pt idx="2047">1.1722845364853869</cx:pt>
          <cx:pt idx="2048">1.1761859263455474</cx:pt>
          <cx:pt idx="2049">1.2244033968267649</cx:pt>
          <cx:pt idx="2050">1.236941723601483</cx:pt>
          <cx:pt idx="2051">1.2310459061255623</cx:pt>
          <cx:pt idx="2052">1.2522496996784744</cx:pt>
          <cx:pt idx="2053">1.2663703222610081</cx:pt>
          <cx:pt idx="2054">1.2660682645792498</cx:pt>
          <cx:pt idx="2055">1.2848457575482186</cx:pt>
          <cx:pt idx="2056">1.2947904459218778</cx:pt>
          <cx:pt idx="2057">1.2860865078785049</cx:pt>
          <cx:pt idx="2058">1.2997860566660382</cx:pt>
          <cx:pt idx="2059">1.2329883332315268</cx:pt>
          <cx:pt idx="2060">1.2517930128924821</cx:pt>
          <cx:pt idx="2061">1.2269663551954513</cx:pt>
          <cx:pt idx="2062">1.240963844907585</cx:pt>
          <cx:pt idx="2063">1.2611071581621514</cx:pt>
          <cx:pt idx="2064">1.2625211503861686</cx:pt>
          <cx:pt idx="2065">1.2862119826715257</cx:pt>
          <cx:pt idx="2066">1.2724153879689724</cx:pt>
          <cx:pt idx="2067">1.2068779900050464</cx:pt>
          <cx:pt idx="2068">1.1823940743789429</cx:pt>
          <cx:pt idx="2069">1.1905596578292814</cx:pt>
          <cx:pt idx="2070">1.2214077049082326</cx:pt>
          <cx:pt idx="2071">1.1985148376603243</cx:pt>
          <cx:pt idx="2072">1.2703280868641227</cx:pt>
          <cx:pt idx="2073">1.2725736886732526</cx:pt>
          <cx:pt idx="2074">1.2630927651337938</cx:pt>
          <cx:pt idx="2075">1.2044672118276263</cx:pt>
          <cx:pt idx="2076">1.1443989036060427</cx:pt>
          <cx:pt idx="2077">1.1347461612954293</cx:pt>
          <cx:pt idx="2078">1.0931344786922363</cx:pt>
          <cx:pt idx="2079">1.0964202986375104</cx:pt>
          <cx:pt idx="2080">1.1057122321064758</cx:pt>
          <cx:pt idx="2081">1.1103628898366682</cx:pt>
          <cx:pt idx="2082">1.0993695162834618</cx:pt>
          <cx:pt idx="2083">1.1356351202903079</cx:pt>
          <cx:pt idx="2084">1.177398505765703</cx:pt>
          <cx:pt idx="2085">1.1519630421913338</cx:pt>
          <cx:pt idx="2086">1.1916095557410296</cx:pt>
          <cx:pt idx="2087">1.195513115442655</cx:pt>
          <cx:pt idx="2088">1.1804546172760206</cx:pt>
          <cx:pt idx="2089">1.1900057471125589</cx:pt>
          <cx:pt idx="2090">1.1878943507339983</cx:pt>
          <cx:pt idx="2091">1.2242693809947955</cx:pt>
          <cx:pt idx="2092">1.1964789818559243</cx:pt>
          <cx:pt idx="2093">1.1863032990097346</cx:pt>
          <cx:pt idx="2094">1.1847667698119215</cx:pt>
          <cx:pt idx="2095">1.1516299792882272</cx:pt>
          <cx:pt idx="2096">1.1445658214101231</cx:pt>
          <cx:pt idx="2097">1.1595924769692492</cx:pt>
          <cx:pt idx="2098">1.1607417366969903</cx:pt>
          <cx:pt idx="2099">1.2210805936104114</cx:pt>
          <cx:pt idx="2100">1.1897253619140891</cx:pt>
          <cx:pt idx="2101">1.1804667399541302</cx:pt>
          <cx:pt idx="2102">1.1181915304859789</cx:pt>
          <cx:pt idx="2103">1.132815077583275</cx:pt>
          <cx:pt idx="2104">1.1343499834960427</cx:pt>
          <cx:pt idx="2105">1.1081033293451239</cx:pt>
          <cx:pt idx="2106">1.1259744694028933</cx:pt>
          <cx:pt idx="2107">1.1312580729374742</cx:pt>
          <cx:pt idx="2108">1.136132833823561</cx:pt>
          <cx:pt idx="2109">1.0862262523362103</cx:pt>
          <cx:pt idx="2110">1.0774834452151201</cx:pt>
          <cx:pt idx="2111">1.0189539373478973</cx:pt>
          <cx:pt idx="2112">1.0249499006539664</cx:pt>
          <cx:pt idx="2113">1.0038769100715055</cx:pt>
          <cx:pt idx="2114">1.013800406573117</cx:pt>
          <cx:pt idx="2115">1.0425455694442411</cx:pt>
          <cx:pt idx="2116">1.0697300121294977</cx:pt>
          <cx:pt idx="2117">1.07511966722341</cx:pt>
          <cx:pt idx="2118">1.0942228649415626</cx:pt>
          <cx:pt idx="2119">1.094731374177792</cx:pt>
          <cx:pt idx="2120">1.0733691719582532</cx:pt>
          <cx:pt idx="2121">1.0167618760770289</cx:pt>
          <cx:pt idx="2122">1.0016595998756213</cx:pt>
          <cx:pt idx="2123">0.99564892487723655</cx:pt>
          <cx:pt idx="2124">1.0355877336194117</cx:pt>
          <cx:pt idx="2125">1.0436637499638026</cx:pt>
          <cx:pt idx="2126">1.047778218614178</cx:pt>
          <cx:pt idx="2127">1.0609839285077438</cx:pt>
          <cx:pt idx="2128">1.0571682518140995</cx:pt>
          <cx:pt idx="2129">1.0038803450244642</cx:pt>
          <cx:pt idx="2130">1.0276633466378908</cx:pt>
          <cx:pt idx="2131">1.0276144117860289</cx:pt>
          <cx:pt idx="2132">1.0363235748182797</cx:pt>
          <cx:pt idx="2133">1.0339843703658775</cx:pt>
          <cx:pt idx="2134">1.0277776493735038</cx:pt>
          <cx:pt idx="2135">1.0277525978069095</cx:pt>
          <cx:pt idx="2136">1.0036127842398461</cx:pt>
          <cx:pt idx="2137">1.0503479992555946</cx:pt>
          <cx:pt idx="2138">1.0379261484591153</cx:pt>
          <cx:pt idx="2139">1.0391970817475598</cx:pt>
          <cx:pt idx="2140">1.0533615593482824</cx:pt>
          <cx:pt idx="2141">1.0922911173572143</cx:pt>
          <cx:pt idx="2142">1.087134586514201</cx:pt>
          <cx:pt idx="2143">1.1062516186104143</cx:pt>
          <cx:pt idx="2144">1.1057395195331818</cx:pt>
          <cx:pt idx="2145">1.0846340025742465</cx:pt>
          <cx:pt idx="2146">1.0221644827937713</cx:pt>
          <cx:pt idx="2147">1.0500533648179589</cx:pt>
          <cx:pt idx="2148">1.0690413043212255</cx:pt>
          <cx:pt idx="2149">1.064643321633518</cx:pt>
          <cx:pt idx="2150">1.1169180194038262</cx:pt>
          <cx:pt idx="2151">1.1157557615984917</cx:pt>
          <cx:pt idx="2152">1.1157557615984917</cx:pt>
          <cx:pt idx="2153">1.1369448879171407</cx:pt>
          <cx:pt idx="2154">1.1411321762522346</cx:pt>
          <cx:pt idx="2155">1.1530222156945016</cx:pt>
          <cx:pt idx="2156">1.189365956848583</cx:pt>
          <cx:pt idx="2157">1.151276952209874</cx:pt>
          <cx:pt idx="2158">1.1507583206927849</cx:pt>
          <cx:pt idx="2159">1.1311877594486415</cx:pt>
          <cx:pt idx="2160">1.1257276063409662</cx:pt>
          <cx:pt idx="2161">1.1294268712365867</cx:pt>
          <cx:pt idx="2162">1.1367239173905936</cx:pt>
          <cx:pt idx="2163">1.1569597495457511</cx:pt>
          <cx:pt idx="2164">1.195438696948079</cx:pt>
          <cx:pt idx="2165">1.1966956901036472</cx:pt>
          <cx:pt idx="2166">1.2063386707329531</cx:pt>
          <cx:pt idx="2167">1.1873078307909337</cx:pt>
          <cx:pt idx="2168">1.2075593319708502</cx:pt>
          <cx:pt idx="2169">1.1999109162335979</cx:pt>
          <cx:pt idx="2170">1.1792964978685632</cx:pt>
          <cx:pt idx="2171">1.1751645030358102</cx:pt>
          <cx:pt idx="2172">1.145104572848533</cx:pt>
          <cx:pt idx="2173">1.1407486954657877</cx:pt>
          <cx:pt idx="2174">1.1242409955574268</cx:pt>
          <cx:pt idx="2175">1.1359005238135951</cx:pt>
          <cx:pt idx="2176">1.1715328400869944</cx:pt>
          <cx:pt idx="2177">1.1768020663851151</cx:pt>
          <cx:pt idx="2178">1.1629176545501267</cx:pt>
          <cx:pt idx="2179">1.1506817569367853</cx:pt>
          <cx:pt idx="2180">1.1161551925216777</cx:pt>
          <cx:pt idx="2181">1.1187362019954361</cx:pt>
          <cx:pt idx="2182">1.1684080927759655</cx:pt>
          <cx:pt idx="2183">1.2039759802087171</cx:pt>
          <cx:pt idx="2184">1.1977951007782077</cx:pt>
          <cx:pt idx="2185">1.1993847081570284</cx:pt>
          <cx:pt idx="2186">1.1971647060172355</cx:pt>
          <cx:pt idx="2187">1.1970456448532234</cx:pt>
          <cx:pt idx="2188">1.1972024862584645</cx:pt>
          <cx:pt idx="2189">1.2189111402461188</cx:pt>
          <cx:pt idx="2190">1.2473254144990285</cx:pt>
          <cx:pt idx="2191">1.2701716781419838</cx:pt>
          <cx:pt idx="2192">1.2575957722721485</cx:pt>
          <cx:pt idx="2193">1.2535047418861385</cx:pt>
          <cx:pt idx="2194">1.237361858073899</cx:pt>
          <cx:pt idx="2195">1.2654117043907867</cx:pt>
          <cx:pt idx="2196">1.2702151143729983</cx:pt>
          <cx:pt idx="2197">1.2467853376427391</cx:pt>
          <cx:pt idx="2198">1.2208796527245354</cx:pt>
          <cx:pt idx="2199">1.2209184878700907</cx:pt>
          <cx:pt idx="2200">1.2217161474039648</cx:pt>
          <cx:pt idx="2201">1.2098627261354713</cx:pt>
          <cx:pt idx="2202">1.2304637010250359</cx:pt>
          <cx:pt idx="2203">1.2451238224904915</cx:pt>
          <cx:pt idx="2204">1.2519775621359808</cx:pt>
          <cx:pt idx="2205">1.305760402939627</cx:pt>
          <cx:pt idx="2206">1.2880503399172405</cx:pt>
          <cx:pt idx="2207">1.2741201155956674</cx:pt>
          <cx:pt idx="2208">1.242452200796621</cx:pt>
          <cx:pt idx="2209">1.2459416879032388</cx:pt>
          <cx:pt idx="2210">1.251670148609265</cx:pt>
          <cx:pt idx="2211">1.2799874280991799</cx:pt>
          <cx:pt idx="2212">1.2647678902043462</cx:pt>
          <cx:pt idx="2213">1.2178032323177983</cx:pt>
          <cx:pt idx="2214">1.2107754236177661</cx:pt>
          <cx:pt idx="2215">1.201553400691223</cx:pt>
          <cx:pt idx="2216">1.2035755638642027</cx:pt>
          <cx:pt idx="2217">1.2027604743342242</cx:pt>
          <cx:pt idx="2218">1.2654852778700136</cx:pt>
          <cx:pt idx="2219">1.2585450914156533</cx:pt>
          <cx:pt idx="2220">1.1892563116135406</cx:pt>
          <cx:pt idx="2221">1.1902294282843209</cx:pt>
          <cx:pt idx="2222">1.1907538421704449</cx:pt>
          <cx:pt idx="2223">1.1728217765458777</cx:pt>
          <cx:pt idx="2224">1.6486547982152484</cx:pt>
          <cx:pt idx="2225">1.7877444853299329</cx:pt>
          <cx:pt idx="2226">1.9949102189344752</cx:pt>
          <cx:pt idx="2227">2.1279129054858736</cx:pt>
          <cx:pt idx="2228">2.1150951719028854</cx:pt>
          <cx:pt idx="2229">2.1802165873637627</cx:pt>
          <cx:pt idx="2230">2.1788283522356107</cx:pt>
          <cx:pt idx="2231">2.2122442965428131</cx:pt>
          <cx:pt idx="2232">2.1576845028393525</cx:pt>
          <cx:pt idx="2233">2.2223013855631426</cx:pt>
          <cx:pt idx="2234">2.2612981979893507</cx:pt>
          <cx:pt idx="2235">2.3878651312537471</cx:pt>
          <cx:pt idx="2236">2.4708968077365676</cx:pt>
          <cx:pt idx="2237">2.5335361004757355</cx:pt>
          <cx:pt idx="2238">2.6615696043163504</cx:pt>
          <cx:pt idx="2239">2.6505854699166629</cx:pt>
          <cx:pt idx="2240">2.7509894562694619</cx:pt>
          <cx:pt idx="2241">2.9327199136559265</cx:pt>
          <cx:pt idx="2242">2.9069105336378547</cx:pt>
          <cx:pt idx="2243">2.9295115319950451</cx:pt>
          <cx:pt idx="2244">2.929800197181081</cx:pt>
          <cx:pt idx="2245">3.0157345991339817</cx:pt>
          <cx:pt idx="2246">3.0270504592356273</cx:pt>
          <cx:pt idx="2247">3.1397594168028706</cx:pt>
          <cx:pt idx="2248">3.1899306553915707</cx:pt>
          <cx:pt idx="2249">3.2599138977417268</cx:pt>
          <cx:pt idx="2250">3.2533629638748653</cx:pt>
          <cx:pt idx="2251">3.2960073373425751</cx:pt>
          <cx:pt idx="2252">3.2780239351689047</cx:pt>
          <cx:pt idx="2253">21.52995898261544</cx:pt>
          <cx:pt idx="2254">21.528354414425255</cx:pt>
          <cx:pt idx="2255">21.443528137074761</cx:pt>
          <cx:pt idx="2256">21.305426660182462</cx:pt>
          <cx:pt idx="2257">21.038157137618455</cx:pt>
          <cx:pt idx="2258">20.671367584562269</cx:pt>
          <cx:pt idx="2259">20.221359564670177</cx:pt>
          <cx:pt idx="2260">19.629015281453626</cx:pt>
          <cx:pt idx="2261">18.93312307941375</cx:pt>
          <cx:pt idx="2262">18.115783998631059</cx:pt>
          <cx:pt idx="2263">17.15104495325301</cx:pt>
          <cx:pt idx="2264">15.959624862355829</cx:pt>
          <cx:pt idx="2265">14.545972543676116</cx:pt>
          <cx:pt idx="2266">12.829736601519464</cx:pt>
          <cx:pt idx="2267">10.680124175953836</cx:pt>
          <cx:pt idx="2268">7.7304349181006113</cx:pt>
          <cx:pt idx="2269">1.1142826154645131</cx:pt>
          <cx:pt idx="2270">1.1053540026907067</cx:pt>
          <cx:pt idx="2271">1.1107118976315278</cx:pt>
          <cx:pt idx="2272">1.1264606864693143</cx:pt>
          <cx:pt idx="2273">1.1381992735048183</cx:pt>
          <cx:pt idx="2274">1.135744021669769</cx:pt>
          <cx:pt idx="2275">1.1323871642045276</cx:pt>
          <cx:pt idx="2276">1.1073967090723937</cx:pt>
          <cx:pt idx="2277">1.1064658971740591</cx:pt>
          <cx:pt idx="2278">1.1434261883811572</cx:pt>
          <cx:pt idx="2279">1.1688525171708157</cx:pt>
          <cx:pt idx="2280">1.1876395985701866</cx:pt>
          <cx:pt idx="2281">1.173613145841488</cx:pt>
          <cx:pt idx="2282">1.1345627544028407</cx:pt>
          <cx:pt idx="2283">1.0821107513378281</cx:pt>
          <cx:pt idx="2284">1.0703616318742488</cx:pt>
          <cx:pt idx="2285">1.1198389149347765</cx:pt>
          <cx:pt idx="2286">1.1336128796549283</cx:pt>
          <cx:pt idx="2287">1.1745974610062369</cx:pt>
          <cx:pt idx="2288">1.2161065156766755</cx:pt>
          <cx:pt idx="2289">1.2596899819299638</cx:pt>
          <cx:pt idx="2290">1.2383901767557173</cx:pt>
          <cx:pt idx="2291">1.2761470386941371</cx:pt>
          <cx:pt idx="2292">1.2864439090121582</cx:pt>
          <cx:pt idx="2293">1.3058633907887527</cx:pt>
          <cx:pt idx="2294">1.2785730192356011</cx:pt>
          <cx:pt idx="2295">1.2755920869987365</cx:pt>
          <cx:pt idx="2296">1.2256100521780977</cx:pt>
          <cx:pt idx="2297">1.2664680273768523</cx:pt>
          <cx:pt idx="2298">1.2601286195984258</cx:pt>
          <cx:pt idx="2299">1.256858700532183</cx:pt>
          <cx:pt idx="2300">1.2669374786123597</cx:pt>
          <cx:pt idx="2301">1.2704648438820454</cx:pt>
          <cx:pt idx="2302">1.2653633343099882</cx:pt>
          <cx:pt idx="2303">1.2556863306254233</cx:pt>
          <cx:pt idx="2304">1.2544825832685511</cx:pt>
          <cx:pt idx="2305">1.240886038651229</cx:pt>
          <cx:pt idx="2306">1.2279653295491337</cx:pt>
          <cx:pt idx="2307">1.2698368073265867</cx:pt>
          <cx:pt idx="2308">1.2299696753574252</cx:pt>
          <cx:pt idx="2309">1.1933821347499003</cx:pt>
          <cx:pt idx="2310">1.1837227463514775</cx:pt>
          <cx:pt idx="2311">1.2038264662813902</cx:pt>
          <cx:pt idx="2312">1.1983141414542327</cx:pt>
          <cx:pt idx="2313">1.2002607475332032</cx:pt>
          <cx:pt idx="2314">1.2247131496193604</cx:pt>
          <cx:pt idx="2315">1.1817058097046211</cx:pt>
          <cx:pt idx="2316">1.1881191549826899</cx:pt>
          <cx:pt idx="2317">1.1365600954523747</cx:pt>
          <cx:pt idx="2318">1.1580795140747195</cx:pt>
          <cx:pt idx="2319">1.1614792391551836</cx:pt>
          <cx:pt idx="2320">1.1841724400677844</cx:pt>
          <cx:pt idx="2321">1.1719219404391901</cx:pt>
          <cx:pt idx="2322">1.1742692029170905</cx:pt>
          <cx:pt idx="2323">1.1516595222427559</cx:pt>
          <cx:pt idx="2324">1.1739274880189303</cx:pt>
          <cx:pt idx="2325">1.1950118548923829</cx:pt>
          <cx:pt idx="2326">1.1999279671866898</cx:pt>
          <cx:pt idx="2327">1.1946134372121453</cx:pt>
          <cx:pt idx="2328">1.235895552258343</cx:pt>
          <cx:pt idx="2329">1.2526323547202325</cx:pt>
          <cx:pt idx="2330">1.2337746958014664</cx:pt>
          <cx:pt idx="2331">1.2276624362874609</cx:pt>
          <cx:pt idx="2332">1.2249267395405243</cx:pt>
          <cx:pt idx="2333">1.2083342766544078</cx:pt>
          <cx:pt idx="2334">1.1953948513251647</cx:pt>
          <cx:pt idx="2335">1.2286070984244113</cx:pt>
          <cx:pt idx="2336">1.2269916486052899</cx:pt>
          <cx:pt idx="2337">1.1641882870979647</cx:pt>
          <cx:pt idx="2338">1.1837998432866588</cx:pt>
          <cx:pt idx="2339">1.1755636456855372</cx:pt>
          <cx:pt idx="2340">1.1845744179764051</cx:pt>
          <cx:pt idx="2341">1.1705640648358628</cx:pt>
          <cx:pt idx="2342">1.1688335869673616</cx:pt>
          <cx:pt idx="2343">1.1662700146734619</cx:pt>
          <cx:pt idx="2344">1.1427532793526629</cx:pt>
          <cx:pt idx="2345">1.2032504349450293</cx:pt>
          <cx:pt idx="2346">1.1879508097715081</cx:pt>
          <cx:pt idx="2347">1.1774763584516863</cx:pt>
          <cx:pt idx="2348">1.1433355618087595</cx:pt>
          <cx:pt idx="2349">1.1537224112839493</cx:pt>
          <cx:pt idx="2350">1.1323600113931516</cx:pt>
          <cx:pt idx="2351">1.1429675028817214</cx:pt>
          <cx:pt idx="2352">1.1155888605338107</cx:pt>
          <cx:pt idx="2353">1.1029440227143801</cx:pt>
          <cx:pt idx="2354">1.0807370835120633</cx:pt>
          <cx:pt idx="2355">1.0416364225494463</cx:pt>
          <cx:pt idx="2356">1.0543765385560655</cx:pt>
          <cx:pt idx="2357">1.0143069090502763</cx:pt>
          <cx:pt idx="2358">0.97593344647779212</cx:pt>
          <cx:pt idx="2359">0.9401347421159012</cx:pt>
          <cx:pt idx="2360">0.96274655000172749</cx:pt>
          <cx:pt idx="2361">0.97373200778679592</cx:pt>
          <cx:pt idx="2362">0.92862925801989116</cx:pt>
          <cx:pt idx="2363">0.93191935174719831</cx:pt>
          <cx:pt idx="2364">0.93293068079703145</cx:pt>
          <cx:pt idx="2365">0.89486941190757852</cx:pt>
          <cx:pt idx="2366">0.90626231263930623</cx:pt>
          <cx:pt idx="2367">0.86117595355914622</cx:pt>
          <cx:pt idx="2368">0.85451612980209635</cx:pt>
          <cx:pt idx="2369">0.86685910772378538</cx:pt>
          <cx:pt idx="2370">0.85808561317634802</cx:pt>
          <cx:pt idx="2371">0.85136374710522922</cx:pt>
          <cx:pt idx="2372">0.8611437004974275</cx:pt>
          <cx:pt idx="2373">0.8630302219628021</cx:pt>
          <cx:pt idx="2374">0.87801933277004107</cx:pt>
          <cx:pt idx="2375">0.83488598945282066</cx:pt>
          <cx:pt idx="2376">0.84859197105165529</cx:pt>
          <cx:pt idx="2377">0.86644158169651231</cx:pt>
          <cx:pt idx="2378">0.86300170148087962</cx:pt>
          <cx:pt idx="2379">0.79781574107682096</cx:pt>
          <cx:pt idx="2380">0.81685663485385374</cx:pt>
          <cx:pt idx="2381">0.75590499960051349</cx:pt>
          <cx:pt idx="2382">0.77626787442576617</cx:pt>
          <cx:pt idx="2383">0.79656062137756434</cx:pt>
          <cx:pt idx="2384">0.82107309626595637</cx:pt>
          <cx:pt idx="2385">0.81568759338364305</cx:pt>
          <cx:pt idx="2386">0.77714557072355361</cx:pt>
          <cx:pt idx="2387">0.79628395178361577</cx:pt>
          <cx:pt idx="2388">0.76340247139587725</cx:pt>
          <cx:pt idx="2389">0.79704520612450869</cx:pt>
          <cx:pt idx="2390">0.76149135970744319</cx:pt>
          <cx:pt idx="2391">0.68197099970925723</cx:pt>
          <cx:pt idx="2392">0.72311824759163645</cx:pt>
          <cx:pt idx="2393">0.76404936265363654</cx:pt>
          <cx:pt idx="2394">0.82360415827253375</cx:pt>
          <cx:pt idx="2395">0.89767291741851385</cx:pt>
          <cx:pt idx="2396">0.82314640253116567</cx:pt>
          <cx:pt idx="2397">0.93289424195171566</cx:pt>
          <cx:pt idx="2398">1.1001969520650978</cx:pt>
          <cx:pt idx="2399">0.6434671708797558</cx:pt>
        </cx:lvl>
      </cx:numDim>
    </cx:data>
    <cx:data id="2">
      <cx:numDim type="val">
        <cx:f>Sheet2!$C$4919:$C$7318</cx:f>
        <cx:lvl ptCount="2400" formatCode="#,##0.00">
          <cx:pt idx="0">5.5418989234883131</cx:pt>
          <cx:pt idx="1">5.4865561922370496</cx:pt>
          <cx:pt idx="2">5.6197517022909738</cx:pt>
          <cx:pt idx="3">5.6145336855118373</cx:pt>
          <cx:pt idx="4">5.6120764694407521</cx:pt>
          <cx:pt idx="5">5.8068528679384546</cx:pt>
          <cx:pt idx="6">5.7818582702684154</cx:pt>
          <cx:pt idx="7">5.7676266558593507</cx:pt>
          <cx:pt idx="8">5.5688996828961574</cx:pt>
          <cx:pt idx="9">5.7075267909108867</cx:pt>
          <cx:pt idx="10">5.7803670885300109</cx:pt>
          <cx:pt idx="11">5.7540590370884148</cx:pt>
          <cx:pt idx="12">5.7937739075626702</cx:pt>
          <cx:pt idx="13">5.6977511191778065</cx:pt>
          <cx:pt idx="14">5.754458541291986</cx:pt>
          <cx:pt idx="15">5.8314446860479432</cx:pt>
          <cx:pt idx="16">5.8423739467217706</cx:pt>
          <cx:pt idx="17">5.9811965896196853</cx:pt>
          <cx:pt idx="18">6.1101009266077861</cx:pt>
          <cx:pt idx="19">6.0996513938451251</cx:pt>
          <cx:pt idx="20">6.1820094936282928</cx:pt>
          <cx:pt idx="21">6.3543812381332785</cx:pt>
          <cx:pt idx="22">6.3103636705955726</cx:pt>
          <cx:pt idx="23">6.3296419974665206</cx:pt>
          <cx:pt idx="24">6.3296419974665206</cx:pt>
          <cx:pt idx="25">6.1662783350856882</cx:pt>
          <cx:pt idx="26">6.2363413972447432</cx:pt>
          <cx:pt idx="27">6.2363413972447423</cx:pt>
          <cx:pt idx="28">6.1292590165495557</cx:pt>
          <cx:pt idx="29">5.9311180159848647</cx:pt>
          <cx:pt idx="30">6.0667740296171226</cx:pt>
          <cx:pt idx="31">5.8984704816578075</cx:pt>
          <cx:pt idx="32">5.8984704816578075</cx:pt>
          <cx:pt idx="33">5.6320103186948307</cx:pt>
          <cx:pt idx="34">5.4423836900649567</cx:pt>
          <cx:pt idx="35">5.8092276971023962</cx:pt>
          <cx:pt idx="36">5.9557757150362951</cx:pt>
          <cx:pt idx="37">5.9566441219366375</cx:pt>
          <cx:pt idx="38">5.9232640892724318</cx:pt>
          <cx:pt idx="39">5.9476644696618646</cx:pt>
          <cx:pt idx="40">5.8515151785719111</cx:pt>
          <cx:pt idx="41">5.8742571063687832</cx:pt>
          <cx:pt idx="42">5.8041800236662571</cx:pt>
          <cx:pt idx="43">5.7484630629592548</cx:pt>
          <cx:pt idx="44">5.7843427188968644</cx:pt>
          <cx:pt idx="45">5.6568542494923806</cx:pt>
          <cx:pt idx="46">5.6568542494923806</cx:pt>
          <cx:pt idx="47">5.4629367707231919</cx:pt>
          <cx:pt idx="48">5.1667593614228418</cx:pt>
          <cx:pt idx="49">5.4049785479174925</cx:pt>
          <cx:pt idx="50">5.4049785479174925</cx:pt>
          <cx:pt idx="51">5.3991272176754341</cx:pt>
          <cx:pt idx="52">5.9136506802326521</cx:pt>
          <cx:pt idx="53">5.938477687200594</cx:pt>
          <cx:pt idx="54">5.8613285536466133</cx:pt>
          <cx:pt idx="55">6.1034190531153136</cx:pt>
          <cx:pt idx="56">5.9708102224609068</cx:pt>
          <cx:pt idx="57">5.7456630320756652</cx:pt>
          <cx:pt idx="58">5.7456630320756652</cx:pt>
          <cx:pt idx="59">5.9754286144540938</cx:pt>
          <cx:pt idx="60">5.9383809086393189</cx:pt>
          <cx:pt idx="61">5.8824695728802601</cx:pt>
          <cx:pt idx="62">5.761644880078773</cx:pt>
          <cx:pt idx="63">5.7355515623292872</cx:pt>
          <cx:pt idx="64">5.7436621742938367</cx:pt>
          <cx:pt idx="65">5.4830983773859048</cx:pt>
          <cx:pt idx="66">5.274205284145693</cx:pt>
          <cx:pt idx="67">5.3529452629842709</cx:pt>
          <cx:pt idx="68">5.3674198086509728</cx:pt>
          <cx:pt idx="69">5.3040864749109549</cx:pt>
          <cx:pt idx="70">5.274205284145693</cx:pt>
          <cx:pt idx="71">5.4059354353372076</cx:pt>
          <cx:pt idx="72">5.5889875298836893</cx:pt>
          <cx:pt idx="73">5.5490498306456493</cx:pt>
          <cx:pt idx="74">5.276384167690737</cx:pt>
          <cx:pt idx="75">5.3636708994159372</cx:pt>
          <cx:pt idx="76">5.3799329141653374</cx:pt>
          <cx:pt idx="77">5.197368918805064</cx:pt>
          <cx:pt idx="78">5.0701968947688947</cx:pt>
          <cx:pt idx="79">5.0901076022318872</cx:pt>
          <cx:pt idx="80">4.7541875068800881</cx:pt>
          <cx:pt idx="81">4.8599938508073288</cx:pt>
          <cx:pt idx="82">4.7538248363515301</cx:pt>
          <cx:pt idx="83">4.5632212860814807</cx:pt>
          <cx:pt idx="84">4.5446697337106636</cx:pt>
          <cx:pt idx="85">4.6663382478853972</cx:pt>
          <cx:pt idx="86">4.6585726194377086</cx:pt>
          <cx:pt idx="87">4.9799598391954936</cx:pt>
          <cx:pt idx="88">5.1605265702986767</cx:pt>
          <cx:pt idx="89">5.1022870688871809</cx:pt>
          <cx:pt idx="90">5.0428052765768445</cx:pt>
          <cx:pt idx="91">5.0356202462425435</cx:pt>
          <cx:pt idx="92">5.0356202462425443</cx:pt>
          <cx:pt idx="93">5.3222586165658274</cx:pt>
          <cx:pt idx="94">5.6592920234687094</cx:pt>
          <cx:pt idx="95">5.6414924250245333</cx:pt>
          <cx:pt idx="96">5.8314446860479423</cx:pt>
          <cx:pt idx="97">5.6993647558907528</cx:pt>
          <cx:pt idx="98">5.6993647558907528</cx:pt>
          <cx:pt idx="99">5.7143698680174477</cx:pt>
          <cx:pt idx="100">5.6665990530110921</cx:pt>
          <cx:pt idx="101">5.7204010790981368</cx:pt>
          <cx:pt idx="102">5.7962532487925271</cx:pt>
          <cx:pt idx="103">5.796253248792528</cx:pt>
          <cx:pt idx="104">5.8839348785631893</cx:pt>
          <cx:pt idx="105">5.8647593555789292</cx:pt>
          <cx:pt idx="106">5.8456192458811485</cx:pt>
          <cx:pt idx="107">5.7499625186184682</cx:pt>
          <cx:pt idx="108">5.9136506802326512</cx:pt>
          <cx:pt idx="109">5.9014901683300769</cx:pt>
          <cx:pt idx="110">6.0647843486312274</cx:pt>
          <cx:pt idx="111">5.9797551174247774</cx:pt>
          <cx:pt idx="112">6.028667148400789</cx:pt>
          <cx:pt idx="113">6.0499833760577149</cx:pt>
          <cx:pt idx="114">6.0053615891211694</cx:pt>
          <cx:pt idx="115">5.89963957597723</cx:pt>
          <cx:pt idx="116">5.8338095043747638</cx:pt>
          <cx:pt idx="117">5.7890105957893097</cx:pt>
          <cx:pt idx="118">5.5527770829858945</cx:pt>
          <cx:pt idx="119">5.6901810972534284</cx:pt>
          <cx:pt idx="120">5.7150738372760532</cx:pt>
          <cx:pt idx="121">5.6686271118616824</cx:pt>
          <cx:pt idx="122">5.6231254858739419</cx:pt>
          <cx:pt idx="123">5.5207029370851153</cx:pt>
          <cx:pt idx="124">5.3235542530397364</cx:pt>
          <cx:pt idx="125">5.376085829911454</cx:pt>
          <cx:pt idx="126">5.1578530684638615</cx:pt>
          <cx:pt idx="127">5.1577416424802367</cx:pt>
          <cx:pt idx="128">5.4860324209885905</cx:pt>
          <cx:pt idx="129">5.6054161000921612</cx:pt>
          <cx:pt idx="130">5.6054161000921612</cx:pt>
          <cx:pt idx="131">5.6756183520530108</cx:pt>
          <cx:pt idx="132">5.5207029370851153</cx:pt>
          <cx:pt idx="133">5.4907445635422665</cx:pt>
          <cx:pt idx="134">5.4982755917431625</cx:pt>
          <cx:pt idx="135">5.3879388505690429</cx:pt>
          <cx:pt idx="136">5.4563050105191246</cx:pt>
          <cx:pt idx="137">5.4504033384442421</cx:pt>
          <cx:pt idx="138">5.5565018351187616</cx:pt>
          <cx:pt idx="139">5.6001847260172806</cx:pt>
          <cx:pt idx="140">5.3652778955569227</cx:pt>
          <cx:pt idx="141">5.3652778955569227</cx:pt>
          <cx:pt idx="142">5.2017901427926887</cx:pt>
          <cx:pt idx="143">5.4032769963097929</cx:pt>
          <cx:pt idx="144">5.4718716460042103</cx:pt>
          <cx:pt idx="145">5.6491276917910902</cx:pt>
          <cx:pt idx="146">5.684825536400421</cx:pt>
          <cx:pt idx="147">5.6124860801609122</cx:pt>
          <cx:pt idx="148">5.5745728149308009</cx:pt>
          <cx:pt idx="149">5.4944067693543071</cx:pt>
          <cx:pt idx="150">5.4367840392694626</cx:pt>
          <cx:pt idx="151">5.4360440315217904</cx:pt>
          <cx:pt idx="152">5.4304378435273337</cx:pt>
          <cx:pt idx="153">5.7050088901579805</cx:pt>
          <cx:pt idx="154">5.9171482724502464</cx:pt>
          <cx:pt idx="155">5.8580919572255219</cx:pt>
          <cx:pt idx="156">5.9392518589194516</cx:pt>
          <cx:pt idx="157">6.1941759816745625</cx:pt>
          <cx:pt idx="158">6.0889951608590982</cx:pt>
          <cx:pt idx="159">6.0225629401290668</cx:pt>
          <cx:pt idx="160">5.9174396451525366</cx:pt>
          <cx:pt idx="161">5.7624428089514934</cx:pt>
          <cx:pt idx="162">5.9057735242337417</cx:pt>
          <cx:pt idx="163">5.8937917853615609</cx:pt>
          <cx:pt idx="164">5.8937917853615609</cx:pt>
          <cx:pt idx="165">5.8554425021984224</cx:pt>
          <cx:pt idx="166">5.8160499294288375</cx:pt>
          <cx:pt idx="167">6.0409521971520244</cx:pt>
          <cx:pt idx="168">5.8274025680104833</cx:pt>
          <cx:pt idx="169">5.7855348752819262</cx:pt>
          <cx:pt idx="170">5.7839452788305108</cx:pt>
          <cx:pt idx="171">5.73154208853461</cx:pt>
          <cx:pt idx="172">5.7002722258042962</cx:pt>
          <cx:pt idx="173">5.6405754984773484</cx:pt>
          <cx:pt idx="174">5.5403431571384258</cx:pt>
          <cx:pt idx="175">5.5403431571384258</cx:pt>
          <cx:pt idx="176">5.4329772113741051</cx:pt>
          <cx:pt idx="177">5.3649565348369466</cx:pt>
          <cx:pt idx="178">5.4676688175904147</cx:pt>
          <cx:pt idx="179">5.2663538391016509</cx:pt>
          <cx:pt idx="180">5.387938850569042</cx:pt>
          <cx:pt idx="181">5.7495627020120255</cx:pt>
          <cx:pt idx="182">5.8707339610460387</cx:pt>
          <cx:pt idx="183">5.9465048171366925</cx:pt>
          <cx:pt idx="184">5.7519611847842276</cx:pt>
          <cx:pt idx="185">5.8730829594239395</cx:pt>
          <cx:pt idx="186">5.9907975405962262</cx:pt>
          <cx:pt idx="187">5.8338095043747638</cx:pt>
          <cx:pt idx="188">5.6430203048473544</cx:pt>
          <cx:pt idx="189">5.4689300052477234</cx:pt>
          <cx:pt idx="190">5.8976909566956506</cx:pt>
          <cx:pt idx="191">5.9866710186093801</cx:pt>
          <cx:pt idx="192">5.9866710186093801</cx:pt>
          <cx:pt idx="193">5.9951129522591007</cx:pt>
          <cx:pt idx="194">5.9194788524884085</cx:pt>
          <cx:pt idx="195">5.9140394037379833</cx:pt>
          <cx:pt idx="196">5.9140394037379824</cx:pt>
          <cx:pt idx="197">5.9194788524884077</cx:pt>
          <cx:pt idx="198">5.9557757150362951</cx:pt>
          <cx:pt idx="199">6.2220409114251467</cx:pt>
          <cx:pt idx="200">6.2030767301025893</cx:pt>
          <cx:pt idx="201">6.317645422003431</cx:pt>
          <cx:pt idx="202">6.2812437453505776</cx:pt>
          <cx:pt idx="203">6.2127973228419933</cx:pt>
          <cx:pt idx="204">6.1666511338729517</cx:pt>
          <cx:pt idx="205">6.0340032650222222</cx:pt>
          <cx:pt idx="206">6.0670582164916498</cx:pt>
          <cx:pt idx="207">6.1034190531153136</cx:pt>
          <cx:pt idx="208">6.2227798053399841</cx:pt>
          <cx:pt idx="209">6.4240925831779059</cx:pt>
          <cx:pt idx="210">6.4000718386772721</cx:pt>
          <cx:pt idx="211">6.2620917514396321</cx:pt>
          <cx:pt idx="212">6.2075223183918844</cx:pt>
          <cx:pt idx="213">6.068573655060681</cx:pt>
          <cx:pt idx="214">6.2375393026195942</cx:pt>
          <cx:pt idx="215">6.3630578928001613</cx:pt>
          <cx:pt idx="216">6.6415619268050357</cx:pt>
          <cx:pt idx="217">6.7514153475698935</cx:pt>
          <cx:pt idx="218">6.7076898741873761</cx:pt>
          <cx:pt idx="219">6.8812589064742387</cx:pt>
          <cx:pt idx="220">6.7881743012998408</cx:pt>
          <cx:pt idx="221">6.8616039812424541</cx:pt>
          <cx:pt idx="222">6.5151459259775297</cx:pt>
          <cx:pt idx="223">6.52810017953332</cx:pt>
          <cx:pt idx="224">6.2793220221192074</cx:pt>
          <cx:pt idx="225">6.1941759816745616</cx:pt>
          <cx:pt idx="226">6.2735533204371361</cx:pt>
          <cx:pt idx="227">6.3045322139538316</cx:pt>
          <cx:pt idx="228">5.6868470952767378</cx:pt>
          <cx:pt idx="229">5.7989297466771017</cx:pt>
          <cx:pt idx="230">5.5527770829858945</cx:pt>
          <cx:pt idx="231">5.5642537271614296</cx:pt>
          <cx:pt idx="232">5.6592920234687085</cx:pt>
          <cx:pt idx="233">5.6272122086677436</cx:pt>
          <cx:pt idx="234">5.7220083284057557</cx:pt>
          <cx:pt idx="235">5.6665990530110921</cx:pt>
          <cx:pt idx="236">5.2567417031211772</cx:pt>
          <cx:pt idx="237">4.6437450205725082</cx:pt>
          <cx:pt idx="238">4.6756891433795342</cx:pt>
          <cx:pt idx="239">4.6899256176244997</cx:pt>
          <cx:pt idx="240">4.2453490440418573</cx:pt>
          <cx:pt idx="241">3.3211270763810377</cx:pt>
          <cx:pt idx="242">2.7175462224706259</cx:pt>
          <cx:pt idx="243">2.6749154031096203</cx:pt>
          <cx:pt idx="244">2.8123291774432895</cx:pt>
          <cx:pt idx="245">2.9651229355607671</cx:pt>
          <cx:pt idx="246">2.8849590128365992</cx:pt>
          <cx:pt idx="247">2.9323796777894646</cx:pt>
          <cx:pt idx="248">3.0026807945605851</cx:pt>
          <cx:pt idx="249">2.937862230050726</cx:pt>
          <cx:pt idx="250">2.9703515794846793</cx:pt>
          <cx:pt idx="251">2.9633780041368838</cx:pt>
          <cx:pt idx="252">2.9674479146965296</cx:pt>
          <cx:pt idx="253">2.9674479146965291</cx:pt>
          <cx:pt idx="254">2.9664793948382648</cx:pt>
          <cx:pt idx="255">3.0026807945605851</cx:pt>
          <cx:pt idx="256">3.1089414985456565</cx:pt>
          <cx:pt idx="257">3.1286587776755779</cx:pt>
          <cx:pt idx="258">3.6434479059920921</cx:pt>
          <cx:pt idx="259">4.0234942210877387</cx:pt>
          <cx:pt idx="260">4.9200504623148067</cx:pt>
          <cx:pt idx="261">5.2478786080717867</cx:pt>
          <cx:pt idx="262">5.3622777798716976</cx:pt>
          <cx:pt idx="263">5.3572380943915494</cx:pt>
          <cx:pt idx="264">5.802199345194829</cx:pt>
          <cx:pt idx="265">6.0099534299264796</cx:pt>
          <cx:pt idx="266">5.8835441660637677</cx:pt>
          <cx:pt idx="267">5.9847507366063573</cx:pt>
          <cx:pt idx="268">6.2485860469554941</cx:pt>
          <cx:pt idx="269">6.4562186007515008</cx:pt>
          <cx:pt idx="270">6.4931440412353316</cx:pt>
          <cx:pt idx="271">6.5724083655946046</cx:pt>
          <cx:pt idx="272">6.5724083655946046</cx:pt>
          <cx:pt idx="273">6.3209194733445031</cx:pt>
          <cx:pt idx="274">6.2936749858557377</cx:pt>
          <cx:pt idx="275">5.9823495172989052</cx:pt>
          <cx:pt idx="276">5.88676676865202</cx:pt>
          <cx:pt idx="277">5.9069411731443964</cx:pt>
          <cx:pt idx="278">5.888231004963723</cx:pt>
          <cx:pt idx="279">5.9754286144540965</cx:pt>
          <cx:pt idx="280">5.9209349991675984</cx:pt>
          <cx:pt idx="281">5.6901810972534284</cx:pt>
          <cx:pt idx="282">5.3786508584840549</cx:pt>
          <cx:pt idx="283">5.2832417773712494</cx:pt>
          <cx:pt idx="284">5.0456536434494961</cx:pt>
          <cx:pt idx="285">4.5389755287481668</cx:pt>
          <cx:pt idx="286">4.6307319249681829</cx:pt>
          <cx:pt idx="287">4.7740919579526855</cx:pt>
          <cx:pt idx="288">4.9722216871080009</cx:pt>
          <cx:pt idx="289">5.1039763628609878</cx:pt>
          <cx:pt idx="290">5.0606664410516329</cx:pt>
          <cx:pt idx="291">5.0995830345663347</cx:pt>
          <cx:pt idx="292">5.1103905872274566</cx:pt>
          <cx:pt idx="293">5.1103905872274566</cx:pt>
          <cx:pt idx="294">5.047020288556749</cx:pt>
          <cx:pt idx="295">5.1080283890155211</cx:pt>
          <cx:pt idx="296">4.9545056702744423</cx:pt>
          <cx:pt idx="297">4.9545056702744414</cx:pt>
          <cx:pt idx="298">4.8204545023467853</cx:pt>
          <cx:pt idx="299">4.7174169826829759</cx:pt>
          <cx:pt idx="300">5.0304817986388519</cx:pt>
          <cx:pt idx="301">5.0792568919786518</cx:pt>
          <cx:pt idx="302">5.1466985288752278</cx:pt>
          <cx:pt idx="303">5.4504033384442421</cx:pt>
          <cx:pt idx="304">5.2087459606664073</cx:pt>
          <cx:pt idx="305">5.2875911991808877</cx:pt>
          <cx:pt idx="306">5.302786081852167</cx:pt>
          <cx:pt idx="307">5.3687045463265273</cx:pt>
          <cx:pt idx="308">5.3622777798716967</cx:pt>
          <cx:pt idx="309">5.3089601120430707</cx:pt>
          <cx:pt idx="310">5.4440730188419364</cx:pt>
          <cx:pt idx="311">5.4620950887567581</cx:pt>
          <cx:pt idx="312">5.6013134748626729</cx:pt>
          <cx:pt idx="313">5.6577685378235643</cx:pt>
          <cx:pt idx="314">5.9276286666082072</cx:pt>
          <cx:pt idx="315">5.9175367661984444</cx:pt>
          <cx:pt idx="316">5.9924281724772355</cx:pt>
          <cx:pt idx="317">5.5800341942675766</cx:pt>
          <cx:pt idx="318">5.5518455044919177</cx:pt>
          <cx:pt idx="319">5.5518455044919177</cx:pt>
          <cx:pt idx="320">5.6038779676097583</cx:pt>
          <cx:pt idx="321">5.4944067693543071</cx:pt>
          <cx:pt idx="322">5.8823718728566208</cx:pt>
          <cx:pt idx="323">5.9693662421846216</cx:pt>
          <cx:pt idx="324">6.1559241628573185</cx:pt>
          <cx:pt idx="325">6.1782897607522509</cx:pt>
          <cx:pt idx="326">6.3522102226424852</cx:pt>
          <cx:pt idx="327">6.4754177072030359</cx:pt>
          <cx:pt idx="328">6.7789396655012162</cx:pt>
          <cx:pt idx="329">6.8569119419247571</cx:pt>
          <cx:pt idx="330">6.8114170551252089</cx:pt>
          <cx:pt idx="331">6.8114170551252098</cx:pt>
          <cx:pt idx="332">6.8414725846440971</cx:pt>
          <cx:pt idx="333">6.6409561699031494</cx:pt>
          <cx:pt idx="334">6.9179094576589977</cx:pt>
          <cx:pt idx="335">6.7644268984421583</cx:pt>
          <cx:pt idx="336">7.0004925935054114</cx:pt>
          <cx:pt idx="337">6.9959758547982087</cx:pt>
          <cx:pt idx="338">7.0971096593783436</cx:pt>
          <cx:pt idx="339">7.0058268031262578</cx:pt>
          <cx:pt idx="340">7.0453375795057127</cx:pt>
          <cx:pt idx="341">7.0453375795057127</cx:pt>
          <cx:pt idx="342">7.0453375795057127</cx:pt>
          <cx:pt idx="343">7.0195949059527756</cx:pt>
          <cx:pt idx="344">6.836682666692778</cx:pt>
          <cx:pt idx="345">6.836682666692778</cx:pt>
          <cx:pt idx="346">6.662728722001857</cx:pt>
          <cx:pt idx="347">6.7330032922413849</cx:pt>
          <cx:pt idx="348">6.9002748570943382</cx:pt>
          <cx:pt idx="349">6.8165619810414189</cx:pt>
          <cx:pt idx="350">6.7394873436465783</cx:pt>
          <cx:pt idx="351">6.9301938073113485</cx:pt>
          <cx:pt idx="352">6.7949440297780308</cx:pt>
          <cx:pt idx="353">6.823303544791762</cx:pt>
          <cx:pt idx="354">6.6505552442988742</cx:pt>
          <cx:pt idx="355">6.7296735245572226</cx:pt>
          <cx:pt idx="356">6.7296735245572226</cx:pt>
          <cx:pt idx="357">6.6224973585776397</cx:pt>
          <cx:pt idx="358">6.5199957689853001</cx:pt>
          <cx:pt idx="359">6.6815924868940897</cx:pt>
          <cx:pt idx="360">6.4939405885653194</cx:pt>
          <cx:pt idx="361">6.3350874763757847</cx:pt>
          <cx:pt idx="362">6.5069370586365327</cx:pt>
          <cx:pt idx="363">6.7371845137574935</cx:pt>
          <cx:pt idx="364">6.6092933525975122</cx:pt>
          <cx:pt idx="365">6.7555851733571357</cx:pt>
          <cx:pt idx="366">6.4579986935920619</cx:pt>
          <cx:pt idx="367">6.6432923564549942</cx:pt>
          <cx:pt idx="368">6.5288924620956355</cx:pt>
          <cx:pt idx="369">6.537601233255014</cx:pt>
          <cx:pt idx="370">6.5902226428823036</cx:pt>
          <cx:pt idx="371">6.5354910816373177</cx:pt>
          <cx:pt idx="372">6.2779490025135534</cx:pt>
          <cx:pt idx="373">6.2609903369994111</cx:pt>
          <cx:pt idx="374">6.2881936444693585</cx:pt>
          <cx:pt idx="375">6.5691721691934468</cx:pt>
          <cx:pt idx="376">6.7741903702519171</cx:pt>
          <cx:pt idx="377">6.93060843889866</cx:pt>
          <cx:pt idx="378">6.8899393587909099</cx:pt>
          <cx:pt idx="379">6.9006912863774064</cx:pt>
          <cx:pt idx="380">6.9498201415576224</cx:pt>
          <cx:pt idx="381">6.6881263805911013</cx:pt>
          <cx:pt idx="382">6.7337714663418407</cx:pt>
          <cx:pt idx="383">6.6329030068930281</cx:pt>
          <cx:pt idx="384">6.5109103835783602</cx:pt>
          <cx:pt idx="385">6.7819910276297604</cx:pt>
          <cx:pt idx="386">6.7235219287540637</cx:pt>
          <cx:pt idx="387">6.892941583834939</cx:pt>
          <cx:pt idx="388">6.9256312214910736</cx:pt>
          <cx:pt idx="389">6.8417245926958259</cx:pt>
          <cx:pt idx="390">7.0691169033411407</cx:pt>
          <cx:pt idx="391">7.2318738927058188</cx:pt>
          <cx:pt idx="392">7.1954647274292274</cx:pt>
          <cx:pt idx="393">7.3409573743765737</cx:pt>
          <cx:pt idx="394">7.5314665574340252</cx:pt>
          <cx:pt idx="395">7.6405602490615969</cx:pt>
          <cx:pt idx="396">7.7165295040067647</cx:pt>
          <cx:pt idx="397">7.529253294478397</cx:pt>
          <cx:pt idx="398">7.4876142940252981</cx:pt>
          <cx:pt idx="399">7.6009678754536347</cx:pt>
          <cx:pt idx="400">7.4516834478456309</cx:pt>
          <cx:pt idx="401">7.4553074514336632</cx:pt>
          <cx:pt idx="402">7.4759384141667322</cx:pt>
          <cx:pt idx="403">7.4759384141667322</cx:pt>
          <cx:pt idx="404">7.5345182670985258</cx:pt>
          <cx:pt idx="405">7.3140551200309245</cx:pt>
          <cx:pt idx="406">7.1241857772313706</cx:pt>
          <cx:pt idx="407">7.0201679909165744</cx:pt>
          <cx:pt idx="408">6.9199860474246426</cx:pt>
          <cx:pt idx="409">6.9311888814506286</cx:pt>
          <cx:pt idx="410">6.9102622336587949</cx:pt>
          <cx:pt idx="411">6.9102622336587949</cx:pt>
          <cx:pt idx="412">6.9455186908579742</cx:pt>
          <cx:pt idx="413">6.7619625798309828</cx:pt>
          <cx:pt idx="414">6.7196743216100687</cx:pt>
          <cx:pt idx="415">6.6380997142323759</cx:pt>
          <cx:pt idx="416">6.6616935474052106</cx:pt>
          <cx:pt idx="417">6.5362824683260978</cx:pt>
          <cx:pt idx="418">6.4054574432643969</cx:pt>
          <cx:pt idx="419">6.3210103950075194</cx:pt>
          <cx:pt idx="420">6.4953564315142698</cx:pt>
          <cx:pt idx="421">6.4419601500407202</cx:pt>
          <cx:pt idx="422">6.2116871678525767</cx:pt>
          <cx:pt idx="423">6.0951271285054984</cx:pt>
          <cx:pt idx="424">5.8952542768319791</cx:pt>
          <cx:pt idx="425">5.5877534399566278</cx:pt>
          <cx:pt idx="426">5.7114524995987157</cx:pt>
          <cx:pt idx="427">5.6564478516866554</cx:pt>
          <cx:pt idx="428">5.7264259379641427</cx:pt>
          <cx:pt idx="429">5.4747067312417244</cx:pt>
          <cx:pt idx="430">5.7480631420555452</cx:pt>
          <cx:pt idx="431">5.8926215308423746</cx:pt>
          <cx:pt idx="432">6.0951271285054984</cx:pt>
          <cx:pt idx="433">6.2957749014077216</cx:pt>
          <cx:pt idx="434">6.4771925236560426</cx:pt>
          <cx:pt idx="435">6.6803021474787503</cx:pt>
          <cx:pt idx="436">6.7166802144696662</cx:pt>
          <cx:pt idx="437">6.6380997142323759</cx:pt>
          <cx:pt idx="438">6.6932802122726027</cx:pt>
          <cx:pt idx="439">6.8668786933006007</cx:pt>
          <cx:pt idx="440">6.9695561296023838</cx:pt>
          <cx:pt idx="441">6.9695561296023838</cx:pt>
          <cx:pt idx="442">6.8447479656042614</cx:pt>
          <cx:pt idx="443">6.8162247278262384</cx:pt>
          <cx:pt idx="444">6.8598448425870258</cx:pt>
          <cx:pt idx="445">6.7776678591677397</cx:pt>
          <cx:pt idx="446">6.9182417539080863</cx:pt>
          <cx:pt idx="447">6.7025471226269246</cx:pt>
          <cx:pt idx="448">6.7245475855171906</cx:pt>
          <cx:pt idx="449">6.6898447656508253</cx:pt>
          <cx:pt idx="450">6.5310047457114697</cx:pt>
          <cx:pt idx="451">6.7497126375613314</cx:pt>
          <cx:pt idx="452">6.8467628058477557</cx:pt>
          <cx:pt idx="453">6.8979423885244424</cx:pt>
          <cx:pt idx="454">6.9653493777428706</cx:pt>
          <cx:pt idx="455">7.2508422023705741</cx:pt>
          <cx:pt idx="456">7.3765705516485287</cx:pt>
          <cx:pt idx="457">7.3891035027743825</cx:pt>
          <cx:pt idx="458">7.5131302688547601</cx:pt>
          <cx:pt idx="459">7.513130268854761</cx:pt>
          <cx:pt idx="460">7.242038831488105</cx:pt>
          <cx:pt idx="461">7.3178258186871101</cx:pt>
          <cx:pt idx="462">7.242038831488105</cx:pt>
          <cx:pt idx="463">7.2420388314881059</cx:pt>
          <cx:pt idx="464">7.0254872617041881</cx:pt>
          <cx:pt idx="465">6.7555001005991713</cx:pt>
          <cx:pt idx="466">6.8929415838349399</cx:pt>
          <cx:pt idx="467">6.8698909961403745</cx:pt>
          <cx:pt idx="468">6.9029395704035883</cx:pt>
          <cx:pt idx="469">6.7789396655012162</cx:pt>
          <cx:pt idx="470">6.6888137875902531</cx:pt>
          <cx:pt idx="471">6.6888137875902531</cx:pt>
          <cx:pt idx="472">6.743579321767152</cx:pt>
          <cx:pt idx="473">6.8916908156743775</cx:pt>
          <cx:pt idx="474">7.0642372748841096</cx:pt>
          <cx:pt idx="475">7.0756178398845107</cx:pt>
          <cx:pt idx="476">6.866209113201176</cx:pt>
          <cx:pt idx="477">6.8555707694336165</cx:pt>
          <cx:pt idx="478">6.9646892645490048</cx:pt>
          <cx:pt idx="479">6.9758203077141578</cx:pt>
          <cx:pt idx="480">6.9847123703522493</cx:pt>
          <cx:pt idx="481">6.7145407490955318</cx:pt>
          <cx:pt idx="482">6.5090564671044318</cx:pt>
          <cx:pt idx="483">6.3482280992415516</cx:pt>
          <cx:pt idx="484">6.3774026349146329</cx:pt>
          <cx:pt idx="485">6.33372654556723</cx:pt>
          <cx:pt idx="486">6.1652530221870219</cx:pt>
          <cx:pt idx="487">6.1652530221870219</cx:pt>
          <cx:pt idx="488">6.1247566219533107</cx:pt>
          <cx:pt idx="489">6.2039105205609184</cx:pt>
          <cx:pt idx="490">6.2252729248207066</cx:pt>
          <cx:pt idx="491">6.1584443475287793</cx:pt>
          <cx:pt idx="492">5.9229730030958514</cx:pt>
          <cx:pt idx="493">5.5506031566217073</cx:pt>
          <cx:pt idx="494">5.5506031566217073</cx:pt>
          <cx:pt idx="495">5.4563050105191246</cx:pt>
          <cx:pt idx="496">5.4058291228771864</cx:pt>
          <cx:pt idx="497">5.6210810102806663</cx:pt>
          <cx:pt idx="498">5.4802676333673102</cx:pt>
          <cx:pt idx="499">5.1845260482350346</cx:pt>
          <cx:pt idx="500">5.2698448143959711</cx:pt>
          <cx:pt idx="501">5.4373125545706822</cx:pt>
          <cx:pt idx="502">5.2488641354719476</cx:pt>
          <cx:pt idx="503">5.2039993462146308</cx:pt>
          <cx:pt idx="504">5.061574876447553</cx:pt>
          <cx:pt idx="505">5.2374645089736518</cx:pt>
          <cx:pt idx="506">5.4578847319384129</cx:pt>
          <cx:pt idx="507">5.6853309935083942</cx:pt>
          <cx:pt idx="508">5.6853309935083933</cx:pt>
          <cx:pt idx="509">5.5792101776950966</cx:pt>
          <cx:pt idx="510">5.6262929548498546</cx:pt>
          <cx:pt idx="511">5.689373033757005</cx:pt>
          <cx:pt idx="512">5.9360577498197742</cx:pt>
          <cx:pt idx="513">5.9174396451525366</cx:pt>
          <cx:pt idx="514">5.8172355878937445</cx:pt>
          <cx:pt idx="515">5.7315420885346091</cx:pt>
          <cx:pt idx="516">5.6735927922625704</cx:pt>
          <cx:pt idx="517">5.6726810543893249</cx:pt>
          <cx:pt idx="518">5.7264259379641418</cx:pt>
          <cx:pt idx="519">5.821186038648114</cx:pt>
          <cx:pt idx="520">5.8495505279730979</cx:pt>
          <cx:pt idx="521">5.7090369983278144</cx:pt>
          <cx:pt idx="522">5.8741592697539948</cx:pt>
          <cx:pt idx="523">6.1259763472361328</cx:pt>
          <cx:pt idx="524">6.1021948190135147</cx:pt>
          <cx:pt idx="525">6.3589921850239284</cx:pt>
          <cx:pt idx="526">6.4579986935920619</cx:pt>
          <cx:pt idx="527">6.2998814073858913</cx:pt>
          <cx:pt idx="528">6.3918050982326662</cx:pt>
          <cx:pt idx="529">6.4430306283736467</cx:pt>
          <cx:pt idx="530">6.2958661861957292</cx:pt>
          <cx:pt idx="531">6.2238879817358059</cx:pt>
          <cx:pt idx="532">6.2694295694613871</cx:pt>
          <cx:pt idx="533">6.4094936769921453</cx:pt>
          <cx:pt idx="534">6.459066513814907</cx:pt>
          <cx:pt idx="535">6.339168515764853</cx:pt>
          <cx:pt idx="536">6.17828976075225</cx:pt>
          <cx:pt idx="537">6.17828976075225</cx:pt>
          <cx:pt idx="538">6.1782897607522491</cx:pt>
          <cx:pt idx="539">6.1528425353138863</cx:pt>
          <cx:pt idx="540">6.3701891922318588</cx:pt>
          <cx:pt idx="541">6.4452602205298781</cx:pt>
          <cx:pt idx="542">6.2430651181102954</cx:pt>
          <cx:pt idx="543">6.2944054707243842</cx:pt>
          <cx:pt idx="544">6.2053925380852544</cx:pt>
          <cx:pt idx="545">6.3136414980197628</cx:pt>
          <cx:pt idx="546">6.3350874763757856</cx:pt>
          <cx:pt idx="547">6.4312455667801922</cx:pt>
          <cx:pt idx="548">6.5478784841869331</cx:pt>
          <cx:pt idx="549">6.4455277197609586</cx:pt>
          <cx:pt idx="550">6.5544579898134883</cx:pt>
          <cx:pt idx="551">6.6682469391421995</cx:pt>
          <cx:pt idx="552">6.6536654836124791</cx:pt>
          <cx:pt idx="553">6.381456613168119</cx:pt>
          <cx:pt idx="554">6.4985409503025089</cx:pt>
          <cx:pt idx="555">6.3169176245904985</cx:pt>
          <cx:pt idx="556">6.2651196427467388</cx:pt>
          <cx:pt idx="557">6.3771322780662176</cx:pt>
          <cx:pt idx="558">6.2090034738217881</cx:pt>
          <cx:pt idx="559">6.0838017454681186</cx:pt>
          <cx:pt idx="560">6.2609903369994111</cx:pt>
          <cx:pt idx="561">6.2515285487152896</cx:pt>
          <cx:pt idx="562">6.3557377462298259</cx:pt>
          <cx:pt idx="563">6.2518043372505172</cx:pt>
          <cx:pt idx="564">6.4811840836715007</cx:pt>
          <cx:pt idx="565">6.4633360305401242</cx:pt>
          <cx:pt idx="566">6.5597168427814969</cx:pt>
          <cx:pt idx="567">6.3676625567614362</cx:pt>
          <cx:pt idx="568">6.0781311404838538</cx:pt>
          <cx:pt idx="569">6.3155527783838314</cx:pt>
          <cx:pt idx="570">6.344877561022578</cx:pt>
          <cx:pt idx="571">6.2867311462911415</cx:pt>
          <cx:pt idx="572">6.4291005073286369</cx:pt>
          <cx:pt idx="573">6.5691721691934486</cx:pt>
          <cx:pt idx="574">6.8299543089298167</cx:pt>
          <cx:pt idx="575">6.6674712158203651</cx:pt>
          <cx:pt idx="576">6.6668678130574639</cx:pt>
          <cx:pt idx="577">6.5954529791364598</cx:pt>
          <cx:pt idx="578">6.4430306283736467</cx:pt>
          <cx:pt idx="579">6.4305306264670747</cx:pt>
          <cx:pt idx="580">6.5111751856980931</cx:pt>
          <cx:pt idx="581">6.381456613168119</cx:pt>
          <cx:pt idx="582">6.3187369609447419</cx:pt>
          <cx:pt idx="583">6.3706402716888961</cx:pt>
          <cx:pt idx="584">6.1397517640486035</cx:pt>
          <cx:pt idx="585">6.1447108365136129</cx:pt>
          <cx:pt idx="586">6.3064462550485665</cx:pt>
          <cx:pt idx="587">6.2252729248207066</cx:pt>
          <cx:pt idx="588">6.4732872851328072</cx:pt>
          <cx:pt idx="589">6.6277022248747111</cx:pt>
          <cx:pt idx="590">6.3928839749553861</cx:pt>
          <cx:pt idx="591">6.3784839477155053</cx:pt>
          <cx:pt idx="592">6.3059905836735366</cx:pt>
          <cx:pt idx="593">6.4495388768607276</cx:pt>
          <cx:pt idx="594">6.2716292407422598</cx:pt>
          <cx:pt idx="595">6.473997503719084</cx:pt>
          <cx:pt idx="596">6.4416925026619039</cx:pt>
          <cx:pt idx="597">6.3119117456644993</cx:pt>
          <cx:pt idx="598">6.3634191633331723</cx:pt>
          <cx:pt idx="599">6.1368493170543044</cx:pt>
          <cx:pt idx="600">5.8858880520206585</cx:pt>
          <cx:pt idx="601">6.1086898721430449</cx:pt>
          <cx:pt idx="602">6.2779490025135525</cx:pt>
          <cx:pt idx="603">6.3100904414525125</cx:pt>
          <cx:pt idx="604">6.5125872818295711</cx:pt>
          <cx:pt idx="605">6.6974004220886414</cx:pt>
          <cx:pt idx="606">6.7504789102138067</cx:pt>
          <cx:pt idx="607">6.9616354268298162</cx:pt>
          <cx:pt idx="608">7.2175552265483809</cx:pt>
          <cx:pt idx="609">7.2906805572940696</cx:pt>
          <cx:pt idx="610">7.2193864164404626</cx:pt>
          <cx:pt idx="611">7.3140551200309245</cx:pt>
          <cx:pt idx="612">7.5825722745550257</cx:pt>
          <cx:pt idx="613">7.5918891989540649</cx:pt>
          <cx:pt idx="614">7.5843911097560852</cx:pt>
          <cx:pt idx="615">7.7978039938457542</cx:pt>
          <cx:pt idx="616">7.4516834478456317</cx:pt>
          <cx:pt idx="617">7.4432720527046925</cx:pt>
          <cx:pt idx="618">6.9831488467661877</cx:pt>
          <cx:pt idx="619">6.4790555576827895</cx:pt>
          <cx:pt idx="620">6.5111751856980913</cx:pt>
          <cx:pt idx="621">6.5214940816864395</cx:pt>
          <cx:pt idx="622">6.4679581599312055</cx:pt>
          <cx:pt idx="623">6.4470433390890083</cx:pt>
          <cx:pt idx="624">6.2862740458327409</cx:pt>
          <cx:pt idx="625">5.518620517284468</cx:pt>
          <cx:pt idx="626">5.138987779932819</cx:pt>
          <cx:pt idx="627">4.8661391620901675</cx:pt>
          <cx:pt idx="628">4.1831627478156568</cx:pt>
          <cx:pt idx="629">3.2385962618280213</cx:pt>
          <cx:pt idx="630">3.0904004129956486</cx:pt>
          <cx:pt idx="631">3.110974271758002</cx:pt>
          <cx:pt idx="632">3.1148513368337043</cx:pt>
          <cx:pt idx="633">3.1148513368337043</cx:pt>
          <cx:pt idx="634">3.1413080224572085</cx:pt>
          <cx:pt idx="635">3.2263284709246283</cx:pt>
          <cx:pt idx="636">3.2091822283430163</cx:pt>
          <cx:pt idx="637">3.2772289949067437</cx:pt>
          <cx:pt idx="638">3.2940210552823852</cx:pt>
          <cx:pt idx="639">3.2940210552823852</cx:pt>
          <cx:pt idx="640">3.328905104595548</cx:pt>
          <cx:pt idx="641">3.321127076381039</cx:pt>
          <cx:pt idx="642">3.1622776601683795</cx:pt>
          <cx:pt idx="643">3.0777286743804182</cx:pt>
          <cx:pt idx="644">3.2518783254725512</cx:pt>
          <cx:pt idx="645">3.184914152833564</cx:pt>
          <cx:pt idx="646">3.2027287216321976</cx:pt>
          <cx:pt idx="647">3.0904004129956486</cx:pt>
          <cx:pt idx="648">3.0437424030446398</cx:pt>
          <cx:pt idx="649">3.0437424030446394</cx:pt>
          <cx:pt idx="650">4.6939677601506098</cx:pt>
          <cx:pt idx="651">5.1710956174738696</cx:pt>
          <cx:pt idx="652">5.2888953282423206</cx:pt>
          <cx:pt idx="653">6.0747262366772308</cx:pt>
          <cx:pt idx="654">6.8736545182880411</cx:pt>
          <cx:pt idx="655">6.8802566110925509</cx:pt>
          <cx:pt idx="656">7.2906805572940669</cx:pt>
          <cx:pt idx="657">7.1990580482177799</cx:pt>
          <cx:pt idx="658">7.2146084240687438</cx:pt>
          <cx:pt idx="659">7.1631239572958814</cx:pt>
          <cx:pt idx="660">7.4768608570617436</cx:pt>
          <cx:pt idx="661">7.7412167507187908</cx:pt>
          <cx:pt idx="662">7.6255016793696244</cx:pt>
          <cx:pt idx="663">7.6281390749727711</cx:pt>
          <cx:pt idx="664">7.6480784154110131</cx:pt>
          <cx:pt idx="665">7.740325812145179</cx:pt>
          <cx:pt idx="666">7.5280319053399403</cx:pt>
          <cx:pt idx="667">7.3115402405823602</cx:pt>
          <cx:pt idx="668">7.2800309459996573</cx:pt>
          <cx:pt idx="669">7.3362585597273222</cx:pt>
          <cx:pt idx="670">7.1791524489355618</cx:pt>
          <cx:pt idx="671">7.1132869037254949</cx:pt>
          <cx:pt idx="672">7.142555001819936</cx:pt>
          <cx:pt idx="673">7.0776481579883503</cx:pt>
          <cx:pt idx="674">6.5794001054143543</cx:pt>
          <cx:pt idx="675">6.500574687238645</cx:pt>
          <cx:pt idx="676">6.0988975826896734</cx:pt>
          <cx:pt idx="677">6.0988975826896743</cx:pt>
          <cx:pt idx="678">6.0405716407577223</cx:pt>
          <cx:pt idx="679">5.9244282909587698</cx:pt>
          <cx:pt idx="680">5.6573622056959358</cx:pt>
          <cx:pt idx="681">5.6795661158549615</cx:pt>
          <cx:pt idx="682">5.7711131618117477</cx:pt>
          <cx:pt idx="683">5.5753975168829326</cx:pt>
          <cx:pt idx="684">5.2282389729832257</cx:pt>
          <cx:pt idx="685">5.3622777798716976</cx:pt>
          <cx:pt idx="686">5.2291182967035219</cx:pt>
          <cx:pt idx="687">5.4604113356067767</cx:pt>
          <cx:pt idx="688">5.4466060295728482</cx:pt>
          <cx:pt idx="689">5.4920004520681935</cx:pt>
          <cx:pt idx="690">5.2611130328883435</cx:pt>
          <cx:pt idx="691">5.0400693299373085</cx:pt>
          <cx:pt idx="692">5.0315099079722572</cx:pt>
          <cx:pt idx="693">5.0428052765768436</cx:pt>
          <cx:pt idx="694">5.3092848621190445</cx:pt>
          <cx:pt idx="695">5.0219060355491587</cx:pt>
          <cx:pt idx="696">5.1012732239850793</cx:pt>
          <cx:pt idx="697">5.3755512949034294</cx:pt>
          <cx:pt idx="698">5.3957198874152343</cx:pt>
          <cx:pt idx="699">5.3400460629120969</cx:pt>
          <cx:pt idx="700">5.399127217675435</cx:pt>
          <cx:pt idx="701">5.4540926318482716</cx:pt>
          <cx:pt idx="702">5.6807802604762045</cx:pt>
          <cx:pt idx="703">5.6470926300543178</cx:pt>
          <cx:pt idx="704">5.7063183372045803</cx:pt>
          <cx:pt idx="705">5.7863295097498808</cx:pt>
          <cx:pt idx="706">5.6771370476210334</cx:pt>
          <cx:pt idx="707">5.6210810102806672</cx:pt>
          <cx:pt idx="708">5.6210810102806672</cx:pt>
          <cx:pt idx="709">5.622205563860045</cx:pt>
          <cx:pt idx="710">5.7770851338437224</cx:pt>
          <cx:pt idx="711">5.9315055947617257</cx:pt>
          <cx:pt idx="712">5.8072487402413273</cx:pt>
          <cx:pt idx="713">5.8765068989437363</cx:pt>
          <cx:pt idx="714">5.8392252674595397</cx:pt>
          <cx:pt idx="715">5.7899040152447379</cx:pt>
          <cx:pt idx="716">5.8467989080576706</cx:pt>
          <cx:pt idx="717">5.6816906986743216</cx:pt>
          <cx:pt idx="718">5.7484630629592548</cx:pt>
          <cx:pt idx="719">5.6564478516866536</cx:pt>
          <cx:pt idx="720">5.7591506398039307</cx:pt>
          <cx:pt idx="721">5.7977403446039455</cx:pt>
          <cx:pt idx="722">6.0340032650222222</cx:pt>
          <cx:pt idx="723">6.0340032650222222</cx:pt>
          <cx:pt idx="724">5.9325713058378469</cx:pt>
          <cx:pt idx="725">5.9113178023956339</cx:pt>
          <cx:pt idx="726">6.0704674212653238</cx:pt>
          <cx:pt idx="727">5.6589873591513253</cx:pt>
          <cx:pt idx="728">5.6476014642368817</cx:pt>
          <cx:pt idx="729">5.4907445635422674</cx:pt>
          <cx:pt idx="730">5.4907445635422674</cx:pt>
          <cx:pt idx="731">5.4893836933970404</cx:pt>
          <cx:pt idx="732">5.3197744313081552</cx:pt>
          <cx:pt idx="733">5.3413373847259704</cx:pt>
          <cx:pt idx="734">5.376513419654426</cx:pt>
          <cx:pt idx="735">5.3494010836749739</cx:pt>
          <cx:pt idx="736">5.3722359907425776</cx:pt>
          <cx:pt idx="737">5.3722359907425776</cx:pt>
          <cx:pt idx="738">5.3722359907425767</cx:pt>
          <cx:pt idx="739">5.7098422789578613</cx:pt>
          <cx:pt idx="740">5.6059287171359218</cx:pt>
          <cx:pt idx="741">5.5032905517110144</cx:pt>
          <cx:pt idx="742">5.5435579263464563</cx:pt>
          <cx:pt idx="743">5.5019327847417481</cx:pt>
          <cx:pt idx="744">5.7863295097498808</cx:pt>
          <cx:pt idx="745">5.6366004264819143</cx:pt>
          <cx:pt idx="746">5.6120764694407521</cx:pt>
          <cx:pt idx="747">5.7977403446039455</cx:pt>
          <cx:pt idx="748">5.7655337402832725</cx:pt>
          <cx:pt idx="749">5.6877565623577526</cx:pt>
          <cx:pt idx="750">5.7424613249864835</cx:pt>
          <cx:pt idx="751">5.9383809086393189</cx:pt>
          <cx:pt idx="752">6.0951271285054984</cx:pt>
          <cx:pt idx="753">6.1109474028925774</cx:pt>
          <cx:pt idx="754">6.1101009266077861</cx:pt>
          <cx:pt idx="755">6.2150170379178533</cx:pt>
          <cx:pt idx="756">6.0738747124869557</cx:pt>
          <cx:pt idx="757">6.1894422529254491</cx:pt>
          <cx:pt idx="758">6.1849836692190028</cx:pt>
          <cx:pt idx="759">6.3608898387120245</cx:pt>
          <cx:pt idx="760">6.2706211538548891</cx:pt>
          <cx:pt idx="761">6.3557377462298241</cx:pt>
          <cx:pt idx="762">6.3209194733445031</cx:pt>
          <cx:pt idx="763">6.2957749014077216</cx:pt>
          <cx:pt idx="764">6.2702545366215396</cx:pt>
          <cx:pt idx="765">6.2518962640587477</cx:pt>
          <cx:pt idx="766">6.2444458079381135</cx:pt>
          <cx:pt idx="767">6.0423790701665032</cx:pt>
          <cx:pt idx="768">6.045421940343088</cx:pt>
          <cx:pt idx="769">5.8879381868319598</cx:pt>
          <cx:pt idx="770">5.835385517507051</cx:pt>
          <cx:pt idx="771">5.8882310049637239</cx:pt>
          <cx:pt idx="772">5.8785603054121873</cx:pt>
          <cx:pt idx="773">6.0099534299264796</cx:pt>
          <cx:pt idx="774">5.8364687796725114</cx:pt>
          <cx:pt idx="775">5.8588767508464619</cx:pt>
          <cx:pt idx="776">5.833316912948975</cx:pt>
          <cx:pt idx="777">5.7231130504739944</cx:pt>
          <cx:pt idx="778">5.7504622502851044</cx:pt>
          <cx:pt idx="779">5.8510240777679847</cx:pt>
          <cx:pt idx="780">5.7336474118730187</cx:pt>
          <cx:pt idx="781">5.5178914846870279</cx:pt>
          <cx:pt idx="782">5.4578847319384112</cx:pt>
          <cx:pt idx="783">5.4415388290065723</cx:pt>
          <cx:pt idx="784">5.6877565623577526</cx:pt>
          <cx:pt idx="785">5.5428321736948822</cx:pt>
          <cx:pt idx="786">5.6613226999212545</cx:pt>
          <cx:pt idx="787">5.5331809977645756</cx:pt>
          <cx:pt idx="788">5.8698528443047966</cx:pt>
          <cx:pt idx="789">5.6537039024069839</cx:pt>
          <cx:pt idx="790">5.4515630996884781</cx:pt>
          <cx:pt idx="791">5.2959537797059388</cx:pt>
          <cx:pt idx="792">5.3519789013896109</cx:pt>
          <cx:pt idx="793">5.6719718236091481</cx:pt>
          <cx:pt idx="794">5.8352870291566363</cx:pt>
          <cx:pt idx="795">5.8009115415289401</cx:pt>
          <cx:pt idx="796">5.7556568875234868</cx:pt>
          <cx:pt idx="797">5.8750397406335031</cx:pt>
          <cx:pt idx="798">5.8750397406335031</cx:pt>
          <cx:pt idx="799">5.7854355382992635</cx:pt>
          <cx:pt idx="800">5.7451628829585095</cx:pt>
          <cx:pt idx="801">5.4541980035628495</cx:pt>
          <cx:pt idx="802">5.5003657140689981</cx:pt>
          <cx:pt idx="803">5.3863386152525656</cx:pt>
          <cx:pt idx="804">5.4752315859276894</cx:pt>
          <cx:pt idx="805">5.7143698680174477</cx:pt>
          <cx:pt idx="806">5.7519611847842276</cx:pt>
          <cx:pt idx="807">5.8765068989437363</cx:pt>
          <cx:pt idx="808">5.8392252674595397</cx:pt>
          <cx:pt idx="809">5.8108103773380275</cx:pt>
          <cx:pt idx="810">5.7854355382992644</cx:pt>
          <cx:pt idx="811">5.7779803972724215</cx:pt>
          <cx:pt idx="812">5.5316227795026531</cx:pt>
          <cx:pt idx="813">5.8436526130553785</cx:pt>
          <cx:pt idx="814">5.6552284830413608</cx:pt>
          <cx:pt idx="815">5.7022883085672706</cx:pt>
          <cx:pt idx="816">5.5750882679471818</cx:pt>
          <cx:pt idx="817">5.6186266575775772</cx:pt>
          <cx:pt idx="818">5.3786508584840549</cx:pt>
          <cx:pt idx="819">5.4144336688173578</cx:pt>
          <cx:pt idx="820">5.4198443375873957</cx:pt>
          <cx:pt idx="821">5.6431221487937773</cx:pt>
          <cx:pt idx="822">5.6610181448906882</cx:pt>
          <cx:pt idx="823">5.4668278641778842</cx:pt>
          <cx:pt idx="824">5.4185717251163039</cx:pt>
          <cx:pt idx="825">5.691695907095756</cx:pt>
          <cx:pt idx="826">5.727128425310541</cx:pt>
          <cx:pt idx="827">5.827008064908247</cx:pt>
          <cx:pt idx="828">5.8515151785719119</cx:pt>
          <cx:pt idx="829">5.852202650461531</cx:pt>
          <cx:pt idx="830">5.8470937864144483</cx:pt>
          <cx:pt idx="831">5.9693662421846216</cx:pt>
          <cx:pt idx="832">6.01683462051058</cx:pt>
          <cx:pt idx="833">6.2019648351221699</cx:pt>
          <cx:pt idx="834">6.1104771527666113</cx:pt>
          <cx:pt idx="835">6.0282858164703406</cx:pt>
          <cx:pt idx="836">5.988494716163423</cx:pt>
          <cx:pt idx="837">5.8056650890691914</cx:pt>
          <cx:pt idx="838">5.7863295097498808</cx:pt>
          <cx:pt idx="839">5.73154208853461</cx:pt>
          <cx:pt idx="840">5.7830509388141778</cx:pt>
          <cx:pt idx="841">5.7675270104345371</cx:pt>
          <cx:pt idx="842">5.824640485180967</cx:pt>
          <cx:pt idx="843">5.5066313210298672</cx:pt>
          <cx:pt idx="844">5.5216397697718786</cx:pt>
          <cx:pt idx="845">5.5216397697718786</cx:pt>
          <cx:pt idx="846">5.4436507357960933</cx:pt>
          <cx:pt idx="847">5.4768058481975199</cx:pt>
          <cx:pt idx="848">5.5800341942675766</cx:pt>
          <cx:pt idx="849">5.6013134748626747</cx:pt>
          <cx:pt idx="850">5.8565220544887087</cx:pt>
          <cx:pt idx="851">5.7531600511990497</cx:pt>
          <cx:pt idx="852">5.7255226132993569</cx:pt>
          <cx:pt idx="853">5.5853873387740922</cx:pt>
          <cx:pt idx="854">5.4705060809407025</cx:pt>
          <cx:pt idx="855">5.1305933872942155</cx:pt>
          <cx:pt idx="856">5.2422904531704742</cx:pt>
          <cx:pt idx="857">5.0418934593238305</cx:pt>
          <cx:pt idx="858">5.0205325540660315</cx:pt>
          <cx:pt idx="859">5.0578265287969586</cx:pt>
          <cx:pt idx="860">5.3170729135320398</cx:pt>
          <cx:pt idx="861">5.276384167690737</cx:pt>
          <cx:pt idx="862">5.2291182967035219</cx:pt>
          <cx:pt idx="863">4.8882923704347494</cx:pt>
          <cx:pt idx="864">4.8233150235177416</cx:pt>
          <cx:pt idx="865">4.5692626231745788</cx:pt>
          <cx:pt idx="866">4.6099592338686719</cx:pt>
          <cx:pt idx="867">4.6043457732885358</cx:pt>
          <cx:pt idx="868">4.8707430573819517</cx:pt>
          <cx:pt idx="869">4.8670839059057167</cx:pt>
          <cx:pt idx="870">4.8377110575004458</cx:pt>
          <cx:pt idx="871">4.9891837030709247</cx:pt>
          <cx:pt idx="872">5.3863386152525647</cx:pt>
          <cx:pt idx="873">5.3922038230175904</cx:pt>
          <cx:pt idx="874">5.3922038230175913</cx:pt>
          <cx:pt idx="875">5.3712730998007983</cx:pt>
          <cx:pt idx="876">5.4865561922370496</cx:pt>
          <cx:pt idx="877">5.6182174945521615</cx:pt>
          <cx:pt idx="878">5.6674103636392044</cx:pt>
          <cx:pt idx="879">5.6431221487937773</cx:pt>
          <cx:pt idx="880">5.3649565348369457</cx:pt>
          <cx:pt idx="881">5.3222586165658266</cx:pt>
          <cx:pt idx="882">5.3132884810405896</cx:pt>
          <cx:pt idx="883">5.3400460629120969</cx:pt>
          <cx:pt idx="884">5.4007236637282245</cx:pt>
          <cx:pt idx="885">5.5874448748855743</cx:pt>
          <cx:pt idx="886">5.7890105957893105</cx:pt>
          <cx:pt idx="887">6.1179968173799564</cx:pt>
          <cx:pt idx="888">6.0133950094958735</cx:pt>
          <cx:pt idx="889">5.9746591303720358</cx:pt>
          <cx:pt idx="890">5.9159826381348211</cx:pt>
          <cx:pt idx="891">6.072739161164443</cx:pt>
          <cx:pt idx="892">6.1213776527687038</cx:pt>
          <cx:pt idx="893">6.2430651181102954</cx:pt>
          <cx:pt idx="894">6.1722404136697353</cx:pt>
          <cx:pt idx="895">6.3969281420985507</cx:pt>
          <cx:pt idx="896">6.1863773218108911</cx:pt>
          <cx:pt idx="897">6.3155527783838314</cx:pt>
          <cx:pt idx="898">6.2859083415335375</cx:pt>
          <cx:pt idx="899">6.2609903369994111</cx:pt>
          <cx:pt idx="900">6.3282798955783868</cx:pt>
          <cx:pt idx="901">6.3263724602450591</cx:pt>
          <cx:pt idx="902">6.3263724602450591</cx:pt>
          <cx:pt idx="903">6.5341718908252311</cx:pt>
          <cx:pt idx="904">6.5639208916062026</cx:pt>
          <cx:pt idx="905">6.7514153475698917</cx:pt>
          <cx:pt idx="906">6.6909614792824339</cx:pt>
          <cx:pt idx="907">6.7640020799768417</cx:pt>
          <cx:pt idx="908">6.6405234525704326</cx:pt>
          <cx:pt idx="909">6.6627287220018578</cx:pt>
          <cx:pt idx="910">6.6957698088668893</cx:pt>
          <cx:pt idx="911">6.6957698088668893</cx:pt>
          <cx:pt idx="912">6.8195965094515776</cx:pt>
          <cx:pt idx="913">6.8073658550909002</cx:pt>
          <cx:pt idx="914">6.7399137072821036</cx:pt>
          <cx:pt idx="915">6.5320606313746072</cx:pt>
          <cx:pt idx="916">6.4775474285917172</cx:pt>
          <cx:pt idx="917">6.2408553790381145</cx:pt>
          <cx:pt idx="918">6.5197313251179416</cx:pt>
          <cx:pt idx="919">6.5386560536937361</cx:pt>
          <cx:pt idx="920">6.3304591179217136</cx:pt>
          <cx:pt idx="921">6.0328602087940499</cx:pt>
          <cx:pt idx="922">6.0022984103505346</cx:pt>
          <cx:pt idx="923">5.8530864242427834</cx:pt>
          <cx:pt idx="924">6.0819121312638025</cx:pt>
          <cx:pt idx="925">5.8706360657165559</cx:pt>
          <cx:pt idx="926">6.0077536108162652</cx:pt>
          <cx:pt idx="927">6.0378118895667088</cx:pt>
          <cx:pt idx="928">6.0511231977231272</cx:pt>
          <cx:pt idx="929">6.0917317244194908</cx:pt>
          <cx:pt idx="930">6.1794059157223504</cx:pt>
          <cx:pt idx="931">6.1794059157223513</cx:pt>
          <cx:pt idx="932">6.1270082328210949</cx:pt>
          <cx:pt idx="933">5.8600537442123732</cx:pt>
          <cx:pt idx="934">5.8984704816578093</cx:pt>
          <cx:pt idx="935">5.6516704884790325</cx:pt>
          <cx:pt idx="936">5.6977511191778074</cx:pt>
          <cx:pt idx="937">5.5107001453494115</cx:pt>
          <cx:pt idx="938">5.4058291228771846</cx:pt>
          <cx:pt idx="939">5.6258843493839858</cx:pt>
          <cx:pt idx="940">5.8800265852866813</cx:pt>
          <cx:pt idx="941">5.81555583372496</cx:pt>
          <cx:pt idx="942">5.8526936523711681</cx:pt>
          <cx:pt idx="943">5.833021338126108</cx:pt>
          <cx:pt idx="944">5.8411933908992486</cx:pt>
          <cx:pt idx="945">5.7651350035532918</cx:pt>
          <cx:pt idx="946">5.5889875298836893</cx:pt>
          <cx:pt idx="947">5.7699180256731992</cx:pt>
          <cx:pt idx="948">5.5655962905124108</cx:pt>
          <cx:pt idx="949">5.5936129421981331</cx:pt>
          <cx:pt idx="950">5.5815788974541736</cx:pt>
          <cx:pt idx="951">5.5878562911938321</cx:pt>
          <cx:pt idx="952">5.7204010790981368</cx:pt>
          <cx:pt idx="953">5.7660321224202011</cx:pt>
          <cx:pt idx="954">5.5373341027535306</cx:pt>
          <cx:pt idx="955">5.7155766193756889</cx:pt>
          <cx:pt idx="956">5.4991117360040489</cx:pt>
          <cx:pt idx="957">5.2335126991738337</cx:pt>
          <cx:pt idx="958">5.2017901427926887</cx:pt>
          <cx:pt idx="959">5.2017901427926887</cx:pt>
          <cx:pt idx="960">4.8476798574163293</cx:pt>
          <cx:pt idx="961">5.085024214727774</cx:pt>
          <cx:pt idx="962">4.9531134989351235</cx:pt>
          <cx:pt idx="963">4.9293864298422214</cx:pt>
          <cx:pt idx="964">4.8262929302183739</cx:pt>
          <cx:pt idx="965">4.8942847269550773</cx:pt>
          <cx:pt idx="966">4.8204545023467853</cx:pt>
          <cx:pt idx="967">4.7885159556454715</cx:pt>
          <cx:pt idx="968">4.7596242486677189</cx:pt>
          <cx:pt idx="969">4.5673755637378761</cx:pt>
          <cx:pt idx="970">4.7451124279644832</cx:pt>
          <cx:pt idx="971">4.7885159556454715</cx:pt>
          <cx:pt idx="972">4.9475408961968395</cx:pt>
          <cx:pt idx="973">5.2679905218148448</cx:pt>
          <cx:pt idx="974">5.2649349691981051</cx:pt>
          <cx:pt idx="975">5.2701719747725644</cx:pt>
          <cx:pt idx="976">5.3235542530397364</cx:pt>
          <cx:pt idx="977">5.1621968058249159</cx:pt>
          <cx:pt idx="978">5.1621968058249159</cx:pt>
          <cx:pt idx="979">5.1621968058249159</cx:pt>
          <cx:pt idx="980">5.3482191686450236</cx:pt>
          <cx:pt idx="981">5.5158080034600987</cx:pt>
          <cx:pt idx="982">5.511117290813492</cx:pt>
          <cx:pt idx="983">5.7364533077263111</cx:pt>
          <cx:pt idx="984">5.888231004963723</cx:pt>
          <cx:pt idx="985">5.8250351486285998</cx:pt>
          <cx:pt idx="986">5.9035348849592681</cx:pt>
          <cx:pt idx="987">5.9096647900735011</cx:pt>
          <cx:pt idx="988">6.0840851369801685</cx:pt>
          <cx:pt idx="989">6.1950109700903857</cx:pt>
          <cx:pt idx="990">6.2275804788609239</cx:pt>
          <cx:pt idx="991">6.0004789080903187</cx:pt>
          <cx:pt idx="992">5.9984672371700336</cx:pt>
          <cx:pt idx="993">6.0954099934709687</cx:pt>
          <cx:pt idx="994">6.1228796470626285</cx:pt>
          <cx:pt idx="995">6.0382877987248911</cx:pt>
          <cx:pt idx="996">6.0382877987248911</cx:pt>
          <cx:pt idx="997">6.2330229193099935</cx:pt>
          <cx:pt idx="998">6.2338527044059902</cx:pt>
          <cx:pt idx="999">6.2628259201216121</cx:pt>
          <cx:pt idx="1000">6.0428546196332569</cx:pt>
          <cx:pt idx="1001">5.9869590077868056</cx:pt>
          <cx:pt idx="1002">5.821186038648114</cx:pt>
          <cx:pt idx="1003">5.5378530218807756</cx:pt>
          <cx:pt idx="1004">5.616478219151829</cx:pt>
          <cx:pt idx="1005">5.6512637178949117</cx:pt>
          <cx:pt idx="1006">5.6185243696146774</cx:pt>
          <cx:pt idx="1007">5.6353767633023271</cx:pt>
          <cx:pt idx="1008">5.8882310049637221</cx:pt>
          <cx:pt idx="1009">5.8726915249420726</cx:pt>
          <cx:pt idx="1010">5.7684237572909085</cx:pt>
          <cx:pt idx="1011">5.5878562911938321</cx:pt>
          <cx:pt idx="1012">5.6962379196081345</cx:pt>
          <cx:pt idx="1013">5.5580530784608833</cx:pt>
          <cx:pt idx="1014">5.6568542494923806</cx:pt>
          <cx:pt idx="1015">5.5232008044644525</cx:pt>
          <cx:pt idx="1016">5.563014150330881</cx:pt>
          <cx:pt idx="1017">5.869167439831787</cx:pt>
          <cx:pt idx="1018">5.7615451311996662</cx:pt>
          <cx:pt idx="1019">5.4907445635422674</cx:pt>
          <cx:pt idx="1020">5.4815259222940478</cx:pt>
          <cx:pt idx="1021">5.5158080034600987</cx:pt>
          <cx:pt idx="1022">5.5889875298836902</cx:pt>
          <cx:pt idx="1023">5.35197890138961</cx:pt>
          <cx:pt idx="1024">5.4185717251163057</cx:pt>
          <cx:pt idx="1025">5.4169805390936689</cx:pt>
          <cx:pt idx="1026">5.4177231507277153</cx:pt>
          <cx:pt idx="1027">5.6307856580087279</cx:pt>
          <cx:pt idx="1028">5.6074662870961181</cx:pt>
          <cx:pt idx="1029">5.5960782655376597</cx:pt>
          <cx:pt idx="1030">5.5688996828961574</cx:pt>
          <cx:pt idx="1031">5.6099255224838842</cx:pt>
          <cx:pt idx="1032">5.6908880586909918</cx:pt>
          <cx:pt idx="1033">5.7083322845875371</cx:pt>
          <cx:pt idx="1034">5.7364533077263111</cx:pt>
          <cx:pt idx="1035">5.6381296319902416</cx:pt>
          <cx:pt idx="1036">5.5655962905124117</cx:pt>
          <cx:pt idx="1037">5.6962379196081336</cx:pt>
          <cx:pt idx="1038">5.3149107106393583</cx:pt>
          <cx:pt idx="1039">5.4312844313949009</cx:pt>
          <cx:pt idx="1040">5.2881346253751849</cx:pt>
          <cx:pt idx="1041">5.5069444142472692</cx:pt>
          <cx:pt idx="1042">5.3558433015972717</cx:pt>
          <cx:pt idx="1043">5.3914576963891712</cx:pt>
          <cx:pt idx="1044">5.3914576963891712</cx:pt>
          <cx:pt idx="1045">5.4920004520681935</cx:pt>
          <cx:pt idx="1046">5.4920004520681935</cx:pt>
          <cx:pt idx="1047">5.2583813776335848</cx:pt>
          <cx:pt idx="1048">5.2254901326513643</cx:pt>
          <cx:pt idx="1049">5.4291677142049606</cx:pt>
          <cx:pt idx="1050">5.7375552485257222</cx:pt>
          <cx:pt idx="1051">5.81555583372496</cx:pt>
          <cx:pt idx="1052">5.9797551174247774</cx:pt>
          <cx:pt idx="1053">6.1143321361588105</cx:pt>
          <cx:pt idx="1054">6.3053525884257899</cx:pt>
          <cx:pt idx="1055">6.3394404916464397</cx:pt>
          <cx:pt idx="1056">6.4833119108472115</cx:pt>
          <cx:pt idx="1057">6.122222569900762</cx:pt>
          <cx:pt idx="1058">6.1334770098114051</cx:pt>
          <cx:pt idx="1059">6.0648791101463573</cx:pt>
          <cx:pt idx="1060">6.058052492344383</cx:pt>
          <cx:pt idx="1061">5.8574051765520583</cx:pt>
          <cx:pt idx="1062">5.3609915020504797</cx:pt>
          <cx:pt idx="1063">5.3558433015972717</cx:pt>
          <cx:pt idx="1064">4.9335818514602012</cx:pt>
          <cx:pt idx="1065">4.7441433949369767</cx:pt>
          <cx:pt idx="1066">4.6456010585716792</cx:pt>
          <cx:pt idx="1067">3.9034320295344478</cx:pt>
          <cx:pt idx="1068">3.7448815643534674</cx:pt>
          <cx:pt idx="1069">2.7534722071236351</cx:pt>
          <cx:pt idx="1070">2.5508619232965426</cx:pt>
          <cx:pt idx="1071">2.5694938899664099</cx:pt>
          <cx:pt idx="1072">2.5042492623171708</cx:pt>
          <cx:pt idx="1073">2.5917641442288581</cx:pt>
          <cx:pt idx="1074">2.7352530404703503</cx:pt>
          <cx:pt idx="1075">2.8235463150271589</cx:pt>
          <cx:pt idx="1076">3.002106540108282</cx:pt>
          <cx:pt idx="1077">3.0026807945605851</cx:pt>
          <cx:pt idx="1078">2.8357325879470419</cx:pt>
          <cx:pt idx="1079">2.8464537323790653</cx:pt>
          <cx:pt idx="1080">2.8464537323790653</cx:pt>
          <cx:pt idx="1081">2.9563879794535546</cx:pt>
          <cx:pt idx="1082">3.0126171460983087</cx:pt>
          <cx:pt idx="1083">3.1176177170854444</cx:pt>
          <cx:pt idx="1084">3.1593684804723705</cx:pt>
          <cx:pt idx="1085">3.1593684804723705</cx:pt>
          <cx:pt idx="1086">3.0926312124293052</cx:pt>
          <cx:pt idx="1087">3.1154048094006623</cx:pt>
          <cx:pt idx="1088">3.1805804429416638</cx:pt>
          <cx:pt idx="1089">3.0792221737643901</cx:pt>
          <cx:pt idx="1090">3.0663168216240662</cx:pt>
          <cx:pt idx="1091">3.0522273758720835</cx:pt>
          <cx:pt idx="1092">3.0369373562434778</cx:pt>
          <cx:pt idx="1093">3.0399637021426469</cx:pt>
          <cx:pt idx="1094">3.0399637021426469</cx:pt>
          <cx:pt idx="1095">3.0618152530285303</cx:pt>
          <cx:pt idx="1096">3.0325816929042362</cx:pt>
          <cx:pt idx="1097">3.7008852622228008</cx:pt>
          <cx:pt idx="1098">3.9276502875904304</cx:pt>
          <cx:pt idx="1099">4.0931678426990681</cx:pt>
          <cx:pt idx="1100">4.0606041111054445</cx:pt>
          <cx:pt idx="1101">4.4921387272464761</cx:pt>
          <cx:pt idx="1102">4.6292423848261892</cx:pt>
          <cx:pt idx="1103">4.730556089884173</cx:pt>
          <cx:pt idx="1104">4.6064672179323125</cx:pt>
          <cx:pt idx="1105">4.4546243568812329</cx:pt>
          <cx:pt idx="1106">5.3520862835166341</cx:pt>
          <cx:pt idx="1107">5.9870550011008667</cx:pt>
          <cx:pt idx="1108">6.3350874763757865</cx:pt>
          <cx:pt idx="1109">6.2757515463300786</cx:pt>
          <cx:pt idx="1110">6.3730755490597311</cx:pt>
          <cx:pt idx="1111">6.3922546523296377</cx:pt>
          <cx:pt idx="1112">6.253275004016861</cx:pt>
          <cx:pt idx="1113">6.0784147963742656</cx:pt>
          <cx:pt idx="1114">6.1053020108491092</cx:pt>
          <cx:pt idx="1115">6.1143321361588105</cx:pt>
          <cx:pt idx="1116">6.398724729265945</cx:pt>
          <cx:pt idx="1117">6.2717208769699493</cx:pt>
          <cx:pt idx="1118">5.9951129522590998</cx:pt>
          <cx:pt idx="1119">6.457998693592061</cx:pt>
          <cx:pt idx="1120">6.3706402716888961</cx:pt>
          <cx:pt idx="1121">6.2308096188013247</cx:pt>
          <cx:pt idx="1122">6.0939955373462009</cx:pt>
          <cx:pt idx="1123">5.8018031283584497</cx:pt>
          <cx:pt idx="1124">5.8404062211104986</cx:pt>
          <cx:pt idx="1125">5.511638678246265</cx:pt>
          <cx:pt idx="1126">5.511638678246265</cx:pt>
          <cx:pt idx="1127">5.6491276917910893</cx:pt>
          <cx:pt idx="1128">5.858974842657763</cx:pt>
          <cx:pt idx="1129">5.8565220544887087</cx:pt>
          <cx:pt idx="1130">6.0096665426646583</cx:pt>
          <cx:pt idx="1131">6.2683294443566462</cx:pt>
          <cx:pt idx="1132">6.4771925236560435</cx:pt>
          <cx:pt idx="1133">6.5565620371599049</cx:pt>
          <cx:pt idx="1134">6.4376764566821416</cx:pt>
          <cx:pt idx="1135">6.2061334141333919</cx:pt>
          <cx:pt idx="1136">6.4094936769921453</cx:pt>
          <cx:pt idx="1137">6.5373375015517903</cx:pt>
          <cx:pt idx="1138">6.5649714831606572</cx:pt>
          <cx:pt idx="1139">6.745027968722634</cx:pt>
          <cx:pt idx="1140">6.8364304727829568</cx:pt>
          <cx:pt idx="1141">6.6024203155349408</cx:pt>
          <cx:pt idx="1142">6.7636622059932607</cx:pt>
          <cx:pt idx="1143">6.7565209029976128</cx:pt>
          <cx:pt idx="1144">6.8511262602934675</cx:pt>
          <cx:pt idx="1145">7.0417474320335947</cx:pt>
          <cx:pt idx="1146">7.1503556699577233</cx:pt>
          <cx:pt idx="1147">7.266993560083761</cx:pt>
          <cx:pt idx="1148">7.4293608270732543</cx:pt>
          <cx:pt idx="1149">7.4602394340793854</cx:pt>
          <cx:pt idx="1150">7.3933800771715532</cx:pt>
          <cx:pt idx="1151">7.180433182591087</cx:pt>
          <cx:pt idx="1152">7.2050429338180155</cx:pt>
          <cx:pt idx="1153">7.4096085490783326</cx:pt>
          <cx:pt idx="1154">7.3183755499192005</cx:pt>
          <cx:pt idx="1155">7.4929085247932621</cx:pt>
          <cx:pt idx="1156">7.4943656997359911</cx:pt>
          <cx:pt idx="1157">7.678601405218914</cx:pt>
          <cx:pt idx="1158">7.7154122512602363</cx:pt>
          <cx:pt idx="1159">7.7712260308775285</cx:pt>
          <cx:pt idx="1160">7.616452246786964</cx:pt>
          <cx:pt idx="1161">7.5700559526622246</cx:pt>
          <cx:pt idx="1162">7.4219308452224464</cx:pt>
          <cx:pt idx="1163">7.3171189607015048</cx:pt>
          <cx:pt idx="1164">7.2384668472578211</cx:pt>
          <cx:pt idx="1165">7.4114698311111864</cx:pt>
          <cx:pt idx="1166">7.2139711193173506</cx:pt>
          <cx:pt idx="1167">7.2225699886798829</cx:pt>
          <cx:pt idx="1168">7.2286944179779606</cx:pt>
          <cx:pt idx="1169">7.0093533569622979</cx:pt>
          <cx:pt idx="1170">6.9782091039786556</cx:pt>
          <cx:pt idx="1171">6.9782091039786556</cx:pt>
          <cx:pt idx="1172">6.9099295536772019</cx:pt>
          <cx:pt idx="1173">6.9365763856547398</cx:pt>
          <cx:pt idx="1174">6.8397922936803921</cx:pt>
          <cx:pt idx="1175">6.6984300785513451</cx:pt>
          <cx:pt idx="1176">6.5713589630067881</cx:pt>
          <cx:pt idx="1177">6.5143519715467786</cx:pt>
          <cx:pt idx="1178">6.3296419974665188</cx:pt>
          <cx:pt idx="1179">5.9927158849857829</cx:pt>
          <cx:pt idx="1180">5.973119864822757</cx:pt>
          <cx:pt idx="1181">5.9450549333811491</cx:pt>
          <cx:pt idx="1182">5.9049949633544463</cx:pt>
          <cx:pt idx="1183">5.689272017750076</cx:pt>
          <cx:pt idx="1184">5.8108103773380275</cx:pt>
          <cx:pt idx="1185">5.48184044939687</cx:pt>
          <cx:pt idx="1186">5.3909246855727124</cx:pt>
          <cx:pt idx="1187">4.9136216949333349</cx:pt>
          <cx:pt idx="1188">4.9947098451042784</cx:pt>
          <cx:pt idx="1189">5.053847970640275</cx:pt>
          <cx:pt idx="1190">5.0836677862464157</cx:pt>
          <cx:pt idx="1191">4.9666705237970064</cx:pt>
          <cx:pt idx="1192">5.0456536434494952</cx:pt>
          <cx:pt idx="1193">5.402106868684629</cx:pt>
          <cx:pt idx="1194">5.6503483770126239</cx:pt>
          <cx:pt idx="1195">5.498589160741207</cx:pt>
          <cx:pt idx="1196">5.4629367707231919</cx:pt>
          <cx:pt idx="1197">5.2832417773712503</cx:pt>
          <cx:pt idx="1198">5.4747067312417244</cx:pt>
          <cx:pt idx="1199">5.5236170058745211</cx:pt>
          <cx:pt idx="1200">5.5589836166852225</cx:pt>
          <cx:pt idx="1201">5.625884349383985</cx:pt>
          <cx:pt idx="1202">5.7098422789578613</cx:pt>
          <cx:pt idx="1203">5.8274025680104833</cx:pt>
          <cx:pt idx="1204">5.9383809086393198</cx:pt>
          <cx:pt idx="1205">6.0747262366772317</cx:pt>
          <cx:pt idx="1206">5.984750736606359</cx:pt>
          <cx:pt idx="1207">5.943121204819267</cx:pt>
          <cx:pt idx="1208">5.9977007088636434</cx:pt>
          <cx:pt idx="1209">6.1682352773529647</cx:pt>
          <cx:pt idx="1210">6.1764290542407236</cx:pt>
          <cx:pt idx="1211">6.4473107643384173</cx:pt>
          <cx:pt idx="1212">6.6505552442988742</cx:pt>
          <cx:pt idx="1213">6.674363373145157</cx:pt>
          <cx:pt idx="1214">6.583591585215439</cx:pt>
          <cx:pt idx="1215">6.6107714262841304</cx:pt>
          <cx:pt idx="1216">6.4673361426177003</cx:pt>
          <cx:pt idx="1217">6.6038129007101816</cx:pt>
          <cx:pt idx="1218">6.4344618151462152</cx:pt>
          <cx:pt idx="1219">6.3622449590958237</cx:pt>
          <cx:pt idx="1220">6.441692502661903</cx:pt>
          <cx:pt idx="1221">6.6045090831859001</cx:pt>
          <cx:pt idx="1222">6.6523697272855902</cx:pt>
          <cx:pt idx="1223">6.6277022248747102</cx:pt>
          <cx:pt idx="1224">6.5932741765996719</cx:pt>
          <cx:pt idx="1225">6.6207614938631272</cx:pt>
          <cx:pt idx="1226">6.83542160409635</cx:pt>
          <cx:pt idx="1227">6.9216468706731096</cx:pt>
          <cx:pt idx="1228">6.7941827720653718</cx:pt>
          <cx:pt idx="1229">6.8856839658933602</cx:pt>
          <cx:pt idx="1230">6.8460912583196976</cx:pt>
          <cx:pt idx="1231">6.8174893413587547</cx:pt>
          <cx:pt idx="1232">6.8144538746105985</cx:pt>
          <cx:pt idx="1233">7.2563091850131176</cx:pt>
          <cx:pt idx="1234">7.5417611285123733</cx:pt>
          <cx:pt idx="1235">7.4726320587231827</cx:pt>
          <cx:pt idx="1236">7.6281390749727702</cx:pt>
          <cx:pt idx="1237">7.7073632505456802</cx:pt>
          <cx:pt idx="1238">7.7933806277632431</cx:pt>
          <cx:pt idx="1239">7.52436654835628</cx:pt>
          <cx:pt idx="1240">7.765233452685929</cx:pt>
          <cx:pt idx="1241">7.6702889993359005</cx:pt>
          <cx:pt idx="1242">7.4553074514336624</cx:pt>
          <cx:pt idx="1243">7.3209665840063716</cx:pt>
          <cx:pt idx="1244">7.2699191287063885</cx:pt>
          <cx:pt idx="1245">7.4460511790424562</cx:pt>
          <cx:pt idx="1246">7.3324973400185627</cx:pt>
          <cx:pt idx="1247">7.3281852358257629</cx:pt>
          <cx:pt idx="1248">6.9547800480850146</cx:pt>
          <cx:pt idx="1249">7.098324231574078</cx:pt>
          <cx:pt idx="1250">7.1666533012438869</cx:pt>
          <cx:pt idx="1251">7.2317944228740787</cx:pt>
          <cx:pt idx="1252">6.757286403596483</cx:pt>
          <cx:pt idx="1253">5.9499830966629395</cx:pt>
          <cx:pt idx="1254">4.9513727343054059</cx:pt>
          <cx:pt idx="1255">4.8100708528248735</cx:pt>
          <cx:pt idx="1256">4.9065988875878341</cx:pt>
          <cx:pt idx="1257">3.6230424758218334</cx:pt>
          <cx:pt idx="1258">3.5616088318714021</cx:pt>
          <cx:pt idx="1259">3.6149434424281144</cx:pt>
          <cx:pt idx="1260">3.5616088318714012</cx:pt>
          <cx:pt idx="1261">3.3726417900035224</cx:pt>
          <cx:pt idx="1262">3.3646232560529592</cx:pt>
          <cx:pt idx="1263">3.3646232560529592</cx:pt>
          <cx:pt idx="1264">3.438958676926664</cx:pt>
          <cx:pt idx="1265">3.5404071458831807</cx:pt>
          <cx:pt idx="1266">3.5499716689819807</cx:pt>
          <cx:pt idx="1267">3.5751376470567258</cx:pt>
          <cx:pt idx="1268">3.7114299998353939</cx:pt>
          <cx:pt idx="1269">3.6358685660905095</cx:pt>
          <cx:pt idx="1270">3.6001277116555026</cx:pt>
          <cx:pt idx="1271">3.4376214712080126</cx:pt>
          <cx:pt idx="1272">3.4180050644622595</cx:pt>
          <cx:pt idx="1273">3.3884523304013445</cx:pt>
          <cx:pt idx="1274">3.3870951851259576</cx:pt>
          <cx:pt idx="1275">3.3603502827813205</cx:pt>
          <cx:pt idx="1276">3.3218191941495987</cx:pt>
          <cx:pt idx="1277">3.3218191941495987</cx:pt>
          <cx:pt idx="1278">3.4275757996095373</cx:pt>
          <cx:pt idx="1279">4.9461467645119415</cx:pt>
          <cx:pt idx="1280">5.9348958293930583</cx:pt>
          <cx:pt idx="1281">5.9159826381348219</cx:pt>
          <cx:pt idx="1282">5.943121204819267</cx:pt>
          <cx:pt idx="1283">6.0423790701665032</cx:pt>
          <cx:pt idx="1284">6.6357616995589384</cx:pt>
          <cx:pt idx="1285">7.2155642756538425</cx:pt>
          <cx:pt idx="1286">7.5048643229406302</cx:pt>
          <cx:pt idx="1287">7.5140481459882782</cx:pt>
          <cx:pt idx="1288">7.5014174905691053</cx:pt>
          <cx:pt idx="1289">7.5645877948337095</cx:pt>
          <cx:pt idx="1290">7.6525857698896287</cx:pt>
          <cx:pt idx="1291">7.6279130482238955</cx:pt>
          <cx:pt idx="1292">7.7374295532789201</cx:pt>
          <cx:pt idx="1293">7.5418373321643308</cx:pt>
          <cx:pt idx="1294">7.3268518901837814</cx:pt>
          <cx:pt idx="1295">7.1241857772313706</cx:pt>
          <cx:pt idx="1296">7.0941938377025302</cx:pt>
          <cx:pt idx="1297">7.1602350182966328</cx:pt>
          <cx:pt idx="1298">7.3331243439395042</cx:pt>
          <cx:pt idx="1299">7.1964231217408576</cx:pt>
          <cx:pt idx="1300">6.8869358249856862</cx:pt>
          <cx:pt idx="1301">6.8215345292194582</cx:pt>
          <cx:pt idx="1302">7.0339080224982711</cx:pt>
          <cx:pt idx="1303">6.8195965094515785</cx:pt>
          <cx:pt idx="1304">6.8195965094515776</cx:pt>
          <cx:pt idx="1305">6.5754681665411008</cx:pt>
          <cx:pt idx="1306">6.46866896362146</cx:pt>
          <cx:pt idx="1307">6.5478784841869331</cx:pt>
          <cx:pt idx="1308">6.5210534372166027</cx:pt>
          <cx:pt idx="1309">6.4137961933004544</cx:pt>
          <cx:pt idx="1310">6.3680235660627886</cx:pt>
          <cx:pt idx="1311">6.2460102207858199</cx:pt>
          <cx:pt idx="1312">6.3589921850239284</cx:pt>
          <cx:pt idx="1313">6.4097626688719433</cx:pt>
          <cx:pt idx="1314">6.3114564688842378</cx:pt>
          <cx:pt idx="1315">6.1584443475287802</cx:pt>
          <cx:pt idx="1316">6.1838685210034559</cx:pt>
          <cx:pt idx="1317">6.190556397105766</cx:pt>
          <cx:pt idx="1318">6.201964835122169</cx:pt>
          <cx:pt idx="1319">6.4779910324183039</cx:pt>
          <cx:pt idx="1320">6.4779910324183039</cx:pt>
          <cx:pt idx="1321">6.3828073670648626</cx:pt>
          <cx:pt idx="1322">6.365857203160818</cx:pt>
          <cx:pt idx="1323">6.327190002942328</cx:pt>
          <cx:pt idx="1324">6.398724729265945</cx:pt>
          <cx:pt idx="1325">6.632903006893029</cx:pt>
          <cx:pt idx="1326">6.6991164282717337</cx:pt>
          <cx:pt idx="1327">6.6513329404757258</cx:pt>
          <cx:pt idx="1328">6.5587530353955499</cx:pt>
          <cx:pt idx="1329">6.6159855175035034</cx:pt>
          <cx:pt idx="1330">6.7179635666441833</cx:pt>
          <cx:pt idx="1331">6.6578102091910969</cx:pt>
          <cx:pt idx="1332">6.3177363907849369</cx:pt>
          <cx:pt idx="1333">6.1494789985837821</cx:pt>
          <cx:pt idx="1334">6.0454219403430889</cx:pt>
          <cx:pt idx="1335">6.2440776538353875</cx:pt>
          <cx:pt idx="1336">6.0211313711382983</cx:pt>
          <cx:pt idx="1337">5.9218085153062843</cx:pt>
          <cx:pt idx="1338">6.0211313711382974</cx:pt>
          <cx:pt idx="1339">5.8844232327059203</cx:pt>
          <cx:pt idx="1340">5.9271438722844101</cx:pt>
          <cx:pt idx="1341">6.1053020108491083</cx:pt>
          <cx:pt idx="1342">5.8447343429988239</cx:pt>
          <cx:pt idx="1343">6.0613719474272045</cx:pt>
          <cx:pt idx="1344">6.0795492875894901</cx:pt>
          <cx:pt idx="1345">6.0656371489719447</cx:pt>
          <cx:pt idx="1346">5.8639753492448889</cx:pt>
          <cx:pt idx="1347">5.7724076133942939</cx:pt>
          <cx:pt idx="1348">5.7324444646441961</cx:pt>
          <cx:pt idx="1349">5.6451586418765967</cx:pt>
          <cx:pt idx="1350">5.6564478516866536</cx:pt>
          <cx:pt idx="1351">5.5443872416216982</cx:pt>
          <cx:pt idx="1352">5.8432592070624034</cx:pt>
          <cx:pt idx="1353">5.9043136383689756</cx:pt>
          <cx:pt idx="1354">6.0154016882718961</cx:pt>
          <cx:pt idx="1355">5.7022883085672706</cx:pt>
          <cx:pt idx="1356">5.5469780527095454</cx:pt>
          <cx:pt idx="1357">5.3287336487059074</cx:pt>
          <cx:pt idx="1358">5.5003657140689981</cx:pt>
          <cx:pt idx="1359">5.8187173212287782</cx:pt>
          <cx:pt idx="1360">5.818717321228779</cx:pt>
          <cx:pt idx="1361">5.7519611847842267</cx:pt>
          <cx:pt idx="1362">5.8160499294288392</cx:pt>
          <cx:pt idx="1363">5.9154968893809645</cx:pt>
          <cx:pt idx="1364">5.9476644696618663</cx:pt>
          <cx:pt idx="1365">5.7256229897444051</cx:pt>
          <cx:pt idx="1366">5.7411601214588917</cx:pt>
          <cx:pt idx="1367">5.8108103773380275</cx:pt>
          <cx:pt idx="1368">6.0099534299264796</cx:pt>
          <cx:pt idx="1369">5.994729485906384</cx:pt>
          <cx:pt idx="1370">6.0875792142406802</cx:pt>
          <cx:pt idx="1371">5.8926215308423737</cx:pt>
          <cx:pt idx="1372">5.9290828117429557</cx:pt>
          <cx:pt idx="1373">5.804180023666258</cx:pt>
          <cx:pt idx="1374">5.930245871121536</cx:pt>
          <cx:pt idx="1375">6.1199691983298203</cx:pt>
          <cx:pt idx="1376">6.2935836692856366</cx:pt>
          <cx:pt idx="1377">6.2935836692856357</cx:pt>
          <cx:pt idx="1378">6.3285523394093595</cx:pt>
          <cx:pt idx="1379">6.5231682592074103</cx:pt>
          <cx:pt idx="1380">6.4985409503025089</cx:pt>
          <cx:pt idx="1381">6.4971258013186821</cx:pt>
          <cx:pt idx="1382">6.3417065037188793</cx:pt>
          <cx:pt idx="1383">6.2900212890014888</cx:pt>
          <cx:pt idx="1384">6.1853553406134374</cx:pt>
          <cx:pt idx="1385">6.201686830228522</cx:pt>
          <cx:pt idx="1386">6.2141847376806387</cx:pt>
          <cx:pt idx="1387">6.2019648351221699</cx:pt>
          <cx:pt idx="1388">6.2252729248207057</cx:pt>
          <cx:pt idx="1389">5.8933042075527222</cx:pt>
          <cx:pt idx="1390">6.0458021914325837</cx:pt>
          <cx:pt idx="1391">6.1134861285258628</cx:pt>
          <cx:pt idx="1392">6.2020575006508372</cx:pt>
          <cx:pt idx="1393">6.1191239700564601</cx:pt>
          <cx:pt idx="1394">6.2455501400376363</cx:pt>
          <cx:pt idx="1395">6.3405282785091899</cx:pt>
          <cx:pt idx="1396">6.4932325513196627</cx:pt>
          <cx:pt idx="1397">6.325373097895981</cx:pt>
          <cx:pt idx="1398">6.0795492875894892</cx:pt>
          <cx:pt idx="1399">6.3285523394093603</cx:pt>
          <cx:pt idx="1400">6.3285523394093595</cx:pt>
          <cx:pt idx="1401">6.4750626855351134</cx:pt>
          <cx:pt idx="1402">6.4750626855351134</cx:pt>
          <cx:pt idx="1403">6.5147048521283626</cx:pt>
          <cx:pt idx="1404">6.4094936769921453</cx:pt>
          <cx:pt idx="1405">6.1495724550012696</cx:pt>
          <cx:pt idx="1406">5.79496412373729</cx:pt>
          <cx:pt idx="1407">5.9407031589693569</cx:pt>
          <cx:pt idx="1408">6.0553956181205892</cx:pt>
          <cx:pt idx="1409">5.8659351686068639</cx:pt>
          <cx:pt idx="1410">5.8902803243012611</cx:pt>
          <cx:pt idx="1411">6.1011587367511169</cx:pt>
          <cx:pt idx="1412">6.1626423650525295</cx:pt>
          <cx:pt idx="1413">6.3969281420985515</cx:pt>
          <cx:pt idx="1414">6.3108190262127772</cx:pt>
          <cx:pt idx="1415">6.3318207510153428</cx:pt>
          <cx:pt idx="1416">6.3241918297005011</cx:pt>
          <cx:pt idx="1417">6.3285523394093595</cx:pt>
          <cx:pt idx="1418">6.4036627450018111</cx:pt>
          <cx:pt idx="1419">6.6024203155349408</cx:pt>
          <cx:pt idx="1420">6.4771925236560435</cx:pt>
          <cx:pt idx="1421">6.3132773790138357</cx:pt>
          <cx:pt idx="1422">6.2669540164004847</cx:pt>
          <cx:pt idx="1423">6.3946816983324899</cx:pt>
          <cx:pt idx="1424">6.3946816983324899</cx:pt>
          <cx:pt idx="1425">6.548141791343574</cx:pt>
          <cx:pt idx="1426">6.548141791343574</cx:pt>
          <cx:pt idx="1427">6.5657593165070285</cx:pt>
          <cx:pt idx="1428">6.7043475344039978</cx:pt>
          <cx:pt idx="1429">6.4598672631464549</cx:pt>
          <cx:pt idx="1430">6.4615574080813563</cx:pt>
          <cx:pt idx="1431">6.3976468375076214</cx:pt>
          <cx:pt idx="1432">6.3688357621717051</cx:pt>
          <cx:pt idx="1433">6.2075223183918826</cx:pt>
          <cx:pt idx="1434">6.3539290044116363</cx:pt>
          <cx:pt idx="1435">6.4000718386772721</cx:pt>
          <cx:pt idx="1436">6.4952679503717503</cx:pt>
          <cx:pt idx="1437">6.4952679503717503</cx:pt>
          <cx:pt idx="1438">6.4097626688719442</cx:pt>
          <cx:pt idx="1439">6.3373550449313827</cx:pt>
          <cx:pt idx="1440">6.3554664677731161</cx:pt>
          <cx:pt idx="1441">6.2614492832280275</cx:pt>
          <cx:pt idx="1442">6.174102382523718</cx:pt>
          <cx:pt idx="1443">6.1271020319841938</cx:pt>
          <cx:pt idx="1444">5.9981798005345128</cx:pt>
          <cx:pt idx="1445">6.072833798551347</cx:pt>
          <cx:pt idx="1446">6.3684747989112607</cx:pt>
          <cx:pt idx="1447">6.4913735861127853</cx:pt>
          <cx:pt idx="1448">6.339440491646438</cx:pt>
          <cx:pt idx="1449">6.2867311462911415</cx:pt>
          <cx:pt idx="1450">6.4151401378696127</cx:pt>
          <cx:pt idx="1451">6.6937095191259077</cx:pt>
          <cx:pt idx="1452">6.7309543993728536</cx:pt>
          <cx:pt idx="1453">6.7350515618092999</cx:pt>
          <cx:pt idx="1454">6.7790244441064766</cx:pt>
          <cx:pt idx="1455">6.5239611407117719</cx:pt>
          <cx:pt idx="1456">6.3332728369766462</cx:pt>
          <cx:pt idx="1457">6.3489523074519028</cx:pt>
          <cx:pt idx="1458">6.2900212890014888</cx:pt>
          <cx:pt idx="1459">6.2944054707243842</cx:pt>
          <cx:pt idx="1460">5.9682108064213892</cx:pt>
          <cx:pt idx="1461">6.1045488974517452</cx:pt>
          <cx:pt idx="1462">6.0765235069926682</cx:pt>
          <cx:pt idx="1463">6.1606836461959107</cx:pt>
          <cx:pt idx="1464">6.2462862529684777</cx:pt>
          <cx:pt idx="1465">6.5210534372166027</cx:pt>
          <cx:pt idx="1466">6.4430306283736485</cx:pt>
          <cx:pt idx="1467">6.3035293890502873</cx:pt>
          <cx:pt idx="1468">6.3296419974665206</cx:pt>
          <cx:pt idx="1469">6.3864079807472152</cx:pt>
          <cx:pt idx="1470">6.3676625567614362</cx:pt>
          <cx:pt idx="1471">6.339168515764853</cx:pt>
          <cx:pt idx="1472">6.3828073670648626</cx:pt>
          <cx:pt idx="1473">6.5901354354422228</cx:pt>
          <cx:pt idx="1474">6.7708808574813144</cx:pt>
          <cx:pt idx="1475">6.7708808574813144</cx:pt>
          <cx:pt idx="1476">6.5122342865025091</cx:pt>
          <cx:pt idx="1477">6.473731180880069</cx:pt>
          <cx:pt idx="1478">6.3712717292763354</cx:pt>
          <cx:pt idx="1479">6.3712717292763354</cx:pt>
          <cx:pt idx="1480">6.2694295694613871</cx:pt>
          <cx:pt idx="1481">5.9774480388767302</cx:pt>
          <cx:pt idx="1482">5.9861910058584575</cx:pt>
          <cx:pt idx="1483">5.8285859171074632</cx:pt>
          <cx:pt idx="1484">5.6665990530110921</cx:pt>
          <cx:pt idx="1485">5.8683840224104937</cx:pt>
          <cx:pt idx="1486">6.2706211538548891</cx:pt>
          <cx:pt idx="1487">6.2462862529684777</cx:pt>
          <cx:pt idx="1488">6.3435187305672454</cx:pt>
          <cx:pt idx="1489">6.3535671942582006</cx:pt>
          <cx:pt idx="1490">6.3663085895573159</cx:pt>
          <cx:pt idx="1491">6.1741954662265446</cx:pt>
          <cx:pt idx="1492">6.1900921947342873</cx:pt>
          <cx:pt idx="1493">6.1109474028925774</cx:pt>
          <cx:pt idx="1494">6.1532161481226417</cx:pt>
          <cx:pt idx="1495">5.8639753492448898</cx:pt>
          <cx:pt idx="1496">5.8574051765520592</cx:pt>
          <cx:pt idx="1497">5.7934763153129367</cx:pt>
          <cx:pt idx="1498">5.7014819610101508</cx:pt>
          <cx:pt idx="1499">5.6625407562411363</cx:pt>
          <cx:pt idx="1500">5.8848138868411644</cx:pt>
          <cx:pt idx="1501">5.8344990625026956</cx:pt>
          <cx:pt idx="1502">5.8762134965870052</cx:pt>
          <cx:pt idx="1503">5.7759907345421908</cx:pt>
          <cx:pt idx="1504">5.7759907345421908</cx:pt>
          <cx:pt idx="1505">5.571788544642275</cx:pt>
          <cx:pt idx="1506">5.7264259379641418</cx:pt>
          <cx:pt idx="1507">5.5207029370851162</cx:pt>
          <cx:pt idx="1508">5.534115718125995</cx:pt>
          <cx:pt idx="1509">5.5877534399566278</cx:pt>
          <cx:pt idx="1510">5.6182174945521606</cx:pt>
          <cx:pt idx="1511">5.39955298277488</cx:pt>
          <cx:pt idx="1512">5.3601338120198667</cx:pt>
          <cx:pt idx="1513">5.6246583548865789</cx:pt>
          <cx:pt idx="1514">5.7934763153129367</cx:pt>
          <cx:pt idx="1515">5.7219078885505903</cx:pt>
          <cx:pt idx="1516">5.441855667274563</cx:pt>
          <cx:pt idx="1517">5.4515630996884781</cx:pt>
          <cx:pt idx="1518">5.301160141947677</cx:pt>
          <cx:pt idx="1519">5.3687045463265273</cx:pt>
          <cx:pt idx="1520">5.5373341027535306</cx:pt>
          <cx:pt idx="1521">5.7922857934190093</cx:pt>
          <cx:pt idx="1522">5.9573194620075389</cx:pt>
          <cx:pt idx="1523">5.9465048171366925</cx:pt>
          <cx:pt idx="1524">5.8952542768319791</cx:pt>
          <cx:pt idx="1525">5.932571305837846</cx:pt>
          <cx:pt idx="1526">5.9232640892724318</cx:pt>
          <cx:pt idx="1527">6.1517215607437512</cx:pt>
          <cx:pt idx="1528">6.1191239700564601</cx:pt>
          <cx:pt idx="1529">6.0156883020255005</cx:pt>
          <cx:pt idx="1530">5.9287920112484711</cx:pt>
          <cx:pt idx="1531">5.981196589619687</cx:pt>
          <cx:pt idx="1532">6.1010645387298705</cx:pt>
          <cx:pt idx="1533">6.1741023825237198</cx:pt>
          <cx:pt idx="1534">6.1236305060570606</cx:pt>
          <cx:pt idx="1535">6.0807780808845102</cx:pt>
          <cx:pt idx="1536">5.9019770698752572</cx:pt>
          <cx:pt idx="1537">6.0320980509729551</cx:pt>
          <cx:pt idx="1538">6.0325744108952781</cx:pt>
          <cx:pt idx="1539">6.1615231733794484</cx:pt>
          <cx:pt idx="1540">6.09173172441949</cx:pt>
          <cx:pt idx="1541">6.0897501977720214</cx:pt>
          <cx:pt idx="1542">6.1120758555803132</cx:pt>
          <cx:pt idx="1543">5.8545590840784518</cx:pt>
          <cx:pt idx="1544">5.6969441294252752</cx:pt>
          <cx:pt idx="1545">5.9369290409084066</cx:pt>
          <cx:pt idx="1546">5.9970299162245269</cx:pt>
          <cx:pt idx="1547">6.2418682732199562</cx:pt>
          <cx:pt idx="1548">6.2108544213882642</cx:pt>
          <cx:pt idx="1549">6.17828976075225</cx:pt>
          <cx:pt idx="1550">6.0568190885368507</cx:pt>
          <cx:pt idx="1551">5.9499830966629403</cx:pt>
          <cx:pt idx="1552">5.8427674123212165</cx:pt>
          <cx:pt idx="1553">5.8574051765520592</cx:pt>
          <cx:pt idx="1554">5.7770851338437224</cx:pt>
          <cx:pt idx="1555">5.7564556464195409</cx:pt>
          <cx:pt idx="1556">5.8569145696229912</cx:pt>
          <cx:pt idx="1557">5.7183913821983179</cx:pt>
          <cx:pt idx="1558">5.7219078885505912</cx:pt>
          <cx:pt idx="1559">5.8427674123212165</cx:pt>
          <cx:pt idx="1560">5.8427674123212165</cx:pt>
          <cx:pt idx="1561">5.9732160805404986</cx:pt>
          <cx:pt idx="1562">5.6780480699847438</cx:pt>
          <cx:pt idx="1563">5.4519847698828441</cx:pt>
          <cx:pt idx="1564">5.4414332121508995</cx:pt>
          <cx:pt idx="1565">5.4423836900649567</cx:pt>
          <cx:pt idx="1566">5.4246139753543021</cx:pt>
          <cx:pt idx="1567">5.3558433015972717</cx:pt>
          <cx:pt idx="1568">5.4376296390940446</cx:pt>
          <cx:pt idx="1569">5.1734290191411691</cx:pt>
          <cx:pt idx="1570">5.1888474569054823</cx:pt>
          <cx:pt idx="1571">5.4312844313949027</cx:pt>
          <cx:pt idx="1572">5.4177231507277144</cx:pt>
          <cx:pt idx="1573">5.4373125545706831</cx:pt>
          <cx:pt idx="1574">5.4177231507277144</cx:pt>
          <cx:pt idx="1575">5.1238679714162965</cx:pt>
          <cx:pt idx="1576">5.0623696236936864</cx:pt>
          <cx:pt idx="1577">4.766863592106148</cx:pt>
          <cx:pt idx="1578">4.7002078701892005</cx:pt>
          <cx:pt idx="1579">4.5814468426921424</cx:pt>
          <cx:pt idx="1580">4.7538248363515301</cx:pt>
          <cx:pt idx="1581">4.753824836351531</cx:pt>
          <cx:pt idx="1582">4.7294625584683532</cx:pt>
          <cx:pt idx="1583">4.7989462444865199</cx:pt>
          <cx:pt idx="1584">4.780347700526713</cx:pt>
          <cx:pt idx="1585">4.8735740620135282</cx:pt>
          <cx:pt idx="1586">4.7628833148907148</cx:pt>
          <cx:pt idx="1587">4.6337095687813763</cx:pt>
          <cx:pt idx="1588">4.6337095687813763</cx:pt>
          <cx:pt idx="1589">4.2237696297333107</cx:pt>
          <cx:pt idx="1590">4.2540041988857897</cx:pt>
          <cx:pt idx="1591">4.0826236774841282</cx:pt>
          <cx:pt idx="1592">4.1117996731022943</cx:pt>
          <cx:pt idx="1593">4.3179656768213075</cx:pt>
          <cx:pt idx="1594">4.280536006827548</cx:pt>
          <cx:pt idx="1595">4.4931621100430412</cx:pt>
          <cx:pt idx="1596">4.5008300639290759</cx:pt>
          <cx:pt idx="1597">4.5914713540870871</cx:pt>
          <cx:pt idx="1598">4.7749345545253297</cx:pt>
          <cx:pt idx="1599">4.8261738492296882</cx:pt>
          <cx:pt idx="1600">4.8333135156153366</cx:pt>
          <cx:pt idx="1601">4.6910283655544847</cx:pt>
          <cx:pt idx="1602">4.853722353993394</cx:pt>
          <cx:pt idx="1603">4.8953414401951525</cx:pt>
          <cx:pt idx="1604">4.8262929302183739</cx:pt>
          <cx:pt idx="1605">4.8046911941626771</cx:pt>
          <cx:pt idx="1606">4.8161605349957526</cx:pt>
          <cx:pt idx="1607">4.8528934371819537</cx:pt>
          <cx:pt idx="1608">4.7396590400673295</cx:pt>
          <cx:pt idx="1609">4.686615816993319</cx:pt>
          <cx:pt idx="1610">4.5737883892769959</cx:pt>
          <cx:pt idx="1611">4.8844110458035583</cx:pt>
          <cx:pt idx="1612">5.0887525287491204</cx:pt>
          <cx:pt idx="1613">5.0441726934076652</cx:pt>
          <cx:pt idx="1614">5.3777959848968253</cx:pt>
          <cx:pt idx="1615">5.2959537797059379</cx:pt>
          <cx:pt idx="1616">5.5253855121132744</cx:pt>
          <cx:pt idx="1617">5.6390469562429297</cx:pt>
          <cx:pt idx="1618">5.6120764694407521</cx:pt>
          <cx:pt idx="1619">5.7818582702684145</cx:pt>
          <cx:pt idx="1620">5.8293746830515456</cx:pt>
          <cx:pt idx="1621">6.1217531858909116</cx:pt>
          <cx:pt idx="1622">6.2935836692856357</cx:pt>
          <cx:pt idx="1623">6.0670582164916498</cx:pt>
          <cx:pt idx="1624">5.9778326138008149</cx:pt>
          <cx:pt idx="1625">5.8526936523711672</cx:pt>
          <cx:pt idx="1626">6.0549210536155833</cx:pt>
          <cx:pt idx="1627">6.0397153011992408</cx:pt>
          <cx:pt idx="1628">5.9708102224609068</cx:pt>
          <cx:pt idx="1629">5.9797551174247774</cx:pt>
          <cx:pt idx="1630">6.1458330898110223</cx:pt>
          <cx:pt idx="1631">6.2680543829107318</cx:pt>
          <cx:pt idx="1632">6.0439957856927116</cx:pt>
          <cx:pt idx="1633">6.0499833760577157</cx:pt>
          <cx:pt idx="1634">6.0499833760577157</cx:pt>
          <cx:pt idx="1635">6.0670582164916516</cx:pt>
          <cx:pt idx="1636">5.9797551174247774</cx:pt>
          <cx:pt idx="1637">6.1203448178722066</cx:pt>
          <cx:pt idx="1638">6.0670582164916516</cx:pt>
          <cx:pt idx="1639">6.1662783350856882</cx:pt>
          <cx:pt idx="1640">6.1662783350856882</cx:pt>
          <cx:pt idx="1641">5.9905097359533386</cx:pt>
          <cx:pt idx="1642">5.7711131618117451</cx:pt>
          <cx:pt idx="1643">5.7516614291352637</cx:pt>
          <cx:pt idx="1644">5.5646668580768885</cx:pt>
          <cx:pt idx="1645">5.6771370476210334</cx:pt>
          <cx:pt idx="1646">5.5646668580768885</cx:pt>
          <cx:pt idx="1647">5.5543293665971651</cx:pt>
          <cx:pt idx="1648">5.5593971392340844</cx:pt>
          <cx:pt idx="1649">5.6552284830413617</cx:pt>
          <cx:pt idx="1650">5.7391576938155957</cx:pt>
          <cx:pt idx="1651">5.4802676333673102</cx:pt>
          <cx:pt idx="1652">5.4329772113741051</cx:pt>
          <cx:pt idx="1653">5.3456395378818353</cx:pt>
          <cx:pt idx="1654">5.2832417773712486</cx:pt>
          <cx:pt idx="1655">5.177426689624566</cx:pt>
          <cx:pt idx="1656">5.1157858015964761</cx:pt>
          <cx:pt idx="1657">5.11207720338155</cx:pt>
          <cx:pt idx="1658">4.7265452378092681</cx:pt>
          <cx:pt idx="1659">4.62824909173787</cx:pt>
          <cx:pt idx="1660">4.5480828346968751</cx:pt>
          <cx:pt idx="1661">4.792834690224157</cx:pt>
          <cx:pt idx="1662">4.8375922575775974</cx:pt>
          <cx:pt idx="1663">4.8546695141846712</cx:pt>
          <cx:pt idx="1664">4.9960904255457468</cx:pt>
          <cx:pt idx="1665">4.9975856239753931</cx:pt>
          <cx:pt idx="1666">5.2959537797059388</cx:pt>
          <cx:pt idx="1667">5.2357085173031654</cx:pt>
          <cx:pt idx="1668">5.2172349218609151</cx:pt>
          <cx:pt idx="1669">5.169428257142866</cx:pt>
          <cx:pt idx="1670">5.2004641702646985</cx:pt>
          <cx:pt idx="1671">5.4186777875711751</cx:pt>
          <cx:pt idx="1672">5.4439674511513569</cx:pt>
          <cx:pt idx="1673">5.5256975426938926</cx:pt>
          <cx:pt idx="1674">5.852202650461531</cx:pt>
          <cx:pt idx="1675">5.6671061357647954</cx:pt>
          <cx:pt idx="1676">5.7029937691562038</cx:pt>
          <cx:pt idx="1677">5.8290789083302208</cx:pt>
          <cx:pt idx="1678">5.9268529766560407</cx:pt>
          <cx:pt idx="1679">5.8172355878937445</cx:pt>
          <cx:pt idx="1680">5.6054161000921612</cx:pt>
          <cx:pt idx="1681">5.3760858299114531</cx:pt>
          <cx:pt idx="1682">5.1107279549869462</cx:pt>
          <cx:pt idx="1683">5.3601338120198658</cx:pt>
          <cx:pt idx="1684">5.2452496297279225</cx:pt>
          <cx:pt idx="1685">5.4262029229397166</cx:pt>
          <cx:pt idx="1686">5.3994465446474926</cx:pt>
          <cx:pt idx="1687">5.3914576963891703</cx:pt>
          <cx:pt idx="1688">5.4956618209797714</cx:pt>
          <cx:pt idx="1689">5.5053787701028201</cx:pt>
          <cx:pt idx="1690">5.5469780527095454</cx:pt>
          <cx:pt idx="1691">5.5527770829858936</cx:pt>
          <cx:pt idx="1692">5.8448326721572839</cx:pt>
          <cx:pt idx="1693">6.0724552401543619</cx:pt>
          <cx:pt idx="1694">6.0309546336466058</cx:pt>
          <cx:pt idx="1695">6.0328602087940491</cx:pt>
          <cx:pt idx="1696">6.1360064139995538</cx:pt>
          <cx:pt idx="1697">6.0912599908280116</cx:pt>
          <cx:pt idx="1698">6.1554573487608373</cx:pt>
          <cx:pt idx="1699">6.1116056922817785</cx:pt>
          <cx:pt idx="1700">6.7163379458078829</cx:pt>
          <cx:pt idx="1701">6.8263350763577844</cx:pt>
          <cx:pt idx="1702">7.1425550018199369</cx:pt>
          <cx:pt idx="1703">7.0538975938390136</cx:pt>
          <cx:pt idx="1704">7.2479882266276707</cx:pt>
          <cx:pt idx="1705">7.3284205069330444</cx:pt>
          <cx:pt idx="1706">7.498735525590873</cx:pt>
          <cx:pt idx="1707">7.7129537255459919</cx:pt>
          <cx:pt idx="1708">7.6157731058639087</cx:pt>
          <cx:pt idx="1709">7.4728627821551452</cx:pt>
          <cx:pt idx="1710">7.4728627821551452</cx:pt>
          <cx:pt idx="1711">7.4726320587231827</cx:pt>
          <cx:pt idx="1712">7.595294974332889</cx:pt>
          <cx:pt idx="1713">7.3585512067300956</cx:pt>
          <cx:pt idx="1714">7.4135632148265849</cx:pt>
          <cx:pt idx="1715">7.3769600940960132</cx:pt>
          <cx:pt idx="1716">7.3030461287479698</cx:pt>
          <cx:pt idx="1717">7.2118197999940481</cx:pt>
          <cx:pt idx="1718">6.8275978172431175</cx:pt>
          <cx:pt idx="1719">6.9150011843318122</cx:pt>
          <cx:pt idx="1720">6.7705413288050664</cx:pt>
          <cx:pt idx="1721">6.9355820844810649</cx:pt>
          <cx:pt idx="1722">6.1596574020269026</cx:pt>
          <cx:pt idx="1723">6.2056703769686496</cx:pt>
          <cx:pt idx="1724">6.2752936461035498</cx:pt>
          <cx:pt idx="1725">6.0454219403430898</cx:pt>
          <cx:pt idx="1726">5.0510042247221394</cx:pt>
          <cx:pt idx="1727">4.9555495421161746</cx:pt>
          <cx:pt idx="1728">4.283757079088832</cx:pt>
          <cx:pt idx="1729">3.7563738934757565</cx:pt>
          <cx:pt idx="1730">3.6685992816952862</cx:pt>
          <cx:pt idx="1731">3.7777327020073952</cx:pt>
          <cx:pt idx="1732">3.7368928023281534</cx:pt>
          <cx:pt idx="1733">3.6952905723086382</cx:pt>
          <cx:pt idx="1734">3.6547874444853585</cx:pt>
          <cx:pt idx="1735">3.6458132183353142</cx:pt>
          <cx:pt idx="1736">3.7183916928706151</cx:pt>
          <cx:pt idx="1737">3.7183916928706151</cx:pt>
          <cx:pt idx="1738">3.7845724336769044</cx:pt>
          <cx:pt idx="1739">3.8092446531545079</cx:pt>
          <cx:pt idx="1740">3.6811105270887583</cx:pt>
          <cx:pt idx="1741">3.5501335574682353</cx:pt>
          <cx:pt idx="1742">3.5397577681913868</cx:pt>
          <cx:pt idx="1743">3.6079414323559003</cx:pt>
          <cx:pt idx="1744">3.7447280950353563</cx:pt>
          <cx:pt idx="1745">5.0995830345663347</cx:pt>
          <cx:pt idx="1746">6.0362887281172526</cx:pt>
          <cx:pt idx="1747">6.2793220221192083</cx:pt>
          <cx:pt idx="1748">6.8427325320917767</cx:pt>
          <cx:pt idx="1749">6.8000169032920406</cx:pt>
          <cx:pt idx="1750">6.7073471467582797</cx:pt>
          <cx:pt idx="1751">6.6305631597996229</cx:pt>
          <cx:pt idx="1752">6.6575512394383516</cx:pt>
          <cx:pt idx="1753">7.1280569163201015</cx:pt>
          <cx:pt idx="1754">7.0502302888938866</cx:pt>
          <cx:pt idx="1755">7.3237921211953276</cx:pt>
          <cx:pt idx="1756">7.2098272652957709</cx:pt>
          <cx:pt idx="1757">7.3266165687053393</cx:pt>
          <cx:pt idx="1758">7.2229678365486363</cx:pt>
          <cx:pt idx="1759">7.0287586582455699</cx:pt>
          <cx:pt idx="1760">7.0058268031262578</cx:pt>
          <cx:pt idx="1761">7.0188580136723058</cx:pt>
          <cx:pt idx="1762">6.9999178977122751</cx:pt>
          <cx:pt idx="1763">7.1365177122649435</cx:pt>
          <cx:pt idx="1764">7.3629235822573165</cx:pt>
          <cx:pt idx="1765">7.2926510008836747</cx:pt>
          <cx:pt idx="1766">7.1132869037254931</cx:pt>
          <cx:pt idx="1767">6.8397922936803912</cx:pt>
          <cx:pt idx="1768">6.4094936769921462</cx:pt>
          <cx:pt idx="1769">6.3612512323739665</cx:pt>
          <cx:pt idx="1770">6.258786926641891</cx:pt>
          <cx:pt idx="1771">6.0818176351421815</cx:pt>
          <cx:pt idx="1772">5.8219758071337413</cx:pt>
          <cx:pt idx="1773">5.3213946836623904</cx:pt>
          <cx:pt idx="1774">5.2232900188185658</cx:pt>
          <cx:pt idx="1775">5.0130863230906586</cx:pt>
          <cx:pt idx="1776">4.9181811421628661</cx:pt>
          <cx:pt idx="1777">4.9304356199324673</cx:pt>
          <cx:pt idx="1778">5.0264815966418617</cx:pt>
          <cx:pt idx="1779">5.0264815966418608</cx:pt>
          <cx:pt idx="1780">5.1795353273142712</cx:pt>
          <cx:pt idx="1781">5.1507169459669653</cx:pt>
          <cx:pt idx="1782">5.1255501526973752</cx:pt>
          <cx:pt idx="1783">5.1738733572867224</cx:pt>
          <cx:pt idx="1784">5.1157858015964752</cx:pt>
          <cx:pt idx="1785">5.2637340882423134</cx:pt>
          <cx:pt idx="1786">5.2232900188185658</cx:pt>
          <cx:pt idx="1787">5.4032769963097929</cx:pt>
          <cx:pt idx="1788">5.61084745786252</cx:pt>
          <cx:pt idx="1789">5.7977403446039455</cx:pt>
          <cx:pt idx="1790">6.049223375630616</cx:pt>
          <cx:pt idx="1791">6.2900212890014897</cx:pt>
          <cx:pt idx="1792">6.3339987551218435</cx:pt>
          <cx:pt idx="1793">6.4419601500407202</cx:pt>
          <cx:pt idx="1794">6.484730074407957</cx:pt>
          <cx:pt idx="1795">6.5320606313746064</cx:pt>
          <cx:pt idx="1796">6.3173725077993339</cx:pt>
          <cx:pt idx="1797">6.3543812381332803</cx:pt>
          <cx:pt idx="1798">6.3169176245904985</cx:pt>
          <cx:pt idx="1799">6.2702545366215405</cx:pt>
          <cx:pt idx="1800">6.3922546523296377</cx:pt>
          <cx:pt idx="1801">6.5373375015517894</cx:pt>
          <cx:pt idx="1802">6.6751382955237579</cx:pt>
          <cx:pt idx="1803">6.6003308868640786</cx:pt>
          <cx:pt idx="1804">6.6523697272855893</cx:pt>
          <cx:pt idx="1805">6.7350515618092999</cx:pt>
          <cx:pt idx="1806">6.6627287220018578</cx:pt>
          <cx:pt idx="1807">6.6743633731451579</cx:pt>
          <cx:pt idx="1808">6.5058770954890619</cx:pt>
          <cx:pt idx="1809">6.5058770954890628</cx:pt>
          <cx:pt idx="1810">6.3417065037188802</cx:pt>
          <cx:pt idx="1811">6.4612016248358639</cx:pt>
          <cx:pt idx="1812">6.4612016248358639</cx:pt>
          <cx:pt idx="1813">6.5098510673855063</cx:pt>
          <cx:pt idx="1814">6.5731078742431119</cx:pt>
          <cx:pt idx="1815">6.4545270578276996</cx:pt>
          <cx:pt idx="1816">6.4644029691168248</cx:pt>
          <cx:pt idx="1817">6.4992484092437541</cx:pt>
          <cx:pt idx="1818">6.6051181826593046</cx:pt>
          <cx:pt idx="1819">6.4473107643384173</cx:pt>
          <cx:pt idx="1820">6.2449059700457177</cx:pt>
          <cx:pt idx="1821">6.2449059700457168</cx:pt>
          <cx:pt idx="1822">6.3652252084292336</cx:pt>
          <cx:pt idx="1823">6.2030767301025884</cx:pt>
          <cx:pt idx="1824">6.0142550966695856</cx:pt>
          <cx:pt idx="1825">6.1303840985212581</cx:pt>
          <cx:pt idx="1826">6.0932410264896433</cx:pt>
          <cx:pt idx="1827">6.2186223850476807</cx:pt>
          <cx:pt idx="1828">6.2462862529684777</cx:pt>
          <cx:pt idx="1829">6.2460102207858199</cx:pt>
          <cx:pt idx="1830">6.0076579482347778</cx:pt>
          <cx:pt idx="1831">5.8941818185686152</cx:pt>
          <cx:pt idx="1832">6.0625096279103525</cx:pt>
          <cx:pt idx="1833">5.9615627049505626</cx:pt>
          <cx:pt idx="1834">5.9093730340174346</cx:pt>
          <cx:pt idx="1835">5.8167415929041137</cx:pt>
          <cx:pt idx="1836">5.7989297466771017</cx:pt>
          <cx:pt idx="1837">5.8167415929041137</cx:pt>
          <cx:pt idx="1838">5.8338095043747638</cx:pt>
          <cx:pt idx="1839">5.6512637178949099</cx:pt>
          <cx:pt idx="1840">5.7279311624965308</cx:pt>
          <cx:pt idx="1841">5.6503483770126222</cx:pt>
          <cx:pt idx="1842">5.6405754984773484</cx:pt>
          <cx:pt idx="1843">5.5019327847417472</cx:pt>
          <cx:pt idx="1844">5.491895805660362</cx:pt>
          <cx:pt idx="1845">5.642714761979156</cx:pt>
          <cx:pt idx="1846">5.6026471575866523</cx:pt>
          <cx:pt idx="1847">5.4058291228771846</cx:pt>
          <cx:pt idx="1848">5.3464995530968071</cx:pt>
          <cx:pt idx="1849">5.412310361414602</cx:pt>
          <cx:pt idx="1850">5.3802533803513013</cx:pt>
          <cx:pt idx="1851">5.2619868630704918</cx:pt>
          <cx:pt idx="1852">5.2619868630704918</cx:pt>
          <cx:pt idx="1853">5.5095528324713525</cx:pt>
          <cx:pt idx="1854">5.8187173212287773</cx:pt>
          <cx:pt idx="1855">5.6226144366698554</cx:pt>
          <cx:pt idx="1856">5.6226144366698554</cx:pt>
          <cx:pt idx="1857">5.3472519529451628</cx:pt>
          <cx:pt idx="1858">5.5028728129407369</cx:pt>
          <cx:pt idx="1859">5.7879184513951127</cx:pt>
          <cx:pt idx="1860">6.0328602087940482</cx:pt>
          <cx:pt idx="1861">6.2793220221192083</cx:pt>
          <cx:pt idx="1862">6.3012496480013223</cx:pt>
          <cx:pt idx="1863">6.3766816578465981</cx:pt>
          <cx:pt idx="1864">6.3766816578465981</cx:pt>
          <cx:pt idx="1865">6.3604380677586274</cx:pt>
          <cx:pt idx="1866">6.4620021095917179</cx:pt>
          <cx:pt idx="1867">6.6519377524198884</cx:pt>
          <cx:pt idx="1868">6.6419945764825039</cx:pt>
          <cx:pt idx="1869">6.7819910276297604</cx:pt>
          <cx:pt idx="1870">6.7701168940145111</cx:pt>
          <cx:pt idx="1871">6.5998955059648612</cx:pt>
          <cx:pt idx="1872">6.6124230000079764</cx:pt>
          <cx:pt idx="1873">6.8000169032920397</cx:pt>
          <cx:pt idx="1874">7.0534902096714536</cx:pt>
          <cx:pt idx="1875">7.0534902096714536</cx:pt>
          <cx:pt idx="1876">7.1413479522225094</cx:pt>
          <cx:pt idx="1877">7.3001338359641403</cx:pt>
          <cx:pt idx="1878">7.227740302823384</cx:pt>
          <cx:pt idx="1879">7.4124002968619775</cx:pt>
          <cx:pt idx="1880">7.4532257924098655</cx:pt>
          <cx:pt idx="1881">7.5871185450137757</cx:pt>
          <cx:pt idx="1882">7.6221094012181387</cx:pt>
          <cx:pt idx="1883">7.4772451746815713</cx:pt>
          <cx:pt idx="1884">7.4061949837910044</cx:pt>
          <cx:pt idx="1885">7.4417276451659786</cx:pt>
          <cx:pt idx="1886">7.5106055283378348</cx:pt>
          <cx:pt idx="1887">7.5710428380225396</cx:pt>
          <cx:pt idx="1888">7.6064098801187292</cx:pt>
          <cx:pt idx="1889">7.3503459923255692</cx:pt>
          <cx:pt idx="1890">7.2916264366706294</cx:pt>
          <cx:pt idx="1891">7.3672153537795753</cx:pt>
          <cx:pt idx="1892">7.0482736127040528</cx:pt>
          <cx:pt idx="1893">6.8952757440298855</cx:pt>
          <cx:pt idx="1894">6.8115014295042124</cx:pt>
          <cx:pt idx="1895">6.7924907828044025</cx:pt>
          <cx:pt idx="1896">6.3395311476807015</cx:pt>
          <cx:pt idx="1897">6.3771322780662159</cx:pt>
          <cx:pt idx="1898">6.2150170379178524</cx:pt>
          <cx:pt idx="1899">6.3680235660627886</cx:pt>
          <cx:pt idx="1900">6.4598672631464549</cx:pt>
          <cx:pt idx="1901">6.290295389880673</cx:pt>
          <cx:pt idx="1902">6.4363372178288794</cx:pt>
          <cx:pt idx="1903">5.8053681063800537</cx:pt>
          <cx:pt idx="1904">4.9822674060860193</cx:pt>
          <cx:pt idx="1905">4.9929835827360032</cx:pt>
          <cx:pt idx="1906">4.2647984415592761</cx:pt>
          <cx:pt idx="1907">4.2798646449753939</cx:pt>
          <cx:pt idx="1908">4.2078197592621258</cx:pt>
          <cx:pt idx="1909">4.3071712454847946</cx:pt>
          <cx:pt idx="1910">4.3286004215214193</cx:pt>
          <cx:pt idx="1911">4.3449005649773174</cx:pt>
          <cx:pt idx="1912">4.3623256478020149</cx:pt>
          <cx:pt idx="1913">3.8803957613068043</cx:pt>
          <cx:pt idx="1914">3.8906017027184108</cx:pt>
          <cx:pt idx="1915">3.2048813344359712</cx:pt>
          <cx:pt idx="1916">3.2048813344359712</cx:pt>
          <cx:pt idx="1917">3.2048813344359712</cx:pt>
          <cx:pt idx="1918">3.2241901772151365</cx:pt>
          <cx:pt idx="1919">3.2206231994915901</cx:pt>
          <cx:pt idx="1920">3.2206231994915897</cx:pt>
          <cx:pt idx="1921">3.2206231994915901</cx:pt>
          <cx:pt idx="1922">3.3577838887692226</cx:pt>
          <cx:pt idx="1923">3.4376214712080122</cx:pt>
          <cx:pt idx="1924">3.4713937709000513</cx:pt>
          <cx:pt idx="1925">3.4481379282757518</cx:pt>
          <cx:pt idx="1926">3.4132938216103925</cx:pt>
          <cx:pt idx="1927">3.4188456746578133</cx:pt>
          <cx:pt idx="1928">3.4107672646097296</cx:pt>
          <cx:pt idx="1929">3.3577838887692226</cx:pt>
          <cx:pt idx="1930">3.337181686572579</cx:pt>
          <cx:pt idx="1931">3.4549647768386005</cx:pt>
          <cx:pt idx="1932">3.3997971541924636</cx:pt>
          <cx:pt idx="1933">3.3997971541924636</cx:pt>
          <cx:pt idx="1934">3.8549863216657316</cx:pt>
          <cx:pt idx="1935">4.0914826023163622</cx:pt>
          <cx:pt idx="1936">4.3766622457979443</cx:pt>
          <cx:pt idx="1937">4.3607444265885364</cx:pt>
          <cx:pt idx="1938">4.2595396653769457</cx:pt>
          <cx:pt idx="1939">4.6585726194377086</cx:pt>
          <cx:pt idx="1940">4.6490636802960958</cx:pt>
          <cx:pt idx="1941">4.676795248148399</cx:pt>
          <cx:pt idx="1942">5.0410954839360986</cx:pt>
          <cx:pt idx="1943">5.6491276917910884</cx:pt>
          <cx:pt idx="1944">5.5914548926099679</cx:pt>
          <cx:pt idx="1945">5.9043136383689756</cx:pt>
          <cx:pt idx="1946">5.9151082616572994</cx:pt>
          <cx:pt idx="1947">5.8823718728566208</cx:pt>
          <cx:pt idx="1948">6.1663715368954612</cx:pt>
          <cx:pt idx="1949">6.1402197721722249</cx:pt>
          <cx:pt idx="1950">6.4612016248358639</cx:pt>
          <cx:pt idx="1951">6.4097626688719425</cx:pt>
          <cx:pt idx="1952">6.4952679503717503</cx:pt>
          <cx:pt idx="1953">6.4762164347977773</cx:pt>
          <cx:pt idx="1954">6.5516515422475337</cx:pt>
          <cx:pt idx="1955">6.4094936769921453</cx:pt>
          <cx:pt idx="1956">6.2098364685003773</cx:pt>
          <cx:pt idx="1957">5.9996168460036312</cx:pt>
          <cx:pt idx="1958">5.5812699910185035</cx:pt>
          <cx:pt idx="1959">5.6564478516866536</cx:pt>
          <cx:pt idx="1960">5.4144336688173578</cx:pt>
          <cx:pt idx="1961">5.6414924250245333</cx:pt>
          <cx:pt idx="1962">5.8036849174201084</cx:pt>
          <cx:pt idx="1963">5.8506311674443525</cx:pt>
          <cx:pt idx="1964">5.9271438722844092</cx:pt>
          <cx:pt idx="1965">6.1852624248586103</cx:pt>
          <cx:pt idx="1966">6.1852624248586112</cx:pt>
          <cx:pt idx="1967">6.1458330898110223</cx:pt>
          <cx:pt idx="1968">6.1143321361588105</cx:pt>
          <cx:pt idx="1969">6.1228796470626303</cx:pt>
          <cx:pt idx="1970">6.153683132235038</cx:pt>
          <cx:pt idx="1971">5.9938665969146481</cx:pt>
          <cx:pt idx="1972">6.1214715382090485</cx:pt>
          <cx:pt idx="1973">6.0458021914325837</cx:pt>
          <cx:pt idx="1974">5.9476644696618663</cx:pt>
          <cx:pt idx="1975">5.9835982715972884</cx:pt>
          <cx:pt idx="1976">5.8463074110781745</cx:pt>
          <cx:pt idx="1977">5.7364533077263111</cx:pt>
          <cx:pt idx="1978">5.8609363341230454</cx:pt>
          <cx:pt idx="1979">6.0229446343931734</cx:pt>
          <cx:pt idx="1980">5.9797551174247774</cx:pt>
          <cx:pt idx="1981">5.9797551174247774</cx:pt>
          <cx:pt idx="1982">6.1090661852014998</cx:pt>
          <cx:pt idx="1983">6.1270082328210949</cx:pt>
          <cx:pt idx="1984">5.833021338126108</cx:pt>
          <cx:pt idx="1985">5.761644880078773</cx:pt>
          <cx:pt idx="1986">6.1067138481337491</cx:pt>
          <cx:pt idx="1987">6.0172166781431544</cx:pt>
          <cx:pt idx="1988">6.0840851369801676</cx:pt>
          <cx:pt idx="1989">6.0076579482347778</cx:pt>
          <cx:pt idx="1990">6.0172166781431544</cx:pt>
          <cx:pt idx="1991">5.8703423699329411</cx:pt>
          <cx:pt idx="1992">5.7495627020120237</cx:pt>
          <cx:pt idx="1993">5.9996168460036312</cx:pt>
          <cx:pt idx="1994">6.1453655091767576</cx:pt>
          <cx:pt idx="1995">5.8750397406335031</cx:pt>
          <cx:pt idx="1996">5.8835441660637651</cx:pt>
          <cx:pt idx="1997">6.0878624299106212</cx:pt>
          <cx:pt idx="1998">6.2030767301025875</cx:pt>
          <cx:pt idx="1999">6.2870968027299021</cx:pt>
          <cx:pt idx="2000">6.2499655171462551</cx:pt>
          <cx:pt idx="2001">6.0556803389723353</cx:pt>
          <cx:pt idx="2002">6.0742531824198709</cx:pt>
          <cx:pt idx="2003">6.1134861285258637</cx:pt>
          <cx:pt idx="2004">6.1177149967622064</cx:pt>
          <cx:pt idx="2005">6.1621760598917863</cx:pt>
          <cx:pt idx="2006">6.1101009266077861</cx:pt>
          <cx:pt idx="2007">6.2702545366215396</cx:pt>
          <cx:pt idx="2008">6.2278573278898843</cx:pt>
          <cx:pt idx="2009">6.1794059157223504</cx:pt>
          <cx:pt idx="2010">6.0977666912312785</cx:pt>
          <cx:pt idx="2011">6.1778246366645355</cx:pt>
          <cx:pt idx="2012">6.2980566241801368</cx:pt>
          <cx:pt idx="2013">6.2738281407948921</cx:pt>
          <cx:pt idx="2014">6.3173725077993339</cx:pt>
          <cx:pt idx="2015">6.3413439962015099</cx:pt>
          <cx:pt idx="2016">5.9387680134217558</cx:pt>
          <cx:pt idx="2017">6.3339987551218426</cx:pt>
          <cx:pt idx="2018">6.3086330194989655</cx:pt>
          <cx:pt idx="2019">6.317645422003431</cx:pt>
          <cx:pt idx="2020">6.2922137617048977</cx:pt>
          <cx:pt idx="2021">6.3380804955298649</cx:pt>
          <cx:pt idx="2022">6.3879376269995607</cx:pt>
          <cx:pt idx="2023">6.1794059157223495</cx:pt>
          <cx:pt idx="2024">5.9057735242337426</cx:pt>
          <cx:pt idx="2025">6.0610874939399615</cx:pt>
          <cx:pt idx="2026">6.2197313021757097</cx:pt>
          <cx:pt idx="2027">5.7879184513951127</cx:pt>
          <cx:pt idx="2028">6.1214715382090485</cx:pt>
          <cx:pt idx="2029">6.1214715382090485</cx:pt>
          <cx:pt idx="2030">6.1671171006665126</cx:pt>
          <cx:pt idx="2031">6.2976916040903346</cx:pt>
          <cx:pt idx="2032">6.2495976882010424</cx:pt>
          <cx:pt idx="2033">6.1503200552173869</cx:pt>
          <cx:pt idx="2034">6.1615231733794493</cx:pt>
          <cx:pt idx="2035">6.0637418742259621</cx:pt>
          <cx:pt idx="2036">6.1390964927362424</cx:pt>
          <cx:pt idx="2037">6.2607149531134176</cx:pt>
          <cx:pt idx="2038">6.327190002942328</cx:pt>
          <cx:pt idx="2039">6.2297026736674086</cx:pt>
          <cx:pt idx="2040">6.3296419974665188</cx:pt>
          <cx:pt idx="2041">6.3209194733445022</cx:pt>
          <cx:pt idx="2042">6.0852185710515991</cx:pt>
          <cx:pt idx="2043">6.1900921947342873</cx:pt>
          <cx:pt idx="2044">6.2738281407948921</cx:pt>
          <cx:pt idx="2045">6.2738281407948921</cx:pt>
          <cx:pt idx="2046">6.5109103835783602</cx:pt>
          <cx:pt idx="2047">6.3933334531899844</cx:pt>
          <cx:pt idx="2048">6.4205131029962956</cx:pt>
          <cx:pt idx="2049">6.4673361426176994</cx:pt>
          <cx:pt idx="2050">6.441692502661903</cx:pt>
          <cx:pt idx="2051">6.46866896362146</cx:pt>
          <cx:pt idx="2052">6.46866896362146</cx:pt>
          <cx:pt idx="2053">6.3035293890502873</cx:pt>
          <cx:pt idx="2054">6.32319212270904</cx:pt>
          <cx:pt idx="2055">6.3842478562204317</cx:pt>
          <cx:pt idx="2056">6.2400265251425626</cx:pt>
          <cx:pt idx="2057">6.2400265251425617</cx:pt>
          <cx:pt idx="2058">5.8127881216440711</cx:pt>
          <cx:pt idx="2059">5.7989297466771008</cx:pt>
          <cx:pt idx="2060">5.8495505279730979</cx:pt>
          <cx:pt idx="2061">5.7743985107472051</cx:pt>
          <cx:pt idx="2062">5.7855348752819271</cx:pt>
          <cx:pt idx="2063">5.757653576991558</cx:pt>
          <cx:pt idx="2064">5.802199345194829</cx:pt>
          <cx:pt idx="2065">5.8550498883786046</cx:pt>
          <cx:pt idx="2066">5.7934763153129367</cx:pt>
          <cx:pt idx="2067">5.5874448748855743</cx:pt>
          <cx:pt idx="2068">5.7519611847842276</cx:pt>
          <cx:pt idx="2069">5.7198987210710595</cx:pt>
          <cx:pt idx="2070">5.5428321736948822</cx:pt>
          <cx:pt idx="2071">5.4752315859276894</cx:pt>
          <cx:pt idx="2072">5.530375888785894</cx:pt>
          <cx:pt idx="2073">5.4718716460042103</cx:pt>
          <cx:pt idx="2074">5.4752315859276885</cx:pt>
          <cx:pt idx="2075">5.5815788974541736</cx:pt>
          <cx:pt idx="2076">5.3271156285123213</cx:pt>
          <cx:pt idx="2077">5.0860412986874213</cx:pt>
          <cx:pt idx="2078">4.9340477892098793</cx:pt>
          <cx:pt idx="2079">5.2238401341471432</cx:pt>
          <cx:pt idx="2080">5.2888953282423214</cx:pt>
          <cx:pt idx="2081">5.4865561922370496</cx:pt>
          <cx:pt idx="2082">5.4865561922370496</cx:pt>
          <cx:pt idx="2083">5.6977511191778065</cx:pt>
          <cx:pt idx="2084">5.6046983574641125</cx:pt>
          <cx:pt idx="2085">5.3459620598006108</cx:pt>
          <cx:pt idx="2086">5.191062168456626</cx:pt>
          <cx:pt idx="2087">5.1800900893066846</cx:pt>
          <cx:pt idx="2088">5.0797094676626999</cx:pt>
          <cx:pt idx="2089">5.4830983773859048</cx:pt>
          <cx:pt idx="2090">5.4928375515589467</cx:pt>
          <cx:pt idx="2091">5.7264259379641418</cx:pt>
          <cx:pt idx="2092">5.70954031203149</cx:pt>
          <cx:pt idx="2093">5.6917968800843486</cx:pt>
          <cx:pt idx="2094">5.7576535769915589</cx:pt>
          <cx:pt idx="2095">5.8730829594239387</cx:pt>
          <cx:pt idx="2096">5.8659351686068648</cx:pt>
          <cx:pt idx="2097">5.8659351686068648</cx:pt>
          <cx:pt idx="2098">5.7075267909108867</cx:pt>
          <cx:pt idx="2099">5.7276301492359636</cx:pt>
          <cx:pt idx="2100">5.9919486209297608</cx:pt>
          <cx:pt idx="2101">6.0819121312638025</cx:pt>
          <cx:pt idx="2102">6.0613719474272045</cx:pt>
          <cx:pt idx="2103">6.2141847376806387</cx:pt>
          <cx:pt idx="2104">6.3576363713163921</cx:pt>
          <cx:pt idx="2105">6.1927840841291788</cx:pt>
          <cx:pt idx="2106">6.2238879817358059</cx:pt>
          <cx:pt idx="2107">6.201686830228522</cx:pt>
          <cx:pt idx="2108">6.4165733684812993</cx:pt>
          <cx:pt idx="2109">6.1626423650525295</cx:pt>
          <cx:pt idx="2110">6.2738281407948913</cx:pt>
          <cx:pt idx="2111">5.9907975405962262</cx:pt>
          <cx:pt idx="2112">5.9256892513401569</cx:pt>
          <cx:pt idx="2113">5.8009115415289401</cx:pt>
          <cx:pt idx="2114">5.810118007783303</cx:pt>
          <cx:pt idx="2115">5.8285859171074632</cx:pt>
          <cx:pt idx="2116">5.7982359584519374</cx:pt>
          <cx:pt idx="2117">5.6292544574860388</cx:pt>
          <cx:pt idx="2118">5.393056412764877</cx:pt>
          <cx:pt idx="2119">5.6675117693016226</cx:pt>
          <cx:pt idx="2120">5.8456192458811485</cx:pt>
          <cx:pt idx="2121">5.8952542768319791</cx:pt>
          <cx:pt idx="2122">5.9387680134217558</cx:pt>
          <cx:pt idx="2123">5.9951129522591016</cx:pt>
          <cx:pt idx="2124">5.7914919761961885</cx:pt>
          <cx:pt idx="2125">5.7914919761961885</cx:pt>
          <cx:pt idx="2126">5.7684237572909085</cx:pt>
          <cx:pt idx="2127">5.7579530206928347</cx:pt>
          <cx:pt idx="2128">5.8515151785719119</cx:pt>
          <cx:pt idx="2129">5.9682108064213901</cx:pt>
          <cx:pt idx="2130">5.8844232327059212</cx:pt>
          <cx:pt idx="2131">5.7691211307000358</cx:pt>
          <cx:pt idx="2132">5.8200011849744016</cx:pt>
          <cx:pt idx="2133">5.5357770535135273</cx:pt>
          <cx:pt idx="2134">5.2789976408361863</cx:pt>
          <cx:pt idx="2135">5.6304794512168082</cx:pt>
          <cx:pt idx="2136">5.7204010790981359</cx:pt>
          <cx:pt idx="2137">5.8081393542700646</cx:pt>
          <cx:pt idx="2138">5.7555570348671896</cx:pt>
          <cx:pt idx="2139">5.7384566790619989</cx:pt>
          <cx:pt idx="2140">5.677238279547427</cx:pt>
          <cx:pt idx="2141">5.6856342462041285</cx:pt>
          <cx:pt idx="2142">5.8305576318951307</cx:pt>
          <cx:pt idx="2143">5.5194535794851971</cx:pt>
          <cx:pt idx="2144">5.4755464745906686</cx:pt>
          <cx:pt idx="2145">5.0782384492190227</cx:pt>
          <cx:pt idx="2146">5.1933865991100729</cx:pt>
          <cx:pt idx="2147">5.0878489459251561</cx:pt>
          <cx:pt idx="2148">5.1354078507070344</cx:pt>
          <cx:pt idx="2149">5.1354078507070344</cx:pt>
          <cx:pt idx="2150">5.030481798638851</cx:pt>
          <cx:pt idx="2151">5.2242801847025646</cx:pt>
          <cx:pt idx="2152">5.3957198874152343</cx:pt>
          <cx:pt idx="2153">5.3994465446474926</cx:pt>
          <cx:pt idx="2154">5.7937739075626711</cx:pt>
          <cx:pt idx="2155">5.7699180256731992</cx:pt>
          <cx:pt idx="2156">5.818717321228779</cx:pt>
          <cx:pt idx="2157">5.875039740633504</cx:pt>
          <cx:pt idx="2158">5.9256892513401569</cx:pt>
          <cx:pt idx="2159">6.0295250570665262</cx:pt>
          <cx:pt idx="2160">6.2127973228419942</cx:pt>
          <cx:pt idx="2161">6.2859083415335375</cx:pt>
          <cx:pt idx="2162">6.2127973228419942</cx:pt>
          <cx:pt idx="2163">6.3046233719445111</cx:pt>
          <cx:pt idx="2164">6.4739975037190831</cx:pt>
          <cx:pt idx="2165">6.1402197721722231</cx:pt>
          <cx:pt idx="2166">5.9383809086393189</cx:pt>
          <cx:pt idx="2167">6.0821956108198183</cx:pt>
          <cx:pt idx="2168">6.0291437793971774</cx:pt>
          <cx:pt idx="2169">6.1596574020269044</cx:pt>
          <cx:pt idx="2170">6.3969281420985507</cx:pt>
          <cx:pt idx="2171">6.6492588818725444</cx:pt>
          <cx:pt idx="2172">6.5249300872636296</cx:pt>
          <cx:pt idx="2173">6.6557381690322401</cx:pt>
          <cx:pt idx="2174">6.6557381690322401</cx:pt>
          <cx:pt idx="2175">6.7776678591677388</cx:pt>
          <cx:pt idx="2176">6.7995943083849273</cx:pt>
          <cx:pt idx="2177">6.9653493777428697</cx:pt>
          <cx:pt idx="2178">6.9653493777428697</cx:pt>
          <cx:pt idx="2179">6.7196743216100696</cx:pt>
          <cx:pt idx="2180">6.7343688745071741</cx:pt>
          <cx:pt idx="2181">6.7705413288050655</cx:pt>
          <cx:pt idx="2182">6.6643674196016738</cx:pt>
          <cx:pt idx="2183">6.7858033007729901</cx:pt>
          <cx:pt idx="2184">6.5898738061975966</cx:pt>
          <cx:pt idx="2185">6.6318631767703335</cx:pt>
          <cx:pt idx="2186">6.5354910816373168</cx:pt>
          <cx:pt idx="2187">6.6660919292487568</cx:pt>
          <cx:pt idx="2188">6.5210534372166027</cx:pt>
          <cx:pt idx="2189">6.6661781430203897</cx:pt>
          <cx:pt idx="2190">6.459066513814907</cx:pt>
          <cx:pt idx="2191">6.579400105414356</cx:pt>
          <cx:pt idx="2192">6.6454547598728899</cx:pt>
          <cx:pt idx="2193">6.5569126460763432</cx:pt>
          <cx:pt idx="2194">6.4012391041864305</cx:pt>
          <cx:pt idx="2195">6.4022266241618171</cx:pt>
          <cx:pt idx="2196">6.5038450166036412</cx:pt>
          <cx:pt idx="2197">6.3517578343484491</cx:pt>
          <cx:pt idx="2198">6.5531426171661744</cx:pt>
          <cx:pt idx="2199">6.4684024213910414</cx:pt>
          <cx:pt idx="2200">6.3738871014169369</cx:pt>
          <cx:pt idx="2201">6.1551772433092236</cx:pt>
          <cx:pt idx="2202">6.3471416319908691</cx:pt>
          <cx:pt idx="2203">6.2274881931162502</cx:pt>
          <cx:pt idx="2204">6.2333917263230854</cx:pt>
          <cx:pt idx="2205">6.0932410264896433</cx:pt>
          <cx:pt idx="2206">6.1704710228375736</cx:pt>
          <cx:pt idx="2207">6.1273834208581155</cx:pt>
          <cx:pt idx="2208">6.1677693950361689</cx:pt>
          <cx:pt idx="2209">6.1671171006665126</cx:pt>
          <cx:pt idx="2210">6.1626423650525304</cx:pt>
          <cx:pt idx="2211">5.988110825992436</cx:pt>
          <cx:pt idx="2212">5.75645564641954</cx:pt>
          <cx:pt idx="2213">5.9054815759324972</cx:pt>
          <cx:pt idx="2214">5.8506311674443525</cx:pt>
          <cx:pt idx="2215">5.8432592070624034</cx:pt>
          <cx:pt idx="2216">6.1177149967622055</cx:pt>
          <cx:pt idx="2217">6.0191266025455272</cx:pt>
          <cx:pt idx="2218">6.253275004016861</cx:pt>
          <cx:pt idx="2219">6.1271020319841938</cx:pt>
          <cx:pt idx="2220">6.2172359604976979</cx:pt>
          <cx:pt idx="2221">5.9981798005345128</cx:pt>
          <cx:pt idx="2222">6.0271416759197889</cx:pt>
          <cx:pt idx="2223">5.990413797999631</cx:pt>
          <cx:pt idx="2224">6.6784952534665099</cx:pt>
          <cx:pt idx="2225">7.7741836249527045</cx:pt>
          <cx:pt idx="2226">8.4066202702284638</cx:pt>
          <cx:pt idx="2227">8.4750478925849855</cx:pt>
          <cx:pt idx="2228">8.8227110280830061</cx:pt>
          <cx:pt idx="2229">9.3732316339866379</cx:pt>
          <cx:pt idx="2230">9.4835004934462575</cx:pt>
          <cx:pt idx="2231">9.4820459502313543</cx:pt>
          <cx:pt idx="2232">9.7015818120125346</cx:pt>
          <cx:pt idx="2233">9.9602081869023724</cx:pt>
          <cx:pt idx="2234">10.024624853243909</cx:pt>
          <cx:pt idx="2235">9.8188184320873777</cx:pt>
          <cx:pt idx="2236">9.5357162844471848</cx:pt>
          <cx:pt idx="2237">9.7591689866681186</cx:pt>
          <cx:pt idx="2238">9.812026399728321</cx:pt>
          <cx:pt idx="2239">9.8704831078123618</cx:pt>
          <cx:pt idx="2240">9.7749974277563716</cx:pt>
          <cx:pt idx="2241">9.4638452975570093</cx:pt>
          <cx:pt idx="2242">9.4465221965120794</cx:pt>
          <cx:pt idx="2243">8.7473477096788024</cx:pt>
          <cx:pt idx="2244">8.4241033494004167</cx:pt>
          <cx:pt idx="2245">7.6218077923146623</cx:pt>
          <cx:pt idx="2246">6.6492588818725453</cx:pt>
          <cx:pt idx="2247">6.4299049884830755</cx:pt>
          <cx:pt idx="2248">6.6058142275722078</cx:pt>
          <cx:pt idx="2249">6.4441901125662451</cx:pt>
          <cx:pt idx="2250">6.2338527044059902</cx:pt>
          <cx:pt idx="2251">5.8423739467217715</cx:pt>
          <cx:pt idx="2252">5.6123836802835072</cx:pt>
          <cx:pt idx="2253">45.931683402961461</cx:pt>
          <cx:pt idx="2254">46.097148788583247</cx:pt>
          <cx:pt idx="2255">46.335904997679961</cx:pt>
          <cx:pt idx="2256">46.091874767037083</cx:pt>
          <cx:pt idx="2257">45.519024695125026</cx:pt>
          <cx:pt idx="2258">44.735814549958469</cx:pt>
          <cx:pt idx="2259">43.826932358995876</cx:pt>
          <cx:pt idx="2260">42.740919584123972</cx:pt>
          <cx:pt idx="2261">41.240589313157869</cx:pt>
          <cx:pt idx="2262">39.399063528167154</cx:pt>
          <cx:pt idx="2263">37.434525216181385</cx:pt>
          <cx:pt idx="2264">35.026492436637049</cx:pt>
          <cx:pt idx="2265">32.124470566772032</cx:pt>
          <cx:pt idx="2266">28.587916424903039</cx:pt>
          <cx:pt idx="2267">23.940635392330464</cx:pt>
          <cx:pt idx="2268">17.721861296604597</cx:pt>
          <cx:pt idx="2269">6.0894670699004774</cx:pt>
          <cx:pt idx="2270">6.0257111947303663</cx:pt>
          <cx:pt idx="2271">6.014923968333064</cx:pt>
          <cx:pt idx="2272">5.8397173605042498</cx:pt>
          <cx:pt idx="2273">6.0142550966695856</cx:pt>
          <cx:pt idx="2274">6.2584196161614178</cx:pt>
          <cx:pt idx="2275">6.2848111009570244</cx:pt>
          <cx:pt idx="2276">6.2072445624021677</cx:pt>
          <cx:pt idx="2277">6.1199691983298203</cx:pt>
          <cx:pt idx="2278">6.3321838037234786</cx:pt>
          <cx:pt idx="2279">6.3915353505969943</cx:pt>
          <cx:pt idx="2280">6.1741954662265446</cx:pt>
          <cx:pt idx="2281">6.3622449590958254</cx:pt>
          <cx:pt idx="2282">6.0557752429481271</cx:pt>
          <cx:pt idx="2283">6.1941759816745616</cx:pt>
          <cx:pt idx="2284">6.4219451344857212</cx:pt>
          <cx:pt idx="2285">6.4931440412353307</cx:pt>
          <cx:pt idx="2286">6.6898447656508244</cx:pt>
          <cx:pt idx="2287">6.8073658550909011</cx:pt>
          <cx:pt idx="2288">6.8060993605549962</cx:pt>
          <cx:pt idx="2289">6.8568281263294768</cx:pt>
          <cx:pt idx="2290">6.9106780611143952</cx:pt>
          <cx:pt idx="2291">7.0228690472749387</cx:pt>
          <cx:pt idx="2292">7.0168925892588234</cx:pt>
          <cx:pt idx="2293">6.9286179809855852</cx:pt>
          <cx:pt idx="2294">6.727965312141504</cx:pt>
          <cx:pt idx="2295">6.5051703574395612</cx:pt>
          <cx:pt idx="2296">6.0795492875894892</cx:pt>
          <cx:pt idx="2297">6.2130748305951311</cx:pt>
          <cx:pt idx="2298">6.0123436247497501</cx:pt>
          <cx:pt idx="2299">6.1424657147981918</cx:pt>
          <cx:pt idx="2300">6.0610874939399615</cx:pt>
          <cx:pt idx="2301">6.0973896808011405</cx:pt>
          <cx:pt idx="2302">6.0973896808011396</cx:pt>
          <cx:pt idx="2303">5.9174396451525366</cx:pt>
          <cx:pt idx="2304">5.6811849176879923</cx:pt>
          <cx:pt idx="2305">5.6811849176879923</cx:pt>
          <cx:pt idx="2306">5.6811849176879923</cx:pt>
          <cx:pt idx="2307">5.6442423109189601</cx:pt>
          <cx:pt idx="2308">5.3456395378818353</cx:pt>
          <cx:pt idx="2309">5.4830983773859057</cx:pt>
          <cx:pt idx="2310">5.5733355331899084</cx:pt>
          <cx:pt idx="2311">5.644242310918961</cx:pt>
          <cx:pt idx="2312">5.817630753683745</cx:pt>
          <cx:pt idx="2313">5.8411933908992486</cx:pt>
          <cx:pt idx="2314">5.7571544695454273</cx:pt>
          <cx:pt idx="2315">5.9346053137411801</cx:pt>
          <cx:pt idx="2316">5.832922809856746</cx:pt>
          <cx:pt idx="2317">5.9503694466582608</cx:pt>
          <cx:pt idx="2318">5.9855189233356532</cx:pt>
          <cx:pt idx="2319">5.9253012921115547</cx:pt>
          <cx:pt idx="2320">5.8068528679384546</cx:pt>
          <cx:pt idx="2321">5.8068528679384546</cx:pt>
          <cx:pt idx="2322">6.0656371489719447</cx:pt>
          <cx:pt idx="2323">5.869167439831787</cx:pt>
          <cx:pt idx="2324">6.0883344267503912</cx:pt>
          <cx:pt idx="2325">6.2363413972447423</cx:pt>
          <cx:pt idx="2326">6.4620021095917179</cx:pt>
          <cx:pt idx="2327">6.5586654095191497</cx:pt>
          <cx:pt idx="2328">6.6089455225126672</cx:pt>
          <cx:pt idx="2329">6.5144401934842229</cx:pt>
          <cx:pt idx="2330">6.4899568742700495</cx:pt>
          <cx:pt idx="2331">6.4758614569179445</cx:pt>
          <cx:pt idx="2332">6.555597765952812</cx:pt>
          <cx:pt idx="2333">6.5689097050152618</cx:pt>
          <cx:pt idx="2334">6.6092933525975113</cx:pt>
          <cx:pt idx="2335">6.7125718386960447</cx:pt>
          <cx:pt idx="2336">6.9029395704035892</cx:pt>
          <cx:pt idx="2337">7.0254872617041864</cx:pt>
          <cx:pt idx="2338">7.1483460027276697</cx:pt>
          <cx:pt idx="2339">6.9896475171351167</cx:pt>
          <cx:pt idx="2340">6.8800060144320154</cx:pt>
          <cx:pt idx="2341">6.7196743216100705</cx:pt>
          <cx:pt idx="2342">6.6003308868640795</cx:pt>
          <cx:pt idx="2343">6.6037258727402399</cx:pt>
          <cx:pt idx="2344">6.7606875798045971</cx:pt>
          <cx:pt idx="2345">6.5555977659528137</cx:pt>
          <cx:pt idx="2346">6.6627287220018578</cx:pt>
          <cx:pt idx="2347">6.5985020940405468</cx:pt>
          <cx:pt idx="2348">6.5636582174426401</cx:pt>
          <cx:pt idx="2349">6.7908830025279467</cx:pt>
          <cx:pt idx="2350">7.0205773086781438</cx:pt>
          <cx:pt idx="2351">6.923639332691689</cx:pt>
          <cx:pt idx="2352">6.7042618114734767</cx:pt>
          <cx:pt idx="2353">6.6888997084980151</cx:pt>
          <cx:pt idx="2354">6.6142479438004873</cx:pt>
          <cx:pt idx="2355">6.4054574432643969</cx:pt>
          <cx:pt idx="2356">6.2913916739782056</cx:pt>
          <cx:pt idx="2357">6.338080495529864</cx:pt>
          <cx:pt idx="2358">6.2881022482985651</cx:pt>
          <cx:pt idx="2359">6.2061334141333919</cx:pt>
          <cx:pt idx="2360">6.4076104176492983</cx:pt>
          <cx:pt idx="2361">6.4256132584467327</cx:pt>
          <cx:pt idx="2362">6.3543812381332803</cx:pt>
          <cx:pt idx="2363">6.4097626688719433</cx:pt>
          <cx:pt idx="2364">6.4899568742700495</cx:pt>
          <cx:pt idx="2365">6.4094936769921453</cx:pt>
          <cx:pt idx="2366">6.223887981735805</cx:pt>
          <cx:pt idx="2367">6.1158358607685077</cx:pt>
          <cx:pt idx="2368">6.0894670699004774</cx:pt>
          <cx:pt idx="2369">6.0894670699004774</cx:pt>
          <cx:pt idx="2370">6.0599495464687756</cx:pt>
          <cx:pt idx="2371">6.0409521971520244</cx:pt>
          <cx:pt idx="2372">5.9670689060919395</cx:pt>
          <cx:pt idx="2373">5.9960304329098397</cx:pt>
          <cx:pt idx="2374">5.7892719331250548</cx:pt>
          <cx:pt idx="2375">5.8918457340502526</cx:pt>
          <cx:pt idx="2376">5.8380932960456651</cx:pt>
          <cx:pt idx="2377">5.7854139430773337</cx:pt>
          <cx:pt idx="2378">5.9120697873046506</cx:pt>
          <cx:pt idx="2379">5.5267942376620605</cx:pt>
          <cx:pt idx="2380">5.3224591523628844</cx:pt>
          <cx:pt idx="2381">5.4192638847570045</cx:pt>
          <cx:pt idx="2382">5.5625102667623239</cx:pt>
          <cx:pt idx="2383">5.7189056954054749</cx:pt>
          <cx:pt idx="2384">5.3039940555374363</cx:pt>
          <cx:pt idx="2385">5.4757039121316025</cx:pt>
          <cx:pt idx="2386">5.5908087838114149</cx:pt>
          <cx:pt idx="2387">5.2503270437120459</cx:pt>
          <cx:pt idx="2388">5.3792097408353063</cx:pt>
          <cx:pt idx="2389">5.4411451557609274</cx:pt>
          <cx:pt idx="2390">5.0290067698213612</cx:pt>
          <cx:pt idx="2391">5.2025634707004453</cx:pt>
          <cx:pt idx="2392">5.0110987927909694</cx:pt>
          <cx:pt idx="2393">4.8088460154178359</cx:pt>
          <cx:pt idx="2394">4.3861253103502689</cx:pt>
          <cx:pt idx="2395">4.6761807778000488</cx:pt>
          <cx:pt idx="2396">5.1478150704935004</cx:pt>
          <cx:pt idx="2397">5.3541261347363367</cx:pt>
          <cx:pt idx="2398">0.57735026918962573</cx:pt>
          <cx:pt idx="2399">0.70710678118654757</cx:pt>
        </cx:lvl>
      </cx:numDim>
    </cx:data>
    <cx:data id="3">
      <cx:numDim type="val">
        <cx:f>Sheet2!$D$4919:$D$7318</cx:f>
        <cx:lvl ptCount="2400" formatCode="#,##0.00">
          <cx:pt idx="0">11.703030357143824</cx:pt>
          <cx:pt idx="1">11.725598286331227</cx:pt>
          <cx:pt idx="2">11.940657869013233</cx:pt>
          <cx:pt idx="3">12.102816239187483</cx:pt>
          <cx:pt idx="4">12.310214429909205</cx:pt>
          <cx:pt idx="5">12.411016611596866</cx:pt>
          <cx:pt idx="6">12.00962257869741</cx:pt>
          <cx:pt idx="7">12.039398923400684</cx:pt>
          <cx:pt idx="8">12.176668853500784</cx:pt>
          <cx:pt idx="9">12.31506879965475</cx:pt>
          <cx:pt idx="10">12.31506879965475</cx:pt>
          <cx:pt idx="11">12.73645324960251</cx:pt>
          <cx:pt idx="12">12.732617179114632</cx:pt>
          <cx:pt idx="13">12.419672937000755</cx:pt>
          <cx:pt idx="14">12.275992831539126</cx:pt>
          <cx:pt idx="15">12.268078379535922</cx:pt>
          <cx:pt idx="16">12.139088568107896</cx:pt>
          <cx:pt idx="17">12.416572166577057</cx:pt>
          <cx:pt idx="18">12.301247483697432</cx:pt>
          <cx:pt idx="19">11.724078769289541</cx:pt>
          <cx:pt idx="20">11.787437302523374</cx:pt>
          <cx:pt idx="21">11.804976546540352</cx:pt>
          <cx:pt idx="22">11.579262081187538</cx:pt>
          <cx:pt idx="23">11.094215123000017</cx:pt>
          <cx:pt idx="24">11.31822860922038</cx:pt>
          <cx:pt idx="25">11.075706043761549</cx:pt>
          <cx:pt idx="26">11.055762527183337</cx:pt>
          <cx:pt idx="27">11.532114080792551</cx:pt>
          <cx:pt idx="28">11.301764687758778</cx:pt>
          <cx:pt idx="29">11.044580509041058</cx:pt>
          <cx:pt idx="30">10.972326736977372</cx:pt>
          <cx:pt idx="31">10.987767493115181</cx:pt>
          <cx:pt idx="32">10.516325567814826</cx:pt>
          <cx:pt idx="33">10.484800164178553</cx:pt>
          <cx:pt idx="34">10.533798913033698</cx:pt>
          <cx:pt idx="35">10.79000175769376</cx:pt>
          <cx:pt idx="36">11.058881072455414</cx:pt>
          <cx:pt idx="37">11.050771024226549</cx:pt>
          <cx:pt idx="38">11.025831738115786</cx:pt>
          <cx:pt idx="39">10.730823580352242</cx:pt>
          <cx:pt idx="40">10.972326736977372</cx:pt>
          <cx:pt idx="41">10.590605249003943</cx:pt>
          <cx:pt idx="42">10.601236102292587</cx:pt>
          <cx:pt idx="43">10.915769463876824</cx:pt>
          <cx:pt idx="44">11.127732778136309</cx:pt>
          <cx:pt idx="45">11.710099776757207</cx:pt>
          <cx:pt idx="46">11.335479850816897</cx:pt>
          <cx:pt idx="47">11.397771510356698</cx:pt>
          <cx:pt idx="48">11.684747893443543</cx:pt>
          <cx:pt idx="49">11.92837821736684</cx:pt>
          <cx:pt idx="50">12.179500395544043</cx:pt>
          <cx:pt idx="51">12.415044636783765</cx:pt>
          <cx:pt idx="52">12.351183106809284</cx:pt>
          <cx:pt idx="53">12.40226156610249</cx:pt>
          <cx:pt idx="54">12.339824324836075</cx:pt>
          <cx:pt idx="55">12.456083774144496</cx:pt>
          <cx:pt idx="56">12.387424101162798</cx:pt>
          <cx:pt idx="57">12.043980706741761</cx:pt>
          <cx:pt idx="58">11.980299921408335</cx:pt>
          <cx:pt idx="59">12.110791236241178</cx:pt>
          <cx:pt idx="60">12.255704747201392</cx:pt>
          <cx:pt idx="61">12.240360974318087</cx:pt>
          <cx:pt idx="62">12.614532761129491</cx:pt>
          <cx:pt idx="63">12.995313036612092</cx:pt>
          <cx:pt idx="64">13.196525143463676</cx:pt>
          <cx:pt idx="65">13.079597167686989</cx:pt>
          <cx:pt idx="66">12.86266985746229</cx:pt>
          <cx:pt idx="67">12.604004107434665</cx:pt>
          <cx:pt idx="68">12.594470598448051</cx:pt>
          <cx:pt idx="69">12.530239285493481</cx:pt>
          <cx:pt idx="70">12.052614539649865</cx:pt>
          <cx:pt idx="71">12.082284932718739</cx:pt>
          <cx:pt idx="72">12.151155283043817</cx:pt>
          <cx:pt idx="73">11.773533537304038</cx:pt>
          <cx:pt idx="74">11.577276593972062</cx:pt>
          <cx:pt idx="75">11.487174257135353</cx:pt>
          <cx:pt idx="76">11.844781575643879</cx:pt>
          <cx:pt idx="77">12.20989800102369</cx:pt>
          <cx:pt idx="78">11.848856581917538</cx:pt>
          <cx:pt idx="79">11.866159746372739</cx:pt>
          <cx:pt idx="80">11.792701814764674</cx:pt>
          <cx:pt idx="81">11.273812601543128</cx:pt>
          <cx:pt idx="82">11.643211232992895</cx:pt>
          <cx:pt idx="83">12.054283351839578</cx:pt>
          <cx:pt idx="84">12.033525964007257</cx:pt>
          <cx:pt idx="85">12.100584197923441</cx:pt>
          <cx:pt idx="86">12.081143281515443</cx:pt>
          <cx:pt idx="87">12.318754975156015</cx:pt>
          <cx:pt idx="88">12.756832742071811</cx:pt>
          <cx:pt idx="89">12.874995815198517</cx:pt>
          <cx:pt idx="90">12.500160918504438</cx:pt>
          <cx:pt idx="91">12.472544560597568</cx:pt>
          <cx:pt idx="92">12.835654365419229</cx:pt>
          <cx:pt idx="93">12.656423565575876</cx:pt>
          <cx:pt idx="94">12.702791801026649</cx:pt>
          <cx:pt idx="95">12.786307331376554</cx:pt>
          <cx:pt idx="96">12.786307331376554</cx:pt>
          <cx:pt idx="97">12.7757403006591</cx:pt>
          <cx:pt idx="98">12.673848538688206</cx:pt>
          <cx:pt idx="99">12.669494542167932</cx:pt>
          <cx:pt idx="100">12.669494542167932</cx:pt>
          <cx:pt idx="101">12.471576880453307</cx:pt>
          <cx:pt idx="102">12.458159861168776</cx:pt>
          <cx:pt idx="103">12.605417554533366</cx:pt>
          <cx:pt idx="104">12.767775528807789</cx:pt>
          <cx:pt idx="105">12.947995007438164</cx:pt>
          <cx:pt idx="106">12.674029922749851</cx:pt>
          <cx:pt idx="107">12.258705562536589</cx:pt>
          <cx:pt idx="108">12.631105556767661</cx:pt>
          <cx:pt idx="109">12.502367591872305</cx:pt>
          <cx:pt idx="110">12.416896163890055</cx:pt>
          <cx:pt idx="111">12.475493218084917</cx:pt>
          <cx:pt idx="112">12.688532246667172</cx:pt>
          <cx:pt idx="113">12.813606274079378</cx:pt>
          <cx:pt idx="114">12.944665612370677</cx:pt>
          <cx:pt idx="115">13.135194453579031</cx:pt>
          <cx:pt idx="116">13.505384196639891</cx:pt>
          <cx:pt idx="117">13.320151529979272</cx:pt>
          <cx:pt idx="118">13.038625200780823</cx:pt>
          <cx:pt idx="119">12.730450416858467</cx:pt>
          <cx:pt idx="120">13.00645286355792</cx:pt>
          <cx:pt idx="121">13.08047593074169</cx:pt>
          <cx:pt idx="122">12.627692611465292</cx:pt>
          <cx:pt idx="123">12.565277828068576</cx:pt>
          <cx:pt idx="124">12.218367556557071</cx:pt>
          <cx:pt idx="125">12.042119567508076</cx:pt>
          <cx:pt idx="126">12.326263895000602</cx:pt>
          <cx:pt idx="127">12.437660644142476</cx:pt>
          <cx:pt idx="128">12.762012596657371</cx:pt>
          <cx:pt idx="129">12.714187929735964</cx:pt>
          <cx:pt idx="130">12.741686494049508</cx:pt>
          <cx:pt idx="131">12.914439926713419</cx:pt>
          <cx:pt idx="132">13.338389845785768</cx:pt>
          <cx:pt idx="133">13.443325053934654</cx:pt>
          <cx:pt idx="134">13.276069560999812</cx:pt>
          <cx:pt idx="135">12.787790513098678</cx:pt>
          <cx:pt idx="136">12.655878648589201</cx:pt>
          <cx:pt idx="137">12.731940105521026</cx:pt>
          <cx:pt idx="138">12.43784547258889</cx:pt>
          <cx:pt idx="139">12.61999872488472</cx:pt>
          <cx:pt idx="140">12.657513329171765</cx:pt>
          <cx:pt idx="141">12.841026205992595</cx:pt>
          <cx:pt idx="142">12.44486691948444</cx:pt>
          <cx:pt idx="143">11.894169343330205</cx:pt>
          <cx:pt idx="144">11.953021067649724</cx:pt>
          <cx:pt idx="145">11.315181542217223</cx:pt>
          <cx:pt idx="146">10.973583745973103</cx:pt>
          <cx:pt idx="147">10.930764346348443</cx:pt>
          <cx:pt idx="148">10.910292514805489</cx:pt>
          <cx:pt idx="149">10.78531355620907</cx:pt>
          <cx:pt idx="150">10.78531355620907</cx:pt>
          <cx:pt idx="151">10.800383134966509</cx:pt>
          <cx:pt idx="152">10.782275792446036</cx:pt>
          <cx:pt idx="153">10.927977381710324</cx:pt>
          <cx:pt idx="154">10.401370378326428</cx:pt>
          <cx:pt idx="155">10.411973655474686</cx:pt>
          <cx:pt idx="156">10.314368952900207</cx:pt>
          <cx:pt idx="157">10.300094855048108</cx:pt>
          <cx:pt idx="158">10.580832811669682</cx:pt>
          <cx:pt idx="159">10.715763444892602</cx:pt>
          <cx:pt idx="160">10.782115886434617</cx:pt>
          <cx:pt idx="161">10.656011200850143</cx:pt>
          <cx:pt idx="162">10.554129768598347</cx:pt>
          <cx:pt idx="163">10.255864596448689</cx:pt>
          <cx:pt idx="164">10.317711588031191</cx:pt>
          <cx:pt idx="165">10.214931599683226</cx:pt>
          <cx:pt idx="166">10.906920717609982</cx:pt>
          <cx:pt idx="167">10.907605698271528</cx:pt>
          <cx:pt idx="168">11.140740188785616</cx:pt>
          <cx:pt idx="169">11.23566775430181</cx:pt>
          <cx:pt idx="170">11.642174620106736</cx:pt>
          <cx:pt idx="171">11.428739736034897</cx:pt>
          <cx:pt idx="172">11.574297724531364</cx:pt>
          <cx:pt idx="173">11.704405300923062</cx:pt>
          <cx:pt idx="174">11.484922649972965</cx:pt>
          <cx:pt idx="175">11.539288210881688</cx:pt>
          <cx:pt idx="176">11.54805053956588</cx:pt>
          <cx:pt idx="177">11.540483465639108</cx:pt>
          <cx:pt idx="178">11.725843351283974</cx:pt>
          <cx:pt idx="179">11.938010385069322</cx:pt>
          <cx:pt idx="180">11.370661987016785</cx:pt>
          <cx:pt idx="181">11.737747341107582</cx:pt>
          <cx:pt idx="182">11.980299921408337</cx:pt>
          <cx:pt idx="183">11.935843825054512</cx:pt>
          <cx:pt idx="184">12.086137209368349</cx:pt>
          <cx:pt idx="185">12.632015519779653</cx:pt>
          <cx:pt idx="186">12.921335826462753</cx:pt>
          <cx:pt idx="187">13.114175887008772</cx:pt>
          <cx:pt idx="188">12.868968289167015</cx:pt>
          <cx:pt idx="189">12.82638265272103</cx:pt>
          <cx:pt idx="190">13.235662379370728</cx:pt>
          <cx:pt idx="191">13.635484471833379</cx:pt>
          <cx:pt idx="192">13.459218948833684</cx:pt>
          <cx:pt idx="193">13.789926358234013</cx:pt>
          <cx:pt idx="194">14.186767349050735</cx:pt>
          <cx:pt idx="195">14.348254729865351</cx:pt>
          <cx:pt idx="196">14.348254729865353</cx:pt>
          <cx:pt idx="197">14.410085867636031</cx:pt>
          <cx:pt idx="198">14.464582189992024</cx:pt>
          <cx:pt idx="199">14.468713770094409</cx:pt>
          <cx:pt idx="200">14.468713770094409</cx:pt>
          <cx:pt idx="201">14.446452851824906</cx:pt>
          <cx:pt idx="202">14.218370826698719</cx:pt>
          <cx:pt idx="203">14.534975653277833</cx:pt>
          <cx:pt idx="204">14.455480605646768</cx:pt>
          <cx:pt idx="205">14.60687918551495</cx:pt>
          <cx:pt idx="206">14.592392916670068</cx:pt>
          <cx:pt idx="207">14.547148869448097</cx:pt>
          <cx:pt idx="208">14.475861795162444</cx:pt>
          <cx:pt idx="209">14.317780923547918</cx:pt>
          <cx:pt idx="210">14.301193584139559</cx:pt>
          <cx:pt idx="211">14.175460421479068</cx:pt>
          <cx:pt idx="212">13.868180730781136</cx:pt>
          <cx:pt idx="213">14.331903163078588</cx:pt>
          <cx:pt idx="214">14.935455001169331</cx:pt>
          <cx:pt idx="215">15.535683804209192</cx:pt>
          <cx:pt idx="216">15.730342595154104</cx:pt>
          <cx:pt idx="217">16.831688778207511</cx:pt>
          <cx:pt idx="218">18.140068052946141</cx:pt>
          <cx:pt idx="219">19.3040106606427</cx:pt>
          <cx:pt idx="220">19.738549714393564</cx:pt>
          <cx:pt idx="221">20.151723351192285</cx:pt>
          <cx:pt idx="222">20.677296117061427</cx:pt>
          <cx:pt idx="223">20.442911819947785</cx:pt>
          <cx:pt idx="224">20.354586593745864</cx:pt>
          <cx:pt idx="225">20.445610494816414</cx:pt>
          <cx:pt idx="226">19.897467059962654</cx:pt>
          <cx:pt idx="227">19.8015731408031</cx:pt>
          <cx:pt idx="228">18.709392809771913</cx:pt>
          <cx:pt idx="229">18.930635634263346</cx:pt>
          <cx:pt idx="230">17.730712363566791</cx:pt>
          <cx:pt idx="231">17.751023930317729</cx:pt>
          <cx:pt idx="232">17.901550693763355</cx:pt>
          <cx:pt idx="233">17.910377137162754</cx:pt>
          <cx:pt idx="234">17.296069582090198</cx:pt>
          <cx:pt idx="235">16.103865460150267</cx:pt>
          <cx:pt idx="236">15.456464629745529</cx:pt>
          <cx:pt idx="237">15.427099607471606</cx:pt>
          <cx:pt idx="238">14.473956000307949</cx:pt>
          <cx:pt idx="239">13.128892416801731</cx:pt>
          <cx:pt idx="240">12.274869196578164</cx:pt>
          <cx:pt idx="241">9.0655974690730883</cx:pt>
          <cx:pt idx="242">6.9979471538313351</cx:pt>
          <cx:pt idx="243">6.86662760841475</cx:pt>
          <cx:pt idx="244">6.749116587572308</cx:pt>
          <cx:pt idx="245">6.8060993605549953</cx:pt>
          <cx:pt idx="246">6.8528037721964496</cx:pt>
          <cx:pt idx="247">6.9576716940582104</cx:pt>
          <cx:pt idx="248">6.7132567425917822</cx:pt>
          <cx:pt idx="249">6.7132567425917822</cx:pt>
          <cx:pt idx="250">6.4406218019227213</cx:pt>
          <cx:pt idx="251">6.5354910816373177</cx:pt>
          <cx:pt idx="252">6.6691949228928848</cx:pt>
          <cx:pt idx="253">6.7807197936163268</cx:pt>
          <cx:pt idx="254">6.6051181826593046</cx:pt>
          <cx:pt idx="255">6.6051181826593046</cx:pt>
          <cx:pt idx="256">6.6609170608823849</cx:pt>
          <cx:pt idx="257">6.5689097050152601</cx:pt>
          <cx:pt idx="258">8.4595725551644723</cx:pt>
          <cx:pt idx="259">9.8907247854547631</cx:pt>
          <cx:pt idx="260">10.519221596130853</cx:pt>
          <cx:pt idx="261">10.397888821968765</cx:pt>
          <cx:pt idx="262">11.984137024829325</cx:pt>
          <cx:pt idx="263">13.844331592438088</cx:pt>
          <cx:pt idx="264">13.907907285334888</cx:pt>
          <cx:pt idx="265">14.28885105135525</cx:pt>
          <cx:pt idx="266">14.390929454858455</cx:pt>
          <cx:pt idx="267">14.392247274459795</cx:pt>
          <cx:pt idx="268">14.136607731733932</cx:pt>
          <cx:pt idx="269">14.344729497896294</cx:pt>
          <cx:pt idx="270">14.564205847008033</cx:pt>
          <cx:pt idx="271">14.936493918410459</cx:pt>
          <cx:pt idx="272">14.442951588048498</cx:pt>
          <cx:pt idx="273">15.355743243969426</cx:pt>
          <cx:pt idx="274">15.121918323847126</cx:pt>
          <cx:pt idx="275">14.975842616325984</cx:pt>
          <cx:pt idx="276">15.023391722596285</cx:pt>
          <cx:pt idx="277">14.941110454353634</cx:pt>
          <cx:pt idx="278">14.575842082493661</cx:pt>
          <cx:pt idx="279">14.662486342606647</cx:pt>
          <cx:pt idx="280">14.219300466166626</cx:pt>
          <cx:pt idx="281">14.08875805201707</cx:pt>
          <cx:pt idx="282">14.918938053483505</cx:pt>
          <cx:pt idx="283">15.433952719628376</cx:pt>
          <cx:pt idx="284">14.702763834320953</cx:pt>
          <cx:pt idx="285">14.462635171086701</cx:pt>
          <cx:pt idx="286">13.538408538197038</cx:pt>
          <cx:pt idx="287">12.703334705646315</cx:pt>
          <cx:pt idx="288">12.879637319088777</cx:pt>
          <cx:pt idx="289">13.048142511043697</cx:pt>
          <cx:pt idx="290">13.310828708970009</cx:pt>
          <cx:pt idx="291">13.040388189694777</cx:pt>
          <cx:pt idx="292">13.202620777796309</cx:pt>
          <cx:pt idx="293">12.925782841629575</cx:pt>
          <cx:pt idx="294">12.82638265272103</cx:pt>
          <cx:pt idx="295">12.883251178159192</cx:pt>
          <cx:pt idx="296">13.428439540979701</cx:pt>
          <cx:pt idx="297">13.416793388421326</cx:pt>
          <cx:pt idx="298">13.494826594943197</cx:pt>
          <cx:pt idx="299">13.582273775754199</cx:pt>
          <cx:pt idx="300">13.652670152715569</cx:pt>
          <cx:pt idx="301">13.759218435435315</cx:pt>
          <cx:pt idx="302">14.130792983581195</cx:pt>
          <cx:pt idx="303">13.607004619409949</cx:pt>
          <cx:pt idx="304">13.542780237149394</cx:pt>
          <cx:pt idx="305">13.591579543333388</cx:pt>
          <cx:pt idx="306">14.011325468324198</cx:pt>
          <cx:pt idx="307">13.894553634055869</cx:pt>
          <cx:pt idx="308">13.602949308332272</cx:pt>
          <cx:pt idx="309">13.40479413296327</cx:pt>
          <cx:pt idx="310">13.566524046808881</cx:pt>
          <cx:pt idx="311">12.971941426317654</cx:pt>
          <cx:pt idx="312">12.930450561528703</cx:pt>
          <cx:pt idx="313">12.68092059459552</cx:pt>
          <cx:pt idx="314">12.397812191126174</cx:pt>
          <cx:pt idx="315">12.142070871868244</cx:pt>
          <cx:pt idx="316">12.269202636411762</cx:pt>
          <cx:pt idx="317">12.302742428595657</cx:pt>
          <cx:pt idx="318">11.618504859594189</cx:pt>
          <cx:pt idx="319">11.703668743986457</cx:pt>
          <cx:pt idx="320">11.703668743986457</cx:pt>
          <cx:pt idx="321">11.32635011363112</cx:pt>
          <cx:pt idx="322">11.281966079575389</cx:pt>
          <cx:pt idx="323">11.834879290305075</cx:pt>
          <cx:pt idx="324">12.015315896469557</cx:pt>
          <cx:pt idx="325">12.364390843043592</cx:pt>
          <cx:pt idx="326">12.140982179208654</cx:pt>
          <cx:pt idx="327">12.784689118710277</cx:pt>
          <cx:pt idx="328">13.288185055490667</cx:pt>
          <cx:pt idx="329">13.808876039390908</cx:pt>
          <cx:pt idx="330">13.869838275665057</cx:pt>
          <cx:pt idx="331">13.650649430890001</cx:pt>
          <cx:pt idx="332">13.407366306041162</cx:pt>
          <cx:pt idx="333">13.413837425686904</cx:pt>
          <cx:pt idx="334">13.165131585182598</cx:pt>
          <cx:pt idx="335">13.136769490391396</cx:pt>
          <cx:pt idx="336">12.926182997952324</cx:pt>
          <cx:pt idx="337">13.018289521629391</cx:pt>
          <cx:pt idx="338">13.018289521629391</cx:pt>
          <cx:pt idx="339">12.966623821694425</cx:pt>
          <cx:pt idx="340">12.699036075284585</cx:pt>
          <cx:pt idx="341">12.731940105521026</cx:pt>
          <cx:pt idx="342">12.200857328082723</cx:pt>
          <cx:pt idx="343">12.419117632047</cx:pt>
          <cx:pt idx="344">12.517390202085432</cx:pt>
          <cx:pt idx="345">12.009574724255279</cx:pt>
          <cx:pt idx="346">12.134542695824249</cx:pt>
          <cx:pt idx="347">11.931268684167376</cx:pt>
          <cx:pt idx="348">12.572548091665482</cx:pt>
          <cx:pt idx="349">12.863742148728166</cx:pt>
          <cx:pt idx="350">12.562670482631168</cx:pt>
          <cx:pt idx="351">12.820601237537733</cx:pt>
          <cx:pt idx="352">12.6734404150579</cx:pt>
          <cx:pt idx="353">12.810780302308794</cx:pt>
          <cx:pt idx="354">12.756967895431011</cx:pt>
          <cx:pt idx="355">12.530468613669678</cx:pt>
          <cx:pt idx="356">12.800143677354544</cx:pt>
          <cx:pt idx="357">12.697904614903806</cx:pt>
          <cx:pt idx="358">12.294330998986634</cx:pt>
          <cx:pt idx="359">11.842889131816854</cx:pt>
          <cx:pt idx="360">12.187425213445756</cx:pt>
          <cx:pt idx="361">12.187425213445756</cx:pt>
          <cx:pt idx="362">12.685451890065741</cx:pt>
          <cx:pt idx="363">12.928805938233655</cx:pt>
          <cx:pt idx="364">12.922447723725325</cx:pt>
          <cx:pt idx="365">13.085747269804481</cx:pt>
          <cx:pt idx="366">12.864635656508606</cx:pt>
          <cx:pt idx="367">12.953719565233479</cx:pt>
          <cx:pt idx="368">13.138738020891093</cx:pt>
          <cx:pt idx="369">13.244343837206921</cx:pt>
          <cx:pt idx="370">13.71805589255505</cx:pt>
          <cx:pt idx="371">13.60713132840665</cx:pt>
          <cx:pt idx="372">13.621315277353267</cx:pt>
          <cx:pt idx="373">13.773245763093559</cx:pt>
          <cx:pt idx="374">13.899474892917739</cx:pt>
          <cx:pt idx="375">14.351138366477869</cx:pt>
          <cx:pt idx="376">14.282695904445022</cx:pt>
          <cx:pt idx="377">14.267115150325372</cx:pt>
          <cx:pt idx="378">13.970247531520476</cx:pt>
          <cx:pt idx="379">13.434772177014237</cx:pt>
          <cx:pt idx="380">13.327915565959044</cx:pt>
          <cx:pt idx="381">13.195958977404155</cx:pt>
          <cx:pt idx="382">13.195958977404155</cx:pt>
          <cx:pt idx="383">13.208496046715235</cx:pt>
          <cx:pt idx="384">13.458364915802237</cx:pt>
          <cx:pt idx="385">13.441914204132695</cx:pt>
          <cx:pt idx="386">13.53535175480995</cx:pt>
          <cx:pt idx="387">13.415593945835578</cx:pt>
          <cx:pt idx="388">13.28312385361007</cx:pt>
          <cx:pt idx="389">13.000486286218717</cx:pt>
          <cx:pt idx="390">12.756292114315475</cx:pt>
          <cx:pt idx="391">12.810241951289395</cx:pt>
          <cx:pt idx="392">12.773715829466147</cx:pt>
          <cx:pt idx="393">12.623140582316255</cx:pt>
          <cx:pt idx="394">13.045631672982591</cx:pt>
          <cx:pt idx="395">12.548801289091458</cx:pt>
          <cx:pt idx="396">12.503792528117495</cx:pt>
          <cx:pt idx="397">11.970461729732421</cx:pt>
          <cx:pt idx="398">12.000239461212297</cx:pt>
          <cx:pt idx="399">11.989890377495858</cx:pt>
          <cx:pt idx="400">12.355881841938842</cx:pt>
          <cx:pt idx="401">12.32421222214839</cx:pt>
          <cx:pt idx="402">12.410785076170507</cx:pt>
          <cx:pt idx="403">12.03467213235713</cx:pt>
          <cx:pt idx="404">11.539238405913354</cx:pt>
          <cx:pt idx="405">11.231370270849393</cx:pt>
          <cx:pt idx="406">11.487574496650369</cx:pt>
          <cx:pt idx="407">11.497326025956053</cx:pt>
          <cx:pt idx="408">11.397166415335462</cx:pt>
          <cx:pt idx="409">11.541479416714168</cx:pt>
          <cx:pt idx="410">11.388843098683763</cx:pt>
          <cx:pt idx="411">11.434018611546657</cx:pt>
          <cx:pt idx="412">11.434169400750431</cx:pt>
          <cx:pt idx="413">11.297492347124352</cx:pt>
          <cx:pt idx="414">11.251768698767972</cx:pt>
          <cx:pt idx="415">11.251768698767973</cx:pt>
          <cx:pt idx="416">10.96368089879374</cx:pt>
          <cx:pt idx="417">10.845625210512141</cx:pt>
          <cx:pt idx="418">11.385865405601928</cx:pt>
          <cx:pt idx="419">11.24461556970023</cx:pt>
          <cx:pt idx="420">11.449087701446009</cx:pt>
          <cx:pt idx="421">11.368892828148702</cx:pt>
          <cx:pt idx="422">11.205550759159136</cx:pt>
          <cx:pt idx="423">11.205550759159136</cx:pt>
          <cx:pt idx="424">11.306848702720263</cx:pt>
          <cx:pt idx="425">11.533110754612602</cx:pt>
          <cx:pt idx="426">11.65445995237914</cx:pt>
          <cx:pt idx="427">11.312895703373309</cx:pt>
          <cx:pt idx="428">10.935337635180831</cx:pt>
          <cx:pt idx="429">10.947156246489655</cx:pt>
          <cx:pt idx="430">10.423227818719091</cx:pt>
          <cx:pt idx="431">10.754095718034302</cx:pt>
          <cx:pt idx="432">11.125253451846213</cx:pt>
          <cx:pt idx="433">11.397922779092728</cx:pt>
          <cx:pt idx="434">11.179825837065907</cx:pt>
          <cx:pt idx="435">11.256671074441186</cx:pt>
          <cx:pt idx="436">10.787604636484575</cx:pt>
          <cx:pt idx="437">11.192361927548689</cx:pt>
          <cx:pt idx="438">11.28542952395831</cx:pt>
          <cx:pt idx="439">11.296474885006658</cx:pt>
          <cx:pt idx="440">11.663677778057178</cx:pt>
          <cx:pt idx="441">11.719371918363183</cx:pt>
          <cx:pt idx="442">11.701262334888705</cx:pt>
          <cx:pt idx="443">11.38339181419151</cx:pt>
          <cx:pt idx="444">11.288484621837922</cx:pt>
          <cx:pt idx="445">10.560444522166058</cx:pt>
          <cx:pt idx="446">10.649267418546881</cx:pt>
          <cx:pt idx="447">11.208781450683899</cx:pt>
          <cx:pt idx="448">11.02577961379394</cx:pt>
          <cx:pt idx="449">11.292607692900125</cx:pt>
          <cx:pt idx="450">11.063089714134495</cx:pt>
          <cx:pt idx="451">11.497176065071997</cx:pt>
          <cx:pt idx="452">11.394897022830857</cx:pt>
          <cx:pt idx="453">11.18311535152514</cx:pt>
          <cx:pt idx="454">11.23628154633488</cx:pt>
          <cx:pt idx="455">11.498375697382691</cx:pt>
          <cx:pt idx="456">11.875019661205744</cx:pt>
          <cx:pt idx="457">12.295032171245184</cx:pt>
          <cx:pt idx="458">12.32980688944618</cx:pt>
          <cx:pt idx="459">12.800143677354546</cx:pt>
          <cx:pt idx="460">12.794799590135209</cx:pt>
          <cx:pt idx="461">12.915107432770352</cx:pt>
          <cx:pt idx="462">12.434887887778048</cx:pt>
          <cx:pt idx="463">12.753228124134175</cx:pt>
          <cx:pt idx="464">13.037699536168269</cx:pt>
          <cx:pt idx="465">12.970745155350846</cx:pt>
          <cx:pt idx="466">12.952432869595556</cx:pt>
          <cx:pt idx="467">12.454284218785874</cx:pt>
          <cx:pt idx="468">12.477520015897646</cx:pt>
          <cx:pt idx="469">12.386542567706664</cx:pt>
          <cx:pt idx="470">12.603593722135116</cx:pt>
          <cx:pt idx="471">12.759670661984142</cx:pt>
          <cx:pt idx="472">12.789363396664983</cx:pt>
          <cx:pt idx="473">13.079992618367632</cx:pt>
          <cx:pt idx="474">13.17102357711676</cx:pt>
          <cx:pt idx="475">13.244343837206921</cx:pt>
          <cx:pt idx="476">13.349243381202349</cx:pt>
          <cx:pt idx="477">13.468737749014348</cx:pt>
          <cx:pt idx="478">13.304091497532351</cx:pt>
          <cx:pt idx="479">13.093825868021499</cx:pt>
          <cx:pt idx="480">13.389350717778594</cx:pt>
          <cx:pt idx="481">13.13781941003052</cx:pt>
          <cx:pt idx="482">12.987350167290328</cx:pt>
          <cx:pt idx="483">13.466902808900342</cx:pt>
          <cx:pt idx="484">13.120134566172817</cx:pt>
          <cx:pt idx="485">13.049860174527259</cx:pt>
          <cx:pt idx="486">12.891055439521917</cx:pt>
          <cx:pt idx="487">12.623459277786379</cx:pt>
          <cx:pt idx="488">12.928139139458368</cx:pt>
          <cx:pt idx="489">12.838340566667762</cx:pt>
          <cx:pt idx="490">13.124558011167681</cx:pt>
          <cx:pt idx="491">12.706048880785859</cx:pt>
          <cx:pt idx="492">12.768900797884164</cx:pt>
          <cx:pt idx="493">12.787206249926561</cx:pt>
          <cx:pt idx="494">12.467013948079515</cx:pt>
          <cx:pt idx="495">12.907985588542584</cx:pt>
          <cx:pt idx="496">13.152902743300151</cx:pt>
          <cx:pt idx="497">13.177131008273212</cx:pt>
          <cx:pt idx="498">13.11141469873861</cx:pt>
          <cx:pt idx="499">12.804498132054732</cx:pt>
          <cx:pt idx="500">12.386542567706663</cx:pt>
          <cx:pt idx="501">12.390624932056353</cx:pt>
          <cx:pt idx="502">12.737897117990306</cx:pt>
          <cx:pt idx="503">12.5663754958798</cx:pt>
          <cx:pt idx="504">12.478763569756621</cx:pt>
          <cx:pt idx="505">12.522898566456055</cx:pt>
          <cx:pt idx="506">12.260393198397445</cx:pt>
          <cx:pt idx="507">11.820496517957039</cx:pt>
          <cx:pt idx="508">11.820496517957039</cx:pt>
          <cx:pt idx="509">12.093695517267161</cx:pt>
          <cx:pt idx="510">12.279316316285783</cx:pt>
          <cx:pt idx="511">12.469226487453113</cx:pt>
          <cx:pt idx="512">12.459405347334817</cx:pt>
          <cx:pt idx="513">12.077146652432761</cx:pt>
          <cx:pt idx="514">12.25218723143027</cx:pt>
          <cx:pt idx="515">11.595133739495273</cx:pt>
          <cx:pt idx="516">11.521294627126652</cx:pt>
          <cx:pt idx="517">12.076194879125655</cx:pt>
          <cx:pt idx="518">12.186293412126464</cx:pt>
          <cx:pt idx="519">11.97031769616523</cx:pt>
          <cx:pt idx="520">12.035579438223699</cx:pt>
          <cx:pt idx="521">12.224151711160625</cx:pt>
          <cx:pt idx="522">12.520557807705371</cx:pt>
          <cx:pt idx="523">12.021484598585277</cx:pt>
          <cx:pt idx="524">12.480053050285125</cx:pt>
          <cx:pt idx="525">12.213615918027857</cx:pt>
          <cx:pt idx="526">12.140982179208653</cx:pt>
          <cx:pt idx="527">12.047845231104343</cx:pt>
          <cx:pt idx="528">12.080619988657238</cx:pt>
          <cx:pt idx="529">12.065720417588098</cx:pt>
          <cx:pt idx="530">12.148742898875939</cx:pt>
          <cx:pt idx="531">12.041880939110971</cx:pt>
          <cx:pt idx="532">11.935843825054512</cx:pt>
          <cx:pt idx="533">11.704257993243903</cx:pt>
          <cx:pt idx="534">11.975069889172868</cx:pt>
          <cx:pt idx="535">11.94955873758477</cx:pt>
          <cx:pt idx="536">11.944507707219081</cx:pt>
          <cx:pt idx="537">11.905036121636561</cx:pt>
          <cx:pt idx="538">11.912709334075135</cx:pt>
          <cx:pt idx="539">11.710296088603339</cx:pt>
          <cx:pt idx="540">11.449840635341291</cx:pt>
          <cx:pt idx="541">11.043487704962375</cx:pt>
          <cx:pt idx="542">11.054982753408568</cx:pt>
          <cx:pt idx="543">11.461279140664441</cx:pt>
          <cx:pt idx="544">11.203242551965076</cx:pt>
          <cx:pt idx="545">11.509166761335502</cx:pt>
          <cx:pt idx="546">11.451095415151189</cx:pt>
          <cx:pt idx="547">10.929712745065864</cx:pt>
          <cx:pt idx="548">10.685902196217521</cx:pt>
          <cx:pt idx="549">10.737409092653055</cx:pt>
          <cx:pt idx="550">10.683320332805403</cx:pt>
          <cx:pt idx="551">10.43777401732676</cx:pt>
          <cx:pt idx="552">9.9435764513417482</cx:pt>
          <cx:pt idx="553">10.019578535197398</cx:pt>
          <cx:pt idx="554">9.584770007253903</cx:pt>
          <cx:pt idx="555">9.4509623666149682</cx:pt>
          <cx:pt idx="556">9.2164894705587095</cx:pt>
          <cx:pt idx="557">9.4771958605544491</cx:pt>
          <cx:pt idx="558">9.8599969690606404</cx:pt>
          <cx:pt idx="559">10.219487806856211</cx:pt>
          <cx:pt idx="560">10.040378249961446</cx:pt>
          <cx:pt idx="561">10.334853429163806</cx:pt>
          <cx:pt idx="562">9.7899784555901626</cx:pt>
          <cx:pt idx="563">10.1594189353254</cx:pt>
          <cx:pt idx="564">10.016365918180933</cx:pt>
          <cx:pt idx="565">9.8837495793411545</cx:pt>
          <cx:pt idx="566">9.8391663977340507</cx:pt>
          <cx:pt idx="567">9.8462315563909506</cx:pt>
          <cx:pt idx="568">9.9409752291084157</cx:pt>
          <cx:pt idx="569">10.05073337519757</cx:pt>
          <cx:pt idx="570">9.9920083008901397</cx:pt>
          <cx:pt idx="571">9.9602081869023564</cx:pt>
          <cx:pt idx="572">9.9000174155193381</cx:pt>
          <cx:pt idx="573">9.3186871947974925</cx:pt>
          <cx:pt idx="574">9.1816909268316209</cx:pt>
          <cx:pt idx="575">9.3273174372223782</cx:pt>
          <cx:pt idx="576">9.8494996663871675</cx:pt>
          <cx:pt idx="577">9.9749110559800318</cx:pt>
          <cx:pt idx="578">9.8562075661081163</cx:pt>
          <cx:pt idx="579">10.370659319090743</cx:pt>
          <cx:pt idx="580">10.105250712081467</cx:pt>
          <cx:pt idx="581">10.687246669713875</cx:pt>
          <cx:pt idx="582">10.716836040205322</cx:pt>
          <cx:pt idx="583">10.819522584916454</cx:pt>
          <cx:pt idx="584">10.893475849881616</cx:pt>
          <cx:pt idx="585">10.893475849881616</cx:pt>
          <cx:pt idx="586">10.915822113509963</cx:pt>
          <cx:pt idx="587">11.247681753480856</cx:pt>
          <cx:pt idx="588">11.658749366103089</cx:pt>
          <cx:pt idx="589">11.428739736034897</cx:pt>
          <cx:pt idx="590">11.639409867728068</cx:pt>
          <cx:pt idx="591">11.967196543194579</cx:pt>
          <cx:pt idx="592">12.423374335705155</cx:pt>
          <cx:pt idx="593">12.220201853215572</cx:pt>
          <cx:pt idx="594">12.272996243037362</cx:pt>
          <cx:pt idx="595">12.452253638986605</cx:pt>
          <cx:pt idx="596">12.58812613299652</cx:pt>
          <cx:pt idx="597">12.653698745980282</cx:pt>
          <cx:pt idx="598">12.546419556118826</cx:pt>
          <cx:pt idx="599">12.78396984733112</cx:pt>
          <cx:pt idx="600">13.153558148045834</cx:pt>
          <cx:pt idx="601">13.421932642584261</cx:pt>
          <cx:pt idx="602">13.73392477244478</cx:pt>
          <cx:pt idx="603">14.915701824571993</cx:pt>
          <cx:pt idx="604">15.319584040450112</cx:pt>
          <cx:pt idx="605">15.930307989605167</cx:pt>
          <cx:pt idx="606">15.678559926833533</cx:pt>
          <cx:pt idx="607">16.676123753686763</cx:pt>
          <cx:pt idx="608">16.623069415171472</cx:pt>
          <cx:pt idx="609">17.367726708884003</cx:pt>
          <cx:pt idx="610">18.029637159187484</cx:pt>
          <cx:pt idx="611">18.219889346977162</cx:pt>
          <cx:pt idx="612">18.358655448726559</cx:pt>
          <cx:pt idx="613">18.158972323952394</cx:pt>
          <cx:pt idx="614">17.985306902241508</cx:pt>
          <cx:pt idx="615">18.249106418054321</cx:pt>
          <cx:pt idx="616">18.18247229753354</cx:pt>
          <cx:pt idx="617">17.165891066063363</cx:pt>
          <cx:pt idx="618">17.234855087440025</cx:pt>
          <cx:pt idx="619">17.139354458799428</cx:pt>
          <cx:pt idx="620">17.488781297287922</cx:pt>
          <cx:pt idx="621">17.503661357542889</cx:pt>
          <cx:pt idx="622">15.972282025541878</cx:pt>
          <cx:pt idx="623">15.666201998489335</cx:pt>
          <cx:pt idx="624">15.651557889482318</cx:pt>
          <cx:pt idx="625">14.304408130154247</cx:pt>
          <cx:pt idx="626">14.194421763333734</cx:pt>
          <cx:pt idx="627">13.911873701448609</cx:pt>
          <cx:pt idx="628">13.168623454186887</cx:pt>
          <cx:pt idx="629">9.8785731204740159</cx:pt>
          <cx:pt idx="630">9.8003635869686772</cx:pt>
          <cx:pt idx="631">5.6901810972534284</cx:pt>
          <cx:pt idx="632">5.1373099987238957</cx:pt>
          <cx:pt idx="633">5.2066491529868673</cx:pt>
          <cx:pt idx="634">5.0759745114981936</cx:pt>
          <cx:pt idx="635">5.0973285768811936</cx:pt>
          <cx:pt idx="636">5.2106213365244347</cx:pt>
          <cx:pt idx="637">5.1198284813224868</cx:pt>
          <cx:pt idx="638">5.0541891126279479</cx:pt>
          <cx:pt idx="639">5.2610037939104588</cx:pt>
          <cx:pt idx="640">5.4797432610384718</cx:pt>
          <cx:pt idx="641">5.5091355685482712</cx:pt>
          <cx:pt idx="642">5.5091355685482704</cx:pt>
          <cx:pt idx="643">5.761545131199667</cx:pt>
          <cx:pt idx="644">5.7396583662200253</cx:pt>
          <cx:pt idx="645">5.7436621742938359</cx:pt>
          <cx:pt idx="646">5.8427674123212165</cx:pt>
          <cx:pt idx="647">7.5106055283378348</cx:pt>
          <cx:pt idx="648">9.8646005913866688</cx:pt>
          <cx:pt idx="649">11.207755935219515</cx:pt>
          <cx:pt idx="650">12.508433936357896</cx:pt>
          <cx:pt idx="651">14.151723017633438</cx:pt>
          <cx:pt idx="652">15.692483009023961</cx:pt>
          <cx:pt idx="653">16.080258475648897</cx:pt>
          <cx:pt idx="654">17.576401368240067</cx:pt>
          <cx:pt idx="655">18.106485787866372</cx:pt>
          <cx:pt idx="656">17.773834572266583</cx:pt>
          <cx:pt idx="657">18.241074025648693</cx:pt>
          <cx:pt idx="658">18.654018703569037</cx:pt>
          <cx:pt idx="659">18.611608045061249</cx:pt>
          <cx:pt idx="660">18.400431029434216</cx:pt>
          <cx:pt idx="661">17.970633771821166</cx:pt>
          <cx:pt idx="662">17.666417261306119</cx:pt>
          <cx:pt idx="663">17.59182804011861</cx:pt>
          <cx:pt idx="664">17.343089650367652</cx:pt>
          <cx:pt idx="665">16.771760611903225</cx:pt>
          <cx:pt idx="666">16.594037150902047</cx:pt>
          <cx:pt idx="667">16.136059425804785</cx:pt>
          <cx:pt idx="668">16.030861041975456</cx:pt>
          <cx:pt idx="669">16.140510895074637</cx:pt>
          <cx:pt idx="670">15.921105778035718</cx:pt>
          <cx:pt idx="671">15.51302752490647</cx:pt>
          <cx:pt idx="672">14.468713770094409</cx:pt>
          <cx:pt idx="673">12.930406115000819</cx:pt>
          <cx:pt idx="674">12.138283693936421</cx:pt>
          <cx:pt idx="675">11.307407804813968</cx:pt>
          <cx:pt idx="676">10.608010419370412</cx:pt>
          <cx:pt idx="677">10.704816833943301</cx:pt>
          <cx:pt idx="678">10.673848157190481</cx:pt>
          <cx:pt idx="679">10.713027840775986</cx:pt>
          <cx:pt idx="680">10.687838184472634</cx:pt>
          <cx:pt idx="681">10.667654408290165</cx:pt>
          <cx:pt idx="682">10.332406335876225</cx:pt>
          <cx:pt idx="683">10.601236102292587</cx:pt>
          <cx:pt idx="684">10.053935010502222</cx:pt>
          <cx:pt idx="685">9.9041962545315023</cx:pt>
          <cx:pt idx="686">10.314814700170363</cx:pt>
          <cx:pt idx="687">10.076945349966273</cx:pt>
          <cx:pt idx="688">9.4041443541920788</cx:pt>
          <cx:pt idx="689">9.3206605261471758</cx:pt>
          <cx:pt idx="690">9.2971383559241172</cx:pt>
          <cx:pt idx="691">9.3129498271363307</cx:pt>
          <cx:pt idx="692">9.3894046424802617</cx:pt>
          <cx:pt idx="693">9.4245948722344099</cx:pt>
          <cx:pt idx="694">10.173269007494619</cx:pt>
          <cx:pt idx="695">10.183658308865441</cx:pt>
          <cx:pt idx="696">10.119970014948082</cx:pt>
          <cx:pt idx="697">10.119970014948082</cx:pt>
          <cx:pt idx="698">9.881830534503397</cx:pt>
          <cx:pt idx="699">9.6694803673575258</cx:pt>
          <cx:pt idx="700">9.9756024218169852</cx:pt>
          <cx:pt idx="701">10.535326451908164</cx:pt>
          <cx:pt idx="702">10.820159983519906</cx:pt>
          <cx:pt idx="703">10.79000175769376</cx:pt>
          <cx:pt idx="704">10.454938886786321</cx:pt>
          <cx:pt idx="705">10.388986210538476</cx:pt>
          <cx:pt idx="706">10.307011339792963</cx:pt>
          <cx:pt idx="707">10.441737645500929</cx:pt>
          <cx:pt idx="708">10.655525791112209</cx:pt>
          <cx:pt idx="709">11.07388976298566</cx:pt>
          <cx:pt idx="710">11.006998818411208</cx:pt>
          <cx:pt idx="711">10.743830092544803</cx:pt>
          <cx:pt idx="712">10.583493980136531</cx:pt>
          <cx:pt idx="713">10.424551039148692</cx:pt>
          <cx:pt idx="714">10.066674278751785</cx:pt>
          <cx:pt idx="715">10.702669126754392</cx:pt>
          <cx:pt idx="716">10.464005079263416</cx:pt>
          <cx:pt idx="717">10.547102887065472</cx:pt>
          <cx:pt idx="718">10.532980497509692</cx:pt>
          <cx:pt idx="719">10.968292860598776</cx:pt>
          <cx:pt idx="720">11.1415139605591</cx:pt>
          <cx:pt idx="721">11.373542599575904</cx:pt>
          <cx:pt idx="722">11.04765018963959</cx:pt>
          <cx:pt idx="723">11.021452435732028</cx:pt>
          <cx:pt idx="724">10.522062207735148</cx:pt>
          <cx:pt idx="725">11.053111071902611</cx:pt>
          <cx:pt idx="726">11.336493812198857</cx:pt>
          <cx:pt idx="727">11.645333533370708</cx:pt>
          <cx:pt idx="728">11.858359484143344</cx:pt>
          <cx:pt idx="729">12.328082137761832</cx:pt>
          <cx:pt idx="730">12.084425238021598</cx:pt>
          <cx:pt idx="731">12.114207484953596</cx:pt>
          <cx:pt idx="732">12.311148111207661</cx:pt>
          <cx:pt idx="733">12.237120839347041</cx:pt>
          <cx:pt idx="734">12.307553049610046</cx:pt>
          <cx:pt idx="735">12.356021381003517</cx:pt>
          <cx:pt idx="736">12.355881841938842</cx:pt>
          <cx:pt idx="737">12.20989800102369</cx:pt>
          <cx:pt idx="738">12.428924366957114</cx:pt>
          <cx:pt idx="739">12.340010618673126</cx:pt>
          <cx:pt idx="740">12.340010618673126</cx:pt>
          <cx:pt idx="741">12.433547500543675</cx:pt>
          <cx:pt idx="742">12.592690819239769</cx:pt>
          <cx:pt idx="743">12.744392501405668</cx:pt>
          <cx:pt idx="744">12.932406057527794</cx:pt>
          <cx:pt idx="745">12.465123759707627</cx:pt>
          <cx:pt idx="746">12.358439807789599</cx:pt>
          <cx:pt idx="747">12.609474635158781</cx:pt>
          <cx:pt idx="748">12.764939410781373</cx:pt>
          <cx:pt idx="749">12.512476532066595</cx:pt>
          <cx:pt idx="750">12.34820476504744</cx:pt>
          <cx:pt idx="751">12.113638177073701</cx:pt>
          <cx:pt idx="752">12.178226283096354</cx:pt>
          <cx:pt idx="753">12.514635110702308</cx:pt>
          <cx:pt idx="754">12.895869426908066</cx:pt>
          <cx:pt idx="755">12.52496357853699</cx:pt>
          <cx:pt idx="756">12.180821556574232</cx:pt>
          <cx:pt idx="757">11.682386781798499</cx:pt>
          <cx:pt idx="758">11.12463353393575</cx:pt>
          <cx:pt idx="759">11.12463353393575</cx:pt>
          <cx:pt idx="760">10.943743292008421</cx:pt>
          <cx:pt idx="761">10.908659430686829</cx:pt>
          <cx:pt idx="762">10.792504849178444</cx:pt>
          <cx:pt idx="763">11.200831249941013</cx:pt>
          <cx:pt idx="764">11.784657861793876</cx:pt>
          <cx:pt idx="765">11.745823420096693</cx:pt>
          <cx:pt idx="766">11.737747341107584</cx:pt>
          <cx:pt idx="767">12.40856211626083</cx:pt>
          <cx:pt idx="768">11.927173649459784</cx:pt>
          <cx:pt idx="769">11.972622025309223</cx:pt>
          <cx:pt idx="770">11.955088369854675</cx:pt>
          <cx:pt idx="771">11.852348329320238</cx:pt>
          <cx:pt idx="772">11.711866464913012</cx:pt>
          <cx:pt idx="773">11.630765780621591</cx:pt>
          <cx:pt idx="774">11.324066529238545</cx:pt>
          <cx:pt idx="775">10.797030243032827</cx:pt>
          <cx:pt idx="776">11.211857434271842</cx:pt>
          <cx:pt idx="777">11.580850225869556</cx:pt>
          <cx:pt idx="778">11.959510234849555</cx:pt>
          <cx:pt idx="779">11.745383049884145</cx:pt>
          <cx:pt idx="780">11.973918015573604</cx:pt>
          <cx:pt idx="781">11.860491742243072</cx:pt>
          <cx:pt idx="782">12.138141651777701</cx:pt>
          <cx:pt idx="783">12.455945356039567</cx:pt>
          <cx:pt idx="784">12.119187788118399</cx:pt>
          <cx:pt idx="785">12.449437969126416</cx:pt>
          <cx:pt idx="786">12.584610196311344</cx:pt>
          <cx:pt idx="787">12.557408400905276</cx:pt>
          <cx:pt idx="788">12.800143677354544</cx:pt>
          <cx:pt idx="789">12.769800941751365</cx:pt>
          <cx:pt idx="790">12.967022717683484</cx:pt>
          <cx:pt idx="791">12.797090186498622</cx:pt>
          <cx:pt idx="792">12.62004426463629</cx:pt>
          <cx:pt idx="793">12.186717849939049</cx:pt>
          <cx:pt idx="794">11.789777375960611</cx:pt>
          <cx:pt idx="795">11.750079481267008</cx:pt>
          <cx:pt idx="796">11.783682464059913</cx:pt>
          <cx:pt idx="797">11.049730843968007</cx:pt>
          <cx:pt idx="798">11.103535731789512</cx:pt>
          <cx:pt idx="799">10.801447327456449</cx:pt>
          <cx:pt idx="800">10.873832345822585</cx:pt>
          <cx:pt idx="801">10.792717851435274</cx:pt>
          <cx:pt idx="802">10.599772281223455</cx:pt>
          <cx:pt idx="803">10.471910978433204</cx:pt>
          <cx:pt idx="804">10.257657638558864</cx:pt>
          <cx:pt idx="805">11.108089627492827</cx:pt>
          <cx:pt idx="806">10.716836040205319</cx:pt>
          <cx:pt idx="807">10.245772887828693</cx:pt>
          <cx:pt idx="808">10.245772887828693</cx:pt>
          <cx:pt idx="809">10.617757842840239</cx:pt>
          <cx:pt idx="810">10.348191024100027</cx:pt>
          <cx:pt idx="811">10.340690743730386</cx:pt>
          <cx:pt idx="812">10.178916682416956</cx:pt>
          <cx:pt idx="813">9.580631803128977</cx:pt>
          <cx:pt idx="814">9.8459980784539844</cx:pt>
          <cx:pt idx="815">10.219937692411905</cx:pt>
          <cx:pt idx="816">10.20457413777436</cx:pt>
          <cx:pt idx="817">10.212737145349429</cx:pt>
          <cx:pt idx="818">9.9324731556901646</cx:pt>
          <cx:pt idx="819">9.8459980784539844</cx:pt>
          <cx:pt idx="820">9.4704015620841773</cx:pt>
          <cx:pt idx="821">10.149514455290998</cx:pt>
          <cx:pt idx="822">10.638036289276044</cx:pt>
          <cx:pt idx="823">11.222155836076926</cx:pt>
          <cx:pt idx="824">11.444016656811511</cx:pt>
          <cx:pt idx="825">11.420137487345983</cx:pt>
          <cx:pt idx="826">11.969741544564702</cx:pt>
          <cx:pt idx="827">11.941620444921817</cx:pt>
          <cx:pt idx="828">12.01129736405756</cx:pt>
          <cx:pt idx="829">12.061194542544426</cx:pt>
          <cx:pt idx="830">12.153472612867654</cx:pt>
          <cx:pt idx="831">12.359788340262627</cx:pt>
          <cx:pt idx="832">12.432807914694017</cx:pt>
          <cx:pt idx="833">12.804632782304033</cx:pt>
          <cx:pt idx="834">13.028880386968446</cx:pt>
          <cx:pt idx="835">12.356579521504498</cx:pt>
          <cx:pt idx="836">12.840354848822448</cx:pt>
          <cx:pt idx="837">12.804857196239713</cx:pt>
          <cx:pt idx="838">12.42767582602562</cx:pt>
          <cx:pt idx="839">12.07333910901948</cx:pt>
          <cx:pt idx="840">12.15531670249406</cx:pt>
          <cx:pt idx="841">12.167461791054928</cx:pt>
          <cx:pt idx="842">12.202129077459741</cx:pt>
          <cx:pt idx="843">12.430450191124335</cx:pt>
          <cx:pt idx="844">12.391552554568925</cx:pt>
          <cx:pt idx="845">11.993341064318043</cx:pt>
          <cx:pt idx="846">12.044982739522805</cx:pt>
          <cx:pt idx="847">12.452253638986605</cx:pt>
          <cx:pt idx="848">12.59761882261882</cx:pt>
          <cx:pt idx="849">12.483736546439912</cx:pt>
          <cx:pt idx="850">12.947107252467502</cx:pt>
          <cx:pt idx="851">12.482125150624876</cx:pt>
          <cx:pt idx="852">12.265267286496263</cx:pt>
          <cx:pt idx="853">11.778657886584337</cx:pt>
          <cx:pt idx="854">11.735396892729494</cx:pt>
          <cx:pt idx="855">11.748514212737566</cx:pt>
          <cx:pt idx="856">11.869791658786118</cx:pt>
          <cx:pt idx="857">12.001724014088342</cx:pt>
          <cx:pt idx="858">12.164391221639635</cx:pt>
          <cx:pt idx="859">12.451099752932318</cx:pt>
          <cx:pt idx="860">12.238247940112922</cx:pt>
          <cx:pt idx="861">12.15058770632908</cx:pt>
          <cx:pt idx="862">12.175724859821239</cx:pt>
          <cx:pt idx="863">12.099396774172281</cx:pt>
          <cx:pt idx="864">12.308113388022301</cx:pt>
          <cx:pt idx="865">12.467705408811982</cx:pt>
          <cx:pt idx="866">12.153992769040347</cx:pt>
          <cx:pt idx="867">12.614942790563713</cx:pt>
          <cx:pt idx="868">12.770340997616403</cx:pt>
          <cx:pt idx="869">12.770340997616403</cx:pt>
          <cx:pt idx="870">12.720198436968744</cx:pt>
          <cx:pt idx="871">13.018510252536664</cx:pt>
          <cx:pt idx="872">13.23878836001918</cx:pt>
          <cx:pt idx="873">13.405951671921134</cx:pt>
          <cx:pt idx="874">13.286454946955235</cx:pt>
          <cx:pt idx="875">13.3020178229064</cx:pt>
          <cx:pt idx="876">13.153558148045835</cx:pt>
          <cx:pt idx="877">12.7489012373075</cx:pt>
          <cx:pt idx="878">12.484703284097465</cx:pt>
          <cx:pt idx="879">12.383758365874547</cx:pt>
          <cx:pt idx="880">12.495332461896854</cx:pt>
          <cx:pt idx="881">12.406153460205179</cx:pt>
          <cx:pt idx="882">12.307786527048734</cx:pt>
          <cx:pt idx="883">12.477289714544968</cx:pt>
          <cx:pt idx="884">12.141124188135306</cx:pt>
          <cx:pt idx="885">12.101866484711895</cx:pt>
          <cx:pt idx="886">11.854530149165392</cx:pt>
          <cx:pt idx="887">11.769285957696114</cx:pt>
          <cx:pt idx="888">11.379756173781256</cx:pt>
          <cx:pt idx="889">11.379756173781256</cx:pt>
          <cx:pt idx="890">11.374755270829541</cx:pt>
          <cx:pt idx="891">11.38642062777604</cx:pt>
          <cx:pt idx="892">11.281609488174912</cx:pt>
          <cx:pt idx="893">10.975468989534336</cx:pt>
          <cx:pt idx="894">10.763710850091051</cx:pt>
          <cx:pt idx="895">10.610177287348479</cx:pt>
          <cx:pt idx="896">10.784674098103238</cx:pt>
          <cx:pt idx="897">10.466641042504689</cx:pt>
          <cx:pt idx="898">10.272438294083209</cx:pt>
          <cx:pt idx="899">10.282727398828614</cx:pt>
          <cx:pt idx="900">10.261858853367492</cx:pt>
          <cx:pt idx="901">10.288035680387173</cx:pt>
          <cx:pt idx="902">9.6502635304377353</cx:pt>
          <cx:pt idx="903">9.8783404069409499</cx:pt>
          <cx:pt idx="904">10.290269927091989</cx:pt>
          <cx:pt idx="905">10.587837307522944</cx:pt>
          <cx:pt idx="906">10.82122223109352</cx:pt>
          <cx:pt idx="907">10.875734880705869</cx:pt>
          <cx:pt idx="908">11.301307014230037</cx:pt>
          <cx:pt idx="909">11.226815189996888</cx:pt>
          <cx:pt idx="910">11.382836444280546</cx:pt>
          <cx:pt idx="911">11.294439685796368</cx:pt>
          <cx:pt idx="912">11.448836712477188</cx:pt>
          <cx:pt idx="913">11.358525078284725</cx:pt>
          <cx:pt idx="914">11.400544451608591</cx:pt>
          <cx:pt idx="915">11.381018680544221</cx:pt>
          <cx:pt idx="916">10.922085607748572</cx:pt>
          <cx:pt idx="917">11.010966320461835</cx:pt>
          <cx:pt idx="918">11.836044695040167</cx:pt>
          <cx:pt idx="919">11.379756173781256</cx:pt>
          <cx:pt idx="920">11.638669197535222</cx:pt>
          <cx:pt idx="921">11.354729633834143</cx:pt>
          <cx:pt idx="922">11.421345211347989</cx:pt>
          <cx:pt idx="923">11.253045564768614</cx:pt>
          <cx:pt idx="924">11.001358327837126</cx:pt>
          <cx:pt idx="925">11.333451655907023</cx:pt>
          <cx:pt idx="926">11.218621629432372</cx:pt>
          <cx:pt idx="927">11.118794278468172</cx:pt>
          <cx:pt idx="928">10.842074280904169</cx:pt>
          <cx:pt idx="929">11.093956105419089</cx:pt>
          <cx:pt idx="930">11.404576617134543</cx:pt>
          <cx:pt idx="931">11.297644958538722</cx:pt>
          <cx:pt idx="932">11.297644958538722</cx:pt>
          <cx:pt idx="933">11.145846089798265</cx:pt>
          <cx:pt idx="934">10.868122742867001</cx:pt>
          <cx:pt idx="935">10.773797503372624</cx:pt>
          <cx:pt idx="936">10.381293964040132</cx:pt>
          <cx:pt idx="937">10.448835385799711</cx:pt>
          <cx:pt idx="938">10.102065340212913</cx:pt>
          <cx:pt idx="939">10.08355894114475</cx:pt>
          <cx:pt idx="940">9.5373434215314852</cx:pt>
          <cx:pt idx="941">9.620918301571697</cx:pt>
          <cx:pt idx="942">9.4653026376861575</cx:pt>
          <cx:pt idx="943">10.075576478758441</cx:pt>
          <cx:pt idx="944">10.583276766977077</cx:pt>
          <cx:pt idx="945">10.839529616124979</cx:pt>
          <cx:pt idx="946">10.868334263132157</cx:pt>
          <cx:pt idx="947">10.936651444916137</cx:pt>
          <cx:pt idx="948">10.936651444916137</cx:pt>
          <cx:pt idx="949">10.957388731631818</cx:pt>
          <cx:pt idx="950">10.74944532116163</cx:pt>
          <cx:pt idx="951">10.863891472719823</cx:pt>
          <cx:pt idx="952">10.863891472719823</cx:pt>
          <cx:pt idx="953">11.018479774983668</cx:pt>
          <cx:pt idx="954">11.362825049407752</cx:pt>
          <cx:pt idx="955">11.559143268575239</cx:pt>
          <cx:pt idx="956">11.466543035954746</cx:pt>
          <cx:pt idx="957">12.062147499465034</cx:pt>
          <cx:pt idx="958">12.129568697262457</cx:pt>
          <cx:pt idx="959">12.003878683503757</cx:pt>
          <cx:pt idx="960">12.002681692692343</cx:pt>
          <cx:pt idx="961">12.195910375410993</cx:pt>
          <cx:pt idx="962">12.022201684106507</cx:pt>
          <cx:pt idx="963">11.821663340576531</cx:pt>
          <cx:pt idx="964">11.681796429320791</cx:pt>
          <cx:pt idx="965">11.617911261021298</cx:pt>
          <cx:pt idx="966">11.514159199392958</cx:pt>
          <cx:pt idx="967">11.274475291713058</cx:pt>
          <cx:pt idx="968">11.788168625373064</cx:pt>
          <cx:pt idx="969">11.778072359505487</cx:pt>
          <cx:pt idx="970">12.119899092937551</cx:pt>
          <cx:pt idx="971">12.643475442471024</cx:pt>
          <cx:pt idx="972">12.76349860154825</cx:pt>
          <cx:pt idx="973">12.517987058628876</cx:pt>
          <cx:pt idx="974">12.293770032386135</cx:pt>
          <cx:pt idx="975">12.070863561752191</cx:pt>
          <cx:pt idx="976">12.424900841436935</cx:pt>
          <cx:pt idx="977">12.166894975026839</cx:pt>
          <cx:pt idx="978">11.717949685315526</cx:pt>
          <cx:pt idx="979">11.823218924942836</cx:pt>
          <cx:pt idx="980">11.702293713666544</cx:pt>
          <cx:pt idx="981">11.241804166571319</cx:pt>
          <cx:pt idx="982">11.24563772385061</cx:pt>
          <cx:pt idx="983">11.28807732322792</cx:pt>
          <cx:pt idx="984">10.536417415517617</cx:pt>
          <cx:pt idx="985">10.298755644061664</cx:pt>
          <cx:pt idx="986">10.465542805172436</cx:pt>
          <cx:pt idx="987">10.507577998868189</cx:pt>
          <cx:pt idx="988">11.292149648236201</cx:pt>
          <cx:pt idx="989">11.292149648236201</cx:pt>
          <cx:pt idx="990">11.266928514946722</cx:pt>
          <cx:pt idx="991">11.28160948817491</cx:pt>
          <cx:pt idx="992">11.161510217924256</cx:pt>
          <cx:pt idx="993">11.242417623580282</cx:pt>
          <cx:pt idx="994">11.348249143400476</cx:pt>
          <cx:pt idx="995">11.433164101827208</cx:pt>
          <cx:pt idx="996">11.427733959463522</cx:pt>
          <cx:pt idx="997">11.307407804813968</cx:pt>
          <cx:pt idx="998">10.606872636476634</cx:pt>
          <cx:pt idx="999">10.596518621535646</cx:pt>
          <cx:pt idx="1000">10.331571967050552</cx:pt>
          <cx:pt idx="1001">9.7183911444632436</cx:pt>
          <cx:pt idx="1002">10.095862359482187</cx:pt>
          <cx:pt idx="1003">10.257657638558866</cx:pt>
          <cx:pt idx="1004">10.499534746123633</cx:pt>
          <cx:pt idx="1005">10.94085457588093</cx:pt>
          <cx:pt idx="1006">10.636577532702679</cx:pt>
          <cx:pt idx="1007">10.575454121930532</cx:pt>
          <cx:pt idx="1008">10.680092125824194</cx:pt>
          <cx:pt idx="1009">10.431164623487584</cx:pt>
          <cx:pt idx="1010">10.238309846148782</cx:pt>
          <cx:pt idx="1011">10.206826654001116</cx:pt>
          <cx:pt idx="1012">10.597169433391164</cx:pt>
          <cx:pt idx="1013">10.697512870251449</cx:pt>
          <cx:pt idx="1014">10.659624111895155</cx:pt>
          <cx:pt idx="1015">10.676216988962068</cx:pt>
          <cx:pt idx="1016">10.232301793829187</cx:pt>
          <cx:pt idx="1017">10.177505057498241</cx:pt>
          <cx:pt idx="1018">10.244202172981531</cx:pt>
          <cx:pt idx="1019">10.271263338787135</cx:pt>
          <cx:pt idx="1020">10.586045900906154</cx:pt>
          <cx:pt idx="1021">10.974840610996665</cx:pt>
          <cx:pt idx="1022">11.382028585126806</cx:pt>
          <cx:pt idx="1023">11.426929274467318</cx:pt>
          <cx:pt idx="1024">11.358525078284725</cx:pt>
          <cx:pt idx="1025">11.053735000951685</cx:pt>
          <cx:pt idx="1026">11.316552823898803</cx:pt>
          <cx:pt idx="1027">11.692418213447588</cx:pt>
          <cx:pt idx="1028">11.772215486953353</cx:pt>
          <cx:pt idx="1029">11.902863559645647</cx:pt>
          <cx:pt idx="1030">11.828467511819142</cx:pt>
          <cx:pt idx="1031">12.10685186450076</cx:pt>
          <cx:pt idx="1032">12.01703771327605</cx:pt>
          <cx:pt idx="1033">12.13170066064689</cx:pt>
          <cx:pt idx="1034">11.707940129201443</cx:pt>
          <cx:pt idx="1035">11.285276747353956</cx:pt>
          <cx:pt idx="1036">11.601080013139482</cx:pt>
          <cx:pt idx="1037">11.796940963315617</cx:pt>
          <cx:pt idx="1038">11.711130377237017</cx:pt>
          <cx:pt idx="1039">11.829050544384751</cx:pt>
          <cx:pt idx="1040">12.433917276971675</cx:pt>
          <cx:pt idx="1041">13.131912520146546</cx:pt>
          <cx:pt idx="1042">14.41188047586347</cx:pt>
          <cx:pt idx="1043">15.181847902911109</cx:pt>
          <cx:pt idx="1044">16.469721434739903</cx:pt>
          <cx:pt idx="1045">16.967209755777517</cx:pt>
          <cx:pt idx="1046">17.904118835183368</cx:pt>
          <cx:pt idx="1047">18.10000952562142</cx:pt>
          <cx:pt idx="1048">18.874692659444968</cx:pt>
          <cx:pt idx="1049">19.277913036282811</cx:pt>
          <cx:pt idx="1050">19.450615331696042</cx:pt>
          <cx:pt idx="1051">19.672636927421827</cx:pt>
          <cx:pt idx="1052">20.196847369779295</cx:pt>
          <cx:pt idx="1053">19.745623696718564</cx:pt>
          <cx:pt idx="1054">19.742276243239225</cx:pt>
          <cx:pt idx="1055">19.702412478457159</cx:pt>
          <cx:pt idx="1056">19.185003722076576</cx:pt>
          <cx:pt idx="1057">19.315409844765504</cx:pt>
          <cx:pt idx="1058">18.859096405750179</cx:pt>
          <cx:pt idx="1059">19.159823865962668</cx:pt>
          <cx:pt idx="1060">19.188867701825476</cx:pt>
          <cx:pt idx="1061">18.27063468941413</cx:pt>
          <cx:pt idx="1062">17.232554063174437</cx:pt>
          <cx:pt idx="1063">15.680722479250255</cx:pt>
          <cx:pt idx="1064">15.017996866595007</cx:pt>
          <cx:pt idx="1065">14.129166052295275</cx:pt>
          <cx:pt idx="1066">11.503922369568453</cx:pt>
          <cx:pt idx="1067">11.185222188329513</cx:pt>
          <cx:pt idx="1068">9.4873781851250225</cx:pt>
          <cx:pt idx="1069">5.4021068686846316</cx:pt>
          <cx:pt idx="1070">5.0946219107793578</cx:pt>
          <cx:pt idx="1071">5.0153786485673981</cx:pt>
          <cx:pt idx="1072">4.9989654102037751</cx:pt>
          <cx:pt idx="1073">5.3943350447216973</cx:pt>
          <cx:pt idx="1074">5.1702064255461435</cx:pt>
          <cx:pt idx="1075">5.3588470195845623</cx:pt>
          <cx:pt idx="1076">5.2506157274401044</cx:pt>
          <cx:pt idx="1077">5.2832417773712494</cx:pt>
          <cx:pt idx="1078">5.184415195520149</cx:pt>
          <cx:pt idx="1079">5.1911728792315293</cx:pt>
          <cx:pt idx="1080">5.0610071234338596</cx:pt>
          <cx:pt idx="1081">5.0946219107793569</cx:pt>
          <cx:pt idx="1082">5.0646396429206755</cx:pt>
          <cx:pt idx="1083">5.1840826231531238</cx:pt>
          <cx:pt idx="1084">5.016753541081524</cx:pt>
          <cx:pt idx="1085">9.9290008294522938</cx:pt>
          <cx:pt idx="1086">12.810914886528794</cx:pt>
          <cx:pt idx="1087">15.613728118137782</cx:pt>
          <cx:pt idx="1088">17.840577538200709</cx:pt>
          <cx:pt idx="1089">18.587506618663262</cx:pt>
          <cx:pt idx="1090">18.834548836780176</cx:pt>
          <cx:pt idx="1091">20.37592110603936</cx:pt>
          <cx:pt idx="1092">21.309541330684194</cx:pt>
          <cx:pt idx="1093">21.35953850291413</cx:pt>
          <cx:pt idx="1094">22.042513781170772</cx:pt>
          <cx:pt idx="1095">22.996976312990068</cx:pt>
          <cx:pt idx="1096">23.801405348250395</cx:pt>
          <cx:pt idx="1097">23.927668781837681</cx:pt>
          <cx:pt idx="1098">23.73612117166283</cx:pt>
          <cx:pt idx="1099">23.778576274772441</cx:pt>
          <cx:pt idx="1100">24.005650675785006</cx:pt>
          <cx:pt idx="1101">23.414333953430258</cx:pt>
          <cx:pt idx="1102">23.654991454017768</cx:pt>
          <cx:pt idx="1103">23.601797126198008</cx:pt>
          <cx:pt idx="1104">23.218007280319384</cx:pt>
          <cx:pt idx="1105">22.464377931785037</cx:pt>
          <cx:pt idx="1106">22.006817125609018</cx:pt>
          <cx:pt idx="1107">21.123745966995617</cx:pt>
          <cx:pt idx="1108">20.129151959799241</cx:pt>
          <cx:pt idx="1109">19.241627526928628</cx:pt>
          <cx:pt idx="1110">18.298577295365966</cx:pt>
          <cx:pt idx="1111">16.857380115777659</cx:pt>
          <cx:pt idx="1112">15.326185240397837</cx:pt>
          <cx:pt idx="1113">12.987881177130639</cx:pt>
          <cx:pt idx="1114">11.450292371913429</cx:pt>
          <cx:pt idx="1115">11.401552626675482</cx:pt>
          <cx:pt idx="1116">11.295202928473763</cx:pt>
          <cx:pt idx="1117">10.967506867859793</cx:pt>
          <cx:pt idx="1118">11.034741376279705</cx:pt>
          <cx:pt idx="1119">11.338065273137699</cx:pt>
          <cx:pt idx="1120">11.306035413955204</cx:pt>
          <cx:pt idx="1121">11.354324711543724</cx:pt>
          <cx:pt idx="1122">11.354324711543724</cx:pt>
          <cx:pt idx="1123">11.880680734395805</cx:pt>
          <cx:pt idx="1124">11.810963151864993</cx:pt>
          <cx:pt idx="1125">11.362369835375985</cx:pt>
          <cx:pt idx="1126">10.944005864756109</cx:pt>
          <cx:pt idx="1127">11.10291460129628</cx:pt>
          <cx:pt idx="1128">11.157441720534617</cx:pt>
          <cx:pt idx="1129">11.557751044013809</cx:pt>
          <cx:pt idx="1130">11.382634484867374</cx:pt>
          <cx:pt idx="1131">11.382634484867374</cx:pt>
          <cx:pt idx="1132">11.171031913972339</cx:pt>
          <cx:pt idx="1133">11.150021906065795</cx:pt>
          <cx:pt idx="1134">11.137799365792313</cx:pt>
          <cx:pt idx="1135">11.060751777571788</cx:pt>
          <cx:pt idx="1136">11.34637518703914</cx:pt>
          <cx:pt idx="1137">11.363836570859132</cx:pt>
          <cx:pt idx="1138">11.511313775046974</cx:pt>
          <cx:pt idx="1139">11.49192620129854</cx:pt>
          <cx:pt idx="1140">11.64987297054715</cx:pt>
          <cx:pt idx="1141">11.952203663500431</cx:pt>
          <cx:pt idx="1142">11.955328730631846</cx:pt>
          <cx:pt idx="1143">11.981978805354064</cx:pt>
          <cx:pt idx="1144">11.319599521773434</cx:pt>
          <cx:pt idx="1145">11.517552821172812</cx:pt>
          <cx:pt idx="1146">12.076432829484768</cx:pt>
          <cx:pt idx="1147">12.072767873935582</cx:pt>
          <cx:pt idx="1148">11.689468685997644</cx:pt>
          <cx:pt idx="1149">11.372683545869146</cx:pt>
          <cx:pt idx="1150">11.589184414888688</cx:pt>
          <cx:pt idx="1151">11.889529828392284</cx:pt>
          <cx:pt idx="1152">11.889529828392284</cx:pt>
          <cx:pt idx="1153">11.044528473203476</cx:pt>
          <cx:pt idx="1154">11.076328700037047</cx:pt>
          <cx:pt idx="1155">11.126699792654696</cx:pt>
          <cx:pt idx="1156">11.028906637069486</cx:pt>
          <cx:pt idx="1157">11.123600260644961</cx:pt>
          <cx:pt idx="1158">11.51755282117281</cx:pt>
          <cx:pt idx="1159">10.744471981485155</cx:pt>
          <cx:pt idx="1160">10.99053929627607</cx:pt>
          <cx:pt idx="1161">11.187225884396263</cx:pt>
          <cx:pt idx="1162">11.121533426067037</cx:pt>
          <cx:pt idx="1163">11.298458851267863</cx:pt>
          <cx:pt idx="1164">12.046843436419733</cx:pt>
          <cx:pt idx="1165">12.14760749349813</cx:pt>
          <cx:pt idx="1166">12.229087239554868</cx:pt>
          <cx:pt idx="1167">12.378188083475102</cx:pt>
          <cx:pt idx="1168">12.279363119506225</cx:pt>
          <cx:pt idx="1169">12.389326143856678</cx:pt>
          <cx:pt idx="1170">12.408237901333612</cx:pt>
          <cx:pt idx="1171">12.629285434050205</cx:pt>
          <cx:pt idx="1172">12.629285434050203</cx:pt>
          <cx:pt idx="1173">12.604551267049461</cx:pt>
          <cx:pt idx="1174">12.747097934319266</cx:pt>
          <cx:pt idx="1175">12.513395121679183</cx:pt>
          <cx:pt idx="1176">12.414489124804334</cx:pt>
          <cx:pt idx="1177">12.396885037003839</cx:pt>
          <cx:pt idx="1178">12.408932637233642</cx:pt>
          <cx:pt idx="1179">12.74615109811946</cx:pt>
          <cx:pt idx="1180">12.656559791156777</cx:pt>
          <cx:pt idx="1181">12.313388657468954</cx:pt>
          <cx:pt idx="1182">12.518675703895774</cx:pt>
          <cx:pt idx="1183">12.542158790512772</cx:pt>
          <cx:pt idx="1184">12.433223937147773</cx:pt>
          <cx:pt idx="1185">12.507652829781646</cx:pt>
          <cx:pt idx="1186">12.578991791187345</cx:pt>
          <cx:pt idx="1187">12.51119039330276</cx:pt>
          <cx:pt idx="1188">12.029656839584449</cx:pt>
          <cx:pt idx="1189">12.20650853334862</cx:pt>
          <cx:pt idx="1190">11.880100235654387</cx:pt>
          <cx:pt idx="1191">12.056428628095794</cx:pt>
          <cx:pt idx="1192">12.041546851410441</cx:pt>
          <cx:pt idx="1193">12.317868527365896</cx:pt>
          <cx:pt idx="1194">12.375541321029386</cx:pt>
          <cx:pt idx="1195">12.424484540291965</cx:pt>
          <cx:pt idx="1196">12.444312738766648</cx:pt>
          <cx:pt idx="1197">12.532303088006417</cx:pt>
          <cx:pt idx="1198">12.356067893674892</cx:pt>
          <cx:pt idx="1199">12.352299799827868</cx:pt>
          <cx:pt idx="1200">12.653153711647334</cx:pt>
          <cx:pt idx="1201">12.267563060701006</cx:pt>
          <cx:pt idx="1202">12.170437142103196</cx:pt>
          <cx:pt idx="1203">12.101534053035655</cx:pt>
          <cx:pt idx="1204">12.136010819898345</cx:pt>
          <cx:pt idx="1205">12.085186144115905</cx:pt>
          <cx:pt idx="1206">11.689911162558325</cx:pt>
          <cx:pt idx="1207">12.245055300420036</cx:pt>
          <cx:pt idx="1208">12.617448236470004</cx:pt>
          <cx:pt idx="1209">12.792598434745134</cx:pt>
          <cx:pt idx="1210">12.389326143856678</cx:pt>
          <cx:pt idx="1211">12.423374335705155</cx:pt>
          <cx:pt idx="1212">12.423374335705153</cx:pt>
          <cx:pt idx="1213">13.008573653777232</cx:pt>
          <cx:pt idx="1214">13.043913452676676</cx:pt>
          <cx:pt idx="1215">13.376983148711801</cx:pt>
          <cx:pt idx="1216">13.624901138521437</cx:pt>
          <cx:pt idx="1217">13.570124386388983</cx:pt>
          <cx:pt idx="1218">13.745803957454855</cx:pt>
          <cx:pt idx="1219">14.021371208790981</cx:pt>
          <cx:pt idx="1220">14.014114395810056</cx:pt>
          <cx:pt idx="1221">13.78825920680428</cx:pt>
          <cx:pt idx="1222">13.900963333855513</cx:pt>
          <cx:pt idx="1223">13.602569060933719</cx:pt>
          <cx:pt idx="1224">13.354408631049804</cx:pt>
          <cx:pt idx="1225">13.200661773728157</cx:pt>
          <cx:pt idx="1226">13.019702134771014</cx:pt>
          <cx:pt idx="1227">13.148313995320471</cx:pt>
          <cx:pt idx="1228">13.635863801358365</cx:pt>
          <cx:pt idx="1229">13.629076422778288</cx:pt>
          <cx:pt idx="1230">13.335157921134988</cx:pt>
          <cx:pt idx="1231">13.802423575290106</cx:pt>
          <cx:pt idx="1232">13.937009359437823</cx:pt>
          <cx:pt idx="1233">14.4897903017437</cx:pt>
          <cx:pt idx="1234">14.632038536175948</cx:pt>
          <cx:pt idx="1235">15.285068967241635</cx:pt>
          <cx:pt idx="1236">16.396698574345113</cx:pt>
          <cx:pt idx="1237">16.83947196594816</cx:pt>
          <cx:pt idx="1238">17.537644240810721</cx:pt>
          <cx:pt idx="1239">17.798488893626665</cx:pt>
          <cx:pt idx="1240">17.899335375833139</cx:pt>
          <cx:pt idx="1241">18.194226695781037</cx:pt>
          <cx:pt idx="1242">17.83590592680633</cx:pt>
          <cx:pt idx="1243">17.088007490635061</cx:pt>
          <cx:pt idx="1244">17.221878627149707</cx:pt>
          <cx:pt idx="1245">16.949417648423491</cx:pt>
          <cx:pt idx="1246">17.191985569331191</cx:pt>
          <cx:pt idx="1247">17.44050642521071</cx:pt>
          <cx:pt idx="1248">17.765425545918855</cx:pt>
          <cx:pt idx="1249">16.9707320739689</cx:pt>
          <cx:pt idx="1250">17.055049476435951</cx:pt>
          <cx:pt idx="1251">17.17727046680162</cx:pt>
          <cx:pt idx="1252">17.139052670342711</cx:pt>
          <cx:pt idx="1253">16.909495394090229</cx:pt>
          <cx:pt idx="1254">16.196388131486202</cx:pt>
          <cx:pt idx="1255">15.681492129331916</cx:pt>
          <cx:pt idx="1256">15.755458824122536</cx:pt>
          <cx:pt idx="1257">15.696437841737856</cx:pt>
          <cx:pt idx="1258">13.660750050931428</cx:pt>
          <cx:pt idx="1259">12.833146736962599</cx:pt>
          <cx:pt idx="1260">12.811453209270731</cx:pt>
          <cx:pt idx="1261">9.5402354244548402</cx:pt>
          <cx:pt idx="1262">6.1704710228375728</cx:pt>
          <cx:pt idx="1263">6.3417065037188811</cx:pt>
          <cx:pt idx="1264">6.1495724550012705</cx:pt>
          <cx:pt idx="1265">6.2968702315232505</cx:pt>
          <cx:pt idx="1266">6.2333917263230854</cx:pt>
          <cx:pt idx="1267">6.0077536108162644</cx:pt>
          <cx:pt idx="1268">5.9302458711215351</cx:pt>
          <cx:pt idx="1269">5.9566441219366375</cx:pt>
          <cx:pt idx="1270">5.691392977381593</cx:pt>
          <cx:pt idx="1271">5.9427343836001114</cx:pt>
          <cx:pt idx="1272">6.1053020108491056</cx:pt>
          <cx:pt idx="1273">6.2922137617048985</cx:pt>
          <cx:pt idx="1274">6.1950109700903857</cx:pt>
          <cx:pt idx="1275">6.0819121312638025</cx:pt>
          <cx:pt idx="1276">6.2950445754495297</cx:pt>
          <cx:pt idx="1277">6.6405234525704318</cx:pt>
          <cx:pt idx="1278">9.719100757798012</cx:pt>
          <cx:pt idx="1279">10.118209373181612</cx:pt>
          <cx:pt idx="1280">10.366834828809422</cx:pt>
          <cx:pt idx="1281">10.441077145296024</cx:pt>
          <cx:pt idx="1282">13.147308627165145</cx:pt>
          <cx:pt idx="1283">14.858296184867275</cx:pt>
          <cx:pt idx="1284">14.772956030702098</cx:pt>
          <cx:pt idx="1285">14.810837908107356</cx:pt>
          <cx:pt idx="1286">16.078435618990518</cx:pt>
          <cx:pt idx="1287">16.459773325627374</cx:pt>
          <cx:pt idx="1288">17.531056187077912</cx:pt>
          <cx:pt idx="1289">17.405772592454202</cx:pt>
          <cx:pt idx="1290">17.261477940479349</cx:pt>
          <cx:pt idx="1291">16.980211606658397</cx:pt>
          <cx:pt idx="1292">17.064987345540235</cx:pt>
          <cx:pt idx="1293">17.064751598732304</cx:pt>
          <cx:pt idx="1294">17.228051170298883</cx:pt>
          <cx:pt idx="1295">16.71134242115939</cx:pt>
          <cx:pt idx="1296">16.287256142262827</cx:pt>
          <cx:pt idx="1297">16.162963197085638</cx:pt>
          <cx:pt idx="1298">15.873638958761266</cx:pt>
          <cx:pt idx="1299">15.557679110662518</cx:pt>
          <cx:pt idx="1300">14.995823173259884</cx:pt>
          <cx:pt idx="1301">14.975689111617404</cx:pt>
          <cx:pt idx="1302">14.031204960504216</cx:pt>
          <cx:pt idx="1303">12.830683410544008</cx:pt>
          <cx:pt idx="1304">12.57620449659713</cx:pt>
          <cx:pt idx="1305">11.579262081187538</cx:pt>
          <cx:pt idx="1306">11.088774483243398</cx:pt>
          <cx:pt idx="1307">10.707393513926208</cx:pt>
          <cx:pt idx="1308">11.242570982602269</cx:pt>
          <cx:pt idx="1309">11.530868117372165</cx:pt>
          <cx:pt idx="1310">11.306797873886291</cx:pt>
          <cx:pt idx="1311">11.34764140767769</cx:pt>
          <cx:pt idx="1312">11.257743184546154</cx:pt>
          <cx:pt idx="1313">11.300289895579578</cx:pt>
          <cx:pt idx="1314">11.488324908157947</cx:pt>
          <cx:pt idx="1315">11.183988966169553</cx:pt>
          <cx:pt idx="1316">10.944163405380888</cx:pt>
          <cx:pt idx="1317">11.088204356976334</cx:pt>
          <cx:pt idx="1318">10.997439618425716</cx:pt>
          <cx:pt idx="1319">11.604052007316485</cx:pt>
          <cx:pt idx="1320">11.704405300923062</cx:pt>
          <cx:pt idx="1321">11.455260298471927</cx:pt>
          <cx:pt idx="1322">11.531316679712516</cx:pt>
          <cx:pt idx="1323">11.340346038629599</cx:pt>
          <cx:pt idx="1324">11.686961002384852</cx:pt>
          <cx:pt idx="1325">11.292149648236199</cx:pt>
          <cx:pt idx="1326">11.127267946536698</cx:pt>
          <cx:pt idx="1327">11.23628154633488</cx:pt>
          <cx:pt idx="1328">11.228504368117225</cx:pt>
          <cx:pt idx="1329">11.735396892729495</cx:pt>
          <cx:pt idx="1330">11.683567397265135</cx:pt>
          <cx:pt idx="1331">11.812179570549059</cx:pt>
          <cx:pt idx="1332">12.098684263982603</cx:pt>
          <cx:pt idx="1333">12.252890815368156</cx:pt>
          <cx:pt idx="1334">12.572959490304086</cx:pt>
          <cx:pt idx="1335">12.708219803525299</cx:pt>
          <cx:pt idx="1336">12.864501634297792</cx:pt>
          <cx:pt idx="1337">12.86628848232251</cx:pt>
          <cx:pt idx="1338">12.742768965948502</cx:pt>
          <cx:pt idx="1339">12.823335409887816</cx:pt>
          <cx:pt idx="1340">13.044089690816641</cx:pt>
          <cx:pt idx="1341">12.829787538219877</cx:pt>
          <cx:pt idx="1342">12.42892436695711</cx:pt>
          <cx:pt idx="1343">12.462772149693359</cx:pt>
          <cx:pt idx="1344">11.871002049328963</cx:pt>
          <cx:pt idx="1345">12.242943076418095</cx:pt>
          <cx:pt idx="1346">12.150445808007758</cx:pt>
          <cx:pt idx="1347">12.190112820425931</cx:pt>
          <cx:pt idx="1348">12.456821978060995</cx:pt>
          <cx:pt idx="1349">11.987589367782611</cx:pt>
          <cx:pt idx="1350">11.909814362991538</cx:pt>
          <cx:pt idx="1351">11.879858352807016</cx:pt>
          <cx:pt idx="1352">12.294330998986633</cx:pt>
          <cx:pt idx="1353">12.74308466959832</cx:pt>
          <cx:pt idx="1354">12.627692611465294</cx:pt>
          <cx:pt idx="1355">12.596113248360274</cx:pt>
          <cx:pt idx="1356">13.046336518414821</cx:pt>
          <cx:pt idx="1357">13.249333099677392</cx:pt>
          <cx:pt idx="1358">12.856234231713795</cx:pt>
          <cx:pt idx="1359">12.485393765166735</cx:pt>
          <cx:pt idx="1360">12.924582298326198</cx:pt>
          <cx:pt idx="1361">12.832430181684844</cx:pt>
          <cx:pt idx="1362">12.495516437285927</cx:pt>
          <cx:pt idx="1363">12.692879712748359</cx:pt>
          <cx:pt idx="1364">12.335399019306882</cx:pt>
          <cx:pt idx="1365">12.163635270284361</cx:pt>
          <cx:pt idx="1366">11.985431769971562</cx:pt>
          <cx:pt idx="1367">12.543441753939897</cx:pt>
          <cx:pt idx="1368">12.437845472588894</cx:pt>
          <cx:pt idx="1369">12.506779770583835</cx:pt>
          <cx:pt idx="1370">12.611844460254622</cx:pt>
          <cx:pt idx="1371">12.779113706608793</cx:pt>
          <cx:pt idx="1372">13.169321716882713</cx:pt>
          <cx:pt idx="1373">12.951900406424187</cx:pt>
          <cx:pt idx="1374">13.135194453579032</cx:pt>
          <cx:pt idx="1375">12.846395800280764</cx:pt>
          <cx:pt idx="1376">13.295967757959165</cx:pt>
          <cx:pt idx="1377">13.281912339806301</cx:pt>
          <cx:pt idx="1378">13.233577982046144</cx:pt>
          <cx:pt idx="1379">13.351309720936287</cx:pt>
          <cx:pt idx="1380">13.482896786192738</cx:pt>
          <cx:pt idx="1381">13.489928128775938</cx:pt>
          <cx:pt idx="1382">13.427069929681297</cx:pt>
          <cx:pt idx="1383">13.174383014626983</cx:pt>
          <cx:pt idx="1384">13.019702134771013</cx:pt>
          <cx:pt idx="1385">12.949104615564258</cx:pt>
          <cx:pt idx="1386">12.664049941450017</cx:pt>
          <cx:pt idx="1387">12.437660644142474</cx:pt>
          <cx:pt idx="1388">12.672896229772206</cx:pt>
          <cx:pt idx="1389">12.587212997104748</cx:pt>
          <cx:pt idx="1390">12.321413935880507</cx:pt>
          <cx:pt idx="1391">12.535971231326421</cx:pt>
          <cx:pt idx="1392">12.938803796261881</cx:pt>
          <cx:pt idx="1393">12.585523521047927</cx:pt>
          <cx:pt idx="1394">12.494090557162401</cx:pt>
          <cx:pt idx="1395">12.656423565575874</cx:pt>
          <cx:pt idx="1396">12.7757403006591</cx:pt>
          <cx:pt idx="1397">12.442973366800096</cx:pt>
          <cx:pt idx="1398">12.64115701091924</cx:pt>
          <cx:pt idx="1399">12.172137016162358</cx:pt>
          <cx:pt idx="1400">12.228147292492698</cx:pt>
          <cx:pt idx="1401">12.01072317824234</cx:pt>
          <cx:pt idx="1402">11.612715979209735</cx:pt>
          <cx:pt idx="1403">11.59944509176114</cx:pt>
          <cx:pt idx="1404">11.712308095313245</cx:pt>
          <cx:pt idx="1405">11.699346675933583</cx:pt>
          <cx:pt idx="1406">11.048274427080997</cx:pt>
          <cx:pt idx="1407">11.031616006920197</cx:pt>
          <cx:pt idx="1408">10.697996374872334</cx:pt>
          <cx:pt idx="1409">10.973793233473758</cx:pt>
          <cx:pt idx="1410">10.97379323347376</cx:pt>
          <cx:pt idx="1411">11.59488591191586</cx:pt>
          <cx:pt idx="1412">11.365657082612524</cx:pt>
          <cx:pt idx="1413">11.340143322494326</cx:pt>
          <cx:pt idx="1414">11.142184519297325</cx:pt>
          <cx:pt idx="1415">11.33000289131655</cx:pt>
          <cx:pt idx="1416">11.552230217083874</cx:pt>
          <cx:pt idx="1417">11.672199016683079</cx:pt>
          <cx:pt idx="1418">11.416664569175074</cx:pt>
          <cx:pt idx="1419">11.55118543948937</cx:pt>
          <cx:pt idx="1420">11.445071217446127</cx:pt>
          <cx:pt idx="1421">11.419684557915726</cx:pt>
          <cx:pt idx="1422">11.347438821870419</cx:pt>
          <cx:pt idx="1423">11.342575677001488</cx:pt>
          <cx:pt idx="1424">11.703668743986457</cx:pt>
          <cx:pt idx="1425">11.69345037228941</cx:pt>
          <cx:pt idx="1426">12.018185454102269</cx:pt>
          <cx:pt idx="1427">11.905953306557651</cx:pt>
          <cx:pt idx="1428">11.658009924609722</cx:pt>
          <cx:pt idx="1429">11.658009924609722</cx:pt>
          <cx:pt idx="1430">11.839977089135955</cx:pt>
          <cx:pt idx="1431">11.7624475520103</cx:pt>
          <cx:pt idx="1432">11.710885004396845</cx:pt>
          <cx:pt idx="1433">12.046127817780237</cx:pt>
          <cx:pt idx="1434">11.927751857236805</cx:pt>
          <cx:pt idx="1435">11.950280139072005</cx:pt>
          <cx:pt idx="1436">12.372383039211384</cx:pt>
          <cx:pt idx="1437">12.592827734263167</cx:pt>
          <cx:pt idx="1438">12.704465682422937</cx:pt>
          <cx:pt idx="1439">12.354393327183599</cx:pt>
          <cx:pt idx="1440">12.22941620395901</cx:pt>
          <cx:pt idx="1441">12.22941620395901</cx:pt>
          <cx:pt idx="1442">12.586482440693471</cx:pt>
          <cx:pt idx="1443">12.452207485597397</cx:pt>
          <cx:pt idx="1444">12.44431273876665</cx:pt>
          <cx:pt idx="1445">12.783295493657375</cx:pt>
          <cx:pt idx="1446">12.392109094746219</cx:pt>
          <cx:pt idx="1447">12.191998506652096</cx:pt>
          <cx:pt idx="1448">11.92433038675186</cx:pt>
          <cx:pt idx="1449">12.2810011198496</cx:pt>
          <cx:pt idx="1450">12.279316316285787</cx:pt>
          <cx:pt idx="1451">12.209333155088938</cx:pt>
          <cx:pt idx="1452">12.091414261804726</cx:pt>
          <cx:pt idx="1453">12.529000840807917</cx:pt>
          <cx:pt idx="1454">12.890386687974772</cx:pt>
          <cx:pt idx="1455">12.733158812067543</cx:pt>
          <cx:pt idx="1456">12.299939257863286</cx:pt>
          <cx:pt idx="1457">12.235993634759911</cx:pt>
          <cx:pt idx="1458">12.257814772156811</cx:pt>
          <cx:pt idx="1459">12.331857631503786</cx:pt>
          <cx:pt idx="1460">11.905036121636561</cx:pt>
          <cx:pt idx="1461">11.905036121636561</cx:pt>
          <cx:pt idx="1462">11.875600408293945</cx:pt>
          <cx:pt idx="1463">11.72701959176956</cx:pt>
          <cx:pt idx="1464">11.706614693676686</cx:pt>
          <cx:pt idx="1465">11.473908432292967</cx:pt>
          <cx:pt idx="1466">11.156411485839849</cx:pt>
          <cx:pt idx="1467">10.752652706652674</cx:pt>
          <cx:pt idx="1468">10.538599003924443</cx:pt>
          <cx:pt idx="1469">10.553911951085453</cx:pt>
          <cx:pt idx="1470">10.397612458039884</cx:pt>
          <cx:pt idx="1471">10.131548542156278</cx:pt>
          <cx:pt idx="1472">10.49904210190012</cx:pt>
          <cx:pt idx="1473">10.460709191140396</cx:pt>
          <cx:pt idx="1474">10.636307370641308</cx:pt>
          <cx:pt idx="1475">9.8799692865640178</cx:pt>
          <cx:pt idx="1476">10.183150383066033</cx:pt>
          <cx:pt idx="1477">10.422621286545846</cx:pt>
          <cx:pt idx="1478">10.282727398828614</cx:pt>
          <cx:pt idx="1479">9.9324731556901646</cx:pt>
          <cx:pt idx="1480">10.354409355605382</cx:pt>
          <cx:pt idx="1481">10.111788954585085</cx:pt>
          <cx:pt idx="1482">10.542143122211696</cx:pt>
          <cx:pt idx="1483">10.254295427412048</cx:pt>
          <cx:pt idx="1484">9.8802601296668833</cx:pt>
          <cx:pt idx="1485">9.8181745617063623</cx:pt>
          <cx:pt idx="1486">10.106615564120343</cx:pt>
          <cx:pt idx="1487">10.077914854576415</cx:pt>
          <cx:pt idx="1488">10.113437061424881</cx:pt>
          <cx:pt idx="1489">10.704011494246704</cx:pt>
          <cx:pt idx="1490">10.721339768740732</cx:pt>
          <cx:pt idx="1491">10.643869316324231</cx:pt>
          <cx:pt idx="1492">11.114296478270523</cx:pt>
          <cx:pt idx="1493">11.476162200429842</cx:pt>
          <cx:pt idx="1494">11.555214775405394</cx:pt>
          <cx:pt idx="1495">11.568337684456189</cx:pt>
          <cx:pt idx="1496">11.348198500000001</cx:pt>
          <cx:pt idx="1497">11.29138619917194</cx:pt>
          <cx:pt idx="1498">11.458270114768133</cx:pt>
          <cx:pt idx="1499">11.512911292839082</cx:pt>
          <cx:pt idx="1500">11.851378502680316</cx:pt>
          <cx:pt idx="1501">11.464287376783227</cx:pt>
          <cx:pt idx="1502">10.988029013849362</cx:pt>
          <cx:pt idx="1503">11.30639123498832</cx:pt>
          <cx:pt idx="1504">11.190307793164006</cx:pt>
          <cx:pt idx="1505">11.556756495213316</cx:pt>
          <cx:pt idx="1506">11.239503404581949</cx:pt>
          <cx:pt idx="1507">10.576975644913976</cx:pt>
          <cx:pt idx="1508">10.470813293841255</cx:pt>
          <cx:pt idx="1509">10.613589207335517</cx:pt>
          <cx:pt idx="1510">10.469935063307943</cx:pt>
          <cx:pt idx="1511">10.505608792066933</cx:pt>
          <cx:pt idx="1512">10.461753001388868</cx:pt>
          <cx:pt idx="1513">10.65342209333933</cx:pt>
          <cx:pt idx="1514">11.380816688873743</cx:pt>
          <cx:pt idx="1515">11.333451655907021</cx:pt>
          <cx:pt idx="1516">11.018479774983669</cx:pt>
          <cx:pt idx="1517">10.766326815745854</cx:pt>
          <cx:pt idx="1518">10.551951391137068</cx:pt>
          <cx:pt idx="1519">10.279149747923215</cx:pt>
          <cx:pt idx="1520">10.548192632678452</cx:pt>
          <cx:pt idx="1521">10.571540628705344</cx:pt>
          <cx:pt idx="1522">10.413353496087742</cx:pt>
          <cx:pt idx="1523">10.063248258750322</cx:pt>
          <cx:pt idx="1524">9.5869283611748575</cx:pt>
          <cx:pt idx="1525">9.5679061234006113</cx:pt>
          <cx:pt idx="1526">9.990800366037897</cx:pt>
          <cx:pt idx="1527">9.9864851202748639</cx:pt>
          <cx:pt idx="1528">9.7873951308954439</cx:pt>
          <cx:pt idx="1529">10.127917487997133</cx:pt>
          <cx:pt idx="1530">9.9215312129325781</cx:pt>
          <cx:pt idx="1531">10.112243631576913</cx:pt>
          <cx:pt idx="1532">10.202546447970159</cx:pt>
          <cx:pt idx="1533">10.294290349174316</cx:pt>
          <cx:pt idx="1534">10.300597014279061</cx:pt>
          <cx:pt idx="1535">10.135915430250755</cx:pt>
          <cx:pt idx="1536">10.364672536149378</cx:pt>
          <cx:pt idx="1537">10.399215266591973</cx:pt>
          <cx:pt idx="1538">10.395401282109892</cx:pt>
          <cx:pt idx="1539">10.3688303910403</cx:pt>
          <cx:pt idx="1540">10.34469156998704</cx:pt>
          <cx:pt idx="1541">10.045242483470677</cx:pt>
          <cx:pt idx="1542">10.351078571154163</cx:pt>
          <cx:pt idx="1543">10.264546728435207</cx:pt>
          <cx:pt idx="1544">9.7250121886281224</cx:pt>
          <cx:pt idx="1545">9.726371309515935</cx:pt>
          <cx:pt idx="1546">10.264602718348005</cx:pt>
          <cx:pt idx="1547">10.407833036023737</cx:pt>
          <cx:pt idx="1548">10.35690674098108</cx:pt>
          <cx:pt idx="1549">10.463730461571238</cx:pt>
          <cx:pt idx="1550">10.463730461571236</cx:pt>
          <cx:pt idx="1551">10.584145592868349</cx:pt>
          <cx:pt idx="1552">10.322890533446396</cx:pt>
          <cx:pt idx="1553">10.70078952936297</cx:pt>
          <cx:pt idx="1554">10.720535670267193</cx:pt>
          <cx:pt idx="1555">10.766326815745854</cx:pt>
          <cx:pt idx="1556">10.510203034008999</cx:pt>
          <cx:pt idx="1557">10.510203034008999</cx:pt>
          <cx:pt idx="1558">10.458456403543861</cx:pt>
          <cx:pt idx="1559">10.281330027114041</cx:pt>
          <cx:pt idx="1560">10.536417415517617</cx:pt>
          <cx:pt idx="1561">10.146966026366199</cx:pt>
          <cx:pt idx="1562">9.7912111657319514</cx:pt>
          <cx:pt idx="1563">9.071174504801002</cx:pt>
          <cx:pt idx="1564">9.0579868865428139</cx:pt>
          <cx:pt idx="1565">9.1135871787330736</cx:pt>
          <cx:pt idx="1566">9.2758492500872833</cx:pt>
          <cx:pt idx="1567">9.0328264692170688</cx:pt>
          <cx:pt idx="1568">8.9802465214606944</cx:pt>
          <cx:pt idx="1569">9.1174330930858272</cx:pt>
          <cx:pt idx="1570">9.3317527397269959</cx:pt>
          <cx:pt idx="1571">9.3317527397269942</cx:pt>
          <cx:pt idx="1572">9.3317527397269959</cx:pt>
          <cx:pt idx="1573">9.3683252100564545</cx:pt>
          <cx:pt idx="1574">10.282727398828614</cx:pt>
          <cx:pt idx="1575">10.342191234947743</cx:pt>
          <cx:pt idx="1576">10.398938937914904</cx:pt>
          <cx:pt idx="1577">10.503639216081689</cx:pt>
          <cx:pt idx="1578">10.596030486411669</cx:pt>
          <cx:pt idx="1579">10.90207193215093</cx:pt>
          <cx:pt idx="1580">10.987139817955825</cx:pt>
          <cx:pt idx="1581">11.092557305969029</cx:pt>
          <cx:pt idx="1582">11.115330616434388</cx:pt>
          <cx:pt idx="1583">11.016445387034659</cx:pt>
          <cx:pt idx="1584">11.147083531774928</cx:pt>
          <cx:pt idx="1585">11.312489283668004</cx:pt>
          <cx:pt idx="1586">11.30969475283479</cx:pt>
          <cx:pt idx="1587">11.233416896581993</cx:pt>
          <cx:pt idx="1588">11.583232034618666</cx:pt>
          <cx:pt idx="1589">11.485172850344869</cx:pt>
          <cx:pt idx="1590">11.892429737335902</cx:pt>
          <cx:pt idx="1591">11.823413358598094</cx:pt>
          <cx:pt idx="1592">11.964747068525648</cx:pt>
          <cx:pt idx="1593">12.180680010460884</cx:pt>
          <cx:pt idx="1594">12.430773826718692</cx:pt>
          <cx:pt idx="1595">12.34764624598923</cx:pt>
          <cx:pt idx="1596">12.006750974577479</cx:pt>
          <cx:pt idx="1597">12.106282210716765</cx:pt>
          <cx:pt idx="1598">12.456083774144496</cx:pt>
          <cx:pt idx="1599">12.698311952254977</cx:pt>
          <cx:pt idx="1600">12.431143685652312</cx:pt>
          <cx:pt idx="1601">12.238811451571857</cx:pt>
          <cx:pt idx="1602">11.925294280568549</cx:pt>
          <cx:pt idx="1603">12.024352684085091</cx:pt>
          <cx:pt idx="1604">12.074481498113112</cx:pt>
          <cx:pt idx="1605">12.453868899852473</cx:pt>
          <cx:pt idx="1606">12.521429906226835</cx:pt>
          <cx:pt idx="1607">12.26639180101842</cx:pt>
          <cx:pt idx="1608">12.535054296128781</cx:pt>
          <cx:pt idx="1609">12.435627349925172</cx:pt>
          <cx:pt idx="1610">12.449437969126414</cx:pt>
          <cx:pt idx="1611">12.304050356383209</cx:pt>
          <cx:pt idx="1612">12.216674115191157</cx:pt>
          <cx:pt idx="1613">11.692614822156349</cx:pt>
          <cx:pt idx="1614">12.035818191557643</cx:pt>
          <cx:pt idx="1615">11.779828853429574</cx:pt>
          <cx:pt idx="1616">12.06476774288072</cx:pt>
          <cx:pt idx="1617">12.056190282918193</cx:pt>
          <cx:pt idx="1618">12.079287868177445</cx:pt>
          <cx:pt idx="1619">12.086137209368349</cx:pt>
          <cx:pt idx="1620">11.880100235654385</cx:pt>
          <cx:pt idx="1621">11.855451241430291</cx:pt>
          <cx:pt idx="1622">11.801227288601867</cx:pt>
          <cx:pt idx="1623">12.029656839584449</cx:pt>
          <cx:pt idx="1624">12.238107058193929</cx:pt>
          <cx:pt idx="1625">12.223023310563335</cx:pt>
          <cx:pt idx="1626">12.341919968373929</cx:pt>
          <cx:pt idx="1627">12.14779673509733</cx:pt>
          <cx:pt idx="1628">12.126915063837021</cx:pt>
          <cx:pt idx="1629">12.087848938252952</cx:pt>
          <cx:pt idx="1630">11.982554368556077</cx:pt>
          <cx:pt idx="1631">11.889384814378239</cx:pt>
          <cx:pt idx="1632">12.535008447608211</cx:pt>
          <cx:pt idx="1633">12.380973537938219</cx:pt>
          <cx:pt idx="1634">12.336097857297808</cx:pt>
          <cx:pt idx="1635">11.602417504728185</cx:pt>
          <cx:pt idx="1636">12.084425238021598</cx:pt>
          <cx:pt idx="1637">12.061909267293208</cx:pt>
          <cx:pt idx="1638">12.311148111207659</cx:pt>
          <cx:pt idx="1639">12.297836460499687</cx:pt>
          <cx:pt idx="1640">12.627100940474005</cx:pt>
          <cx:pt idx="1641">12.521659395742583</cx:pt>
          <cx:pt idx="1642">12.56015410989721</cx:pt>
          <cx:pt idx="1643">12.873388750870319</cx:pt>
          <cx:pt idx="1644">12.661099805145763</cx:pt>
          <cx:pt idx="1645">13.079948679993526</cx:pt>
          <cx:pt idx="1646">13.163167001798669</cx:pt>
          <cx:pt idx="1647">13.516103634970559</cx:pt>
          <cx:pt idx="1648">13.536498129471868</cx:pt>
          <cx:pt idx="1649">13.555378115791127</cx:pt>
          <cx:pt idx="1650">13.390895860771341</cx:pt>
          <cx:pt idx="1651">13.758007072998971</cx:pt>
          <cx:pt idx="1652">13.909436142169943</cx:pt>
          <cx:pt idx="1653">13.909436142169943</cx:pt>
          <cx:pt idx="1654">13.624226224996599</cx:pt>
          <cx:pt idx="1655">14.120987885079952</cx:pt>
          <cx:pt idx="1656">13.912906436731376</cx:pt>
          <cx:pt idx="1657">13.912906436731376</cx:pt>
          <cx:pt idx="1658">13.966338843435496</cx:pt>
          <cx:pt idx="1659">13.815741480053763</cx:pt>
          <cx:pt idx="1660">13.809417076763236</cx:pt>
          <cx:pt idx="1661">14.17059445211939</cx:pt>
          <cx:pt idx="1662">14.036242088038485</cx:pt>
          <cx:pt idx="1663">14.198955765392968</cx:pt>
          <cx:pt idx="1664">13.842961612563133</cx:pt>
          <cx:pt idx="1665">14.253856102581626</cx:pt>
          <cx:pt idx="1666">13.794884942423867</cx:pt>
          <cx:pt idx="1667">13.778252062038112</cx:pt>
          <cx:pt idx="1668">13.828838765753089</cx:pt>
          <cx:pt idx="1669">14.131118347361133</cx:pt>
          <cx:pt idx="1670">13.849768660668053</cx:pt>
          <cx:pt idx="1671">14.011694622953232</cx:pt>
          <cx:pt idx="1672">14.0393535561956</cx:pt>
          <cx:pt idx="1673">13.686976778431871</cx:pt>
          <cx:pt idx="1674">13.527706774420883</cx:pt>
          <cx:pt idx="1675">13.47624559743176</cx:pt>
          <cx:pt idx="1676">12.90103800510623</cx:pt>
          <cx:pt idx="1677">12.815938352772651</cx:pt>
          <cx:pt idx="1678">12.576615775629632</cx:pt>
          <cx:pt idx="1679">12.62004426463629</cx:pt>
          <cx:pt idx="1680">12.616172798909899</cx:pt>
          <cx:pt idx="1681">12.462172648717269</cx:pt>
          <cx:pt idx="1682">12.600903087504866</cx:pt>
          <cx:pt idx="1683">12.079287868177445</cx:pt>
          <cx:pt idx="1684">12.078288681401201</cx:pt>
          <cx:pt idx="1685">11.697578096911061</cx:pt>
          <cx:pt idx="1686">12.004836190220299</cx:pt>
          <cx:pt idx="1687">11.955088369854675</cx:pt>
          <cx:pt idx="1688">11.822489770256352</cx:pt>
          <cx:pt idx="1689">12.04631865357414</cx:pt>
          <cx:pt idx="1690">12.359369845930889</cx:pt>
          <cx:pt idx="1691">12.37930234047063</cx:pt>
          <cx:pt idx="1692">12.288720180643748</cx:pt>
          <cx:pt idx="1693">12.064053187479935</cx:pt>
          <cx:pt idx="1694">12.642929967413391</cx:pt>
          <cx:pt idx="1695">12.408006314056065</cx:pt>
          <cx:pt idx="1696">12.409905202153512</cx:pt>
          <cx:pt idx="1697">12.54710664087427</cx:pt>
          <cx:pt idx="1698">12.377398757412644</cx:pt>
          <cx:pt idx="1699">12.542158790512772</cx:pt>
          <cx:pt idx="1700">13.618952311722275</cx:pt>
          <cx:pt idx="1701">14.447725828281605</cx:pt>
          <cx:pt idx="1702">14.996551327693242</cx:pt>
          <cx:pt idx="1703">15.906479558784307</cx:pt>
          <cx:pt idx="1704">16.171352561803879</cx:pt>
          <cx:pt idx="1705">16.381093671823546</cx:pt>
          <cx:pt idx="1706">17.383305506859951</cx:pt>
          <cx:pt idx="1707">17.636332665411409</cx:pt>
          <cx:pt idx="1708">18.23918353687889</cx:pt>
          <cx:pt idx="1709">18.131987357078138</cx:pt>
          <cx:pt idx="1710">18.410547951162915</cx:pt>
          <cx:pt idx="1711">18.126915277323508</cx:pt>
          <cx:pt idx="1712">18.454666419192684</cx:pt>
          <cx:pt idx="1713">18.455787492112684</cx:pt>
          <cx:pt idx="1714">18.570802692497654</cx:pt>
          <cx:pt idx="1715">17.605641728992875</cx:pt>
          <cx:pt idx="1716">17.987990885364436</cx:pt>
          <cx:pt idx="1717">17.93490784866847</cx:pt>
          <cx:pt idx="1718">17.690311654597313</cx:pt>
          <cx:pt idx="1719">16.622965695258682</cx:pt>
          <cx:pt idx="1720">15.146829264952093</cx:pt>
          <cx:pt idx="1721">15.087522438536197</cx:pt>
          <cx:pt idx="1722">14.997662653142697</cx:pt>
          <cx:pt idx="1723">14.366467982731548</cx:pt>
          <cx:pt idx="1724">14.343888121314302</cx:pt>
          <cx:pt idx="1725">12.357742233249905</cx:pt>
          <cx:pt idx="1726">11.382028585126807</cx:pt>
          <cx:pt idx="1727">10.918506908155907</cx:pt>
          <cx:pt idx="1728">6.4644029691168257</cx:pt>
          <cx:pt idx="1729">6.2090034738217881</cx:pt>
          <cx:pt idx="1730">6.2757515463300786</cx:pt>
          <cx:pt idx="1731">6.3666696756326768</cx:pt>
          <cx:pt idx="1732">6.314460689014024</cx:pt>
          <cx:pt idx="1733">6.424092583177905</cx:pt>
          <cx:pt idx="1734">6.2552047294150617</cx:pt>
          <cx:pt idx="1735">6.2116871678525767</cx:pt>
          <cx:pt idx="1736">5.939929176403508</cx:pt>
          <cx:pt idx="1737">5.9159826381348193</cx:pt>
          <cx:pt idx="1738">5.706318337204582</cx:pt>
          <cx:pt idx="1739">5.7696192029566769</cx:pt>
          <cx:pt idx="1740">5.6989613895463629</cx:pt>
          <cx:pt idx="1741">5.6528906246090687</cx:pt>
          <cx:pt idx="1742">5.599774215481176</cx:pt>
          <cx:pt idx="1743">5.5766343411337829</cx:pt>
          <cx:pt idx="1744">9.9375058736337731</cx:pt>
          <cx:pt idx="1745">12.451099752932318</cx:pt>
          <cx:pt idx="1746">12.461480880983867</cx:pt>
          <cx:pt idx="1747">14.635651637374222</cx:pt>
          <cx:pt idx="1748">14.818790494643546</cx:pt>
          <cx:pt idx="1749">16.194081507207162</cx:pt>
          <cx:pt idx="1750">16.019241303945172</cx:pt>
          <cx:pt idx="1751">16.720281579326169</cx:pt>
          <cx:pt idx="1752">17.021453670514489</cx:pt>
          <cx:pt idx="1753">16.976014180933767</cx:pt>
          <cx:pt idx="1754">17.956524764252002</cx:pt>
          <cx:pt idx="1755">18.306741425201682</cx:pt>
          <cx:pt idx="1756">18.485191339301164</cx:pt>
          <cx:pt idx="1757">18.958999925125784</cx:pt>
          <cx:pt idx="1758">18.907548817835973</cx:pt>
          <cx:pt idx="1759">19.123464554094902</cx:pt>
          <cx:pt idx="1760">18.967031287528076</cx:pt>
          <cx:pt idx="1761">18.839582932153018</cx:pt>
          <cx:pt idx="1762">18.973817410485346</cx:pt>
          <cx:pt idx="1763">18.191478363713909</cx:pt>
          <cx:pt idx="1764">17.688102371855535</cx:pt>
          <cx:pt idx="1765">17.085350315469061</cx:pt>
          <cx:pt idx="1766">16.760688818040041</cx:pt>
          <cx:pt idx="1767">16.330072393220306</cx:pt>
          <cx:pt idx="1768">15.827700147337358</cx:pt>
          <cx:pt idx="1769">15.868714250184953</cx:pt>
          <cx:pt idx="1770">15.117318986292949</cx:pt>
          <cx:pt idx="1771">14.439728083535257</cx:pt>
          <cx:pt idx="1772">13.789259521849587</cx:pt>
          <cx:pt idx="1773">12.438353736655062</cx:pt>
          <cx:pt idx="1774">12.187425213445756</cx:pt>
          <cx:pt idx="1775">11.973198038300703</cx:pt>
          <cx:pt idx="1776">11.735837637658049</cx:pt>
          <cx:pt idx="1777">11.978956644835582</cx:pt>
          <cx:pt idx="1778">12.20933315508894</cx:pt>
          <cx:pt idx="1779">11.940898520264895</cx:pt>
          <cx:pt idx="1780">11.995209771874121</cx:pt>
          <cx:pt idx="1781">12.03467213235713</cx:pt>
          <cx:pt idx="1782">12.116484448976891</cx:pt>
          <cx:pt idx="1783">12.227536288155555</cx:pt>
          <cx:pt idx="1784">11.98663048336886</cx:pt>
          <cx:pt idx="1785">12.52496357853699</cx:pt>
          <cx:pt idx="1786">12.572365243504978</cx:pt>
          <cx:pt idx="1787">12.587578259410412</cx:pt>
          <cx:pt idx="1788">12.372057876196427</cx:pt>
          <cx:pt idx="1789">12.576387288938717</cx:pt>
          <cx:pt idx="1790">12.732481767276283</cx:pt>
          <cx:pt idx="1791">13.283859361655026</cx:pt>
          <cx:pt idx="1792">13.283859361655026</cx:pt>
          <cx:pt idx="1793">13.174383014626983</cx:pt>
          <cx:pt idx="1794">13.043516908155304</cx:pt>
          <cx:pt idx="1795">13.036685637607173</cx:pt>
          <cx:pt idx="1796">12.999955791259932</cx:pt>
          <cx:pt idx="1797">13.494826594943197</cx:pt>
          <cx:pt idx="1798">13.319245430975988</cx:pt>
          <cx:pt idx="1799">13.087723474582065</cx:pt>
          <cx:pt idx="1800">13.319633766667948</cx:pt>
          <cx:pt idx="1801">13.265806013786056</cx:pt>
          <cx:pt idx="1802">12.901082552812488</cx:pt>
          <cx:pt idx="1803">12.800862039937671</cx:pt>
          <cx:pt idx="1804">13.174383014626985</cx:pt>
          <cx:pt idx="1805">13.176476776053798</cx:pt>
          <cx:pt idx="1806">13.129942966321314</cx:pt>
          <cx:pt idx="1807">12.582646323637452</cx:pt>
          <cx:pt idx="1808">12.219684515369961</cx:pt>
          <cx:pt idx="1809">12.200621804391492</cx:pt>
          <cx:pt idx="1810">11.728538727806427</cx:pt>
          <cx:pt idx="1811">11.999281587690559</cx:pt>
          <cx:pt idx="1812">12.382830159483765</cx:pt>
          <cx:pt idx="1813">12.177282410150129</cx:pt>
          <cx:pt idx="1814">12.221894805785155</cx:pt>
          <cx:pt idx="1815">12.289421673027222</cx:pt>
          <cx:pt idx="1816">12.62368691248194</cx:pt>
          <cx:pt idx="1817">11.952780660467313</cx:pt>
          <cx:pt idx="1818">12.164060498702396</cx:pt>
          <cx:pt idx="1819">12.164060498702396</cx:pt>
          <cx:pt idx="1820">11.957059185594764</cx:pt>
          <cx:pt idx="1821">11.772215486953353</cx:pt>
          <cx:pt idx="1822">11.665106628045805</cx:pt>
          <cx:pt idx="1823">12.158153217293012</cx:pt>
          <cx:pt idx="1824">12.288158957903851</cx:pt>
          <cx:pt idx="1825">12.667316982701186</cx:pt>
          <cx:pt idx="1826">12.58830875222638</cx:pt>
          <cx:pt idx="1827">12.129616078297637</cx:pt>
          <cx:pt idx="1828">12.117053623127495</cx:pt>
          <cx:pt idx="1829">12.368898704913621</cx:pt>
          <cx:pt idx="1830">12.336470554705928</cx:pt>
          <cx:pt idx="1831">12.445559610679966</cx:pt>
          <cx:pt idx="1832">12.44555961067997</cx:pt>
          <cx:pt idx="1833">12.445559610679968</cx:pt>
          <cx:pt idx="1834">12.369038097130911</cx:pt>
          <cx:pt idx="1835">12.585386526562802</cx:pt>
          <cx:pt idx="1836">12.759535537253571</cx:pt>
          <cx:pt idx="1837">12.835117057707633</cx:pt>
          <cx:pt idx="1838">12.958643323342503</cx:pt>
          <cx:pt idx="1839">13.083111865758623</cx:pt>
          <cx:pt idx="1840">13.330502573068081</cx:pt>
          <cx:pt idx="1841">13.121711410666963</cx:pt>
          <cx:pt idx="1842">12.632015519779653</cx:pt>
          <cx:pt idx="1843">12.708219803525301</cx:pt>
          <cx:pt idx="1844">12.50016091850444</cx:pt>
          <cx:pt idx="1845">12.239234068139748</cx:pt>
          <cx:pt idx="1846">12.397116832035037</cx:pt>
          <cx:pt idx="1847">12.555898005027107</cx:pt>
          <cx:pt idx="1848">12.69428326398174</cx:pt>
          <cx:pt idx="1849">12.377398757412644</cx:pt>
          <cx:pt idx="1850">12.755210790059511</cx:pt>
          <cx:pt idx="1851">12.779698339756397</cx:pt>
          <cx:pt idx="1852">13.092772420506376</cx:pt>
          <cx:pt idx="1853">12.656559791156774</cx:pt>
          <cx:pt idx="1854">12.54490783719347</cx:pt>
          <cx:pt idx="1855">12.586665083771575</cx:pt>
          <cx:pt idx="1856">12.320247795686839</cx:pt>
          <cx:pt idx="1857">12.544220632002922</cx:pt>
          <cx:pt idx="1858">12.821677047050065</cx:pt>
          <cx:pt idx="1859">12.616355012169857</cx:pt>
          <cx:pt idx="1860">12.575290495033615</cx:pt>
          <cx:pt idx="1861">12.549717219875934</cx:pt>
          <cx:pt idx="1862">13.019039991445245</cx:pt>
          <cx:pt idx="1863">12.853909463884797</cx:pt>
          <cx:pt idx="1864">12.444081822850295</cx:pt>
          <cx:pt idx="1865">12.665275180678027</cx:pt>
          <cx:pt idx="1866">12.638201530717671</cx:pt>
          <cx:pt idx="1867">12.473834684015094</cx:pt>
          <cx:pt idx="1868">12.595565722192434</cx:pt>
          <cx:pt idx="1869">12.500344822830096</cx:pt>
          <cx:pt idx="1870">12.530606208560823</cx:pt>
          <cx:pt idx="1871">12.269062109936163</cx:pt>
          <cx:pt idx="1872">12.277631281524034</cx:pt>
          <cx:pt idx="1873">12.729231451008083</cx:pt>
          <cx:pt idx="1874">12.81885285451655</cx:pt>
          <cx:pt idx="1875">13.115271435528363</cx:pt>
          <cx:pt idx="1876">12.632561466124056</cx:pt>
          <cx:pt idx="1877">12.670174952751571</cx:pt>
          <cx:pt idx="1878">12.480974026240022</cx:pt>
          <cx:pt idx="1879">12.555898005027107</cx:pt>
          <cx:pt idx="1880">12.189547057674638</cx:pt>
          <cx:pt idx="1881">12.165761263744935</cx:pt>
          <cx:pt idx="1882">11.732899025399899</cx:pt>
          <cx:pt idx="1883">11.872890012182346</cx:pt>
          <cx:pt idx="1884">12.20989800102369</cx:pt>
          <cx:pt idx="1885">12.178556621345171</cx:pt>
          <cx:pt idx="1886">12.548801289091459</cx:pt>
          <cx:pt idx="1887">12.422819196205392</cx:pt>
          <cx:pt idx="1888">13.625365122177229</cx:pt>
          <cx:pt idx="1889">14.170716121717309</cx:pt>
          <cx:pt idx="1890">14.657938886957917</cx:pt>
          <cx:pt idx="1891">15.894805050273717</cx:pt>
          <cx:pt idx="1892">15.600029472415425</cx:pt>
          <cx:pt idx="1893">16.818196221293501</cx:pt>
          <cx:pt idx="1894">17.254051664770646</cx:pt>
          <cx:pt idx="1895">16.984238805907431</cx:pt>
          <cx:pt idx="1896">17.364417309709737</cx:pt>
          <cx:pt idx="1897">17.787506916340206</cx:pt>
          <cx:pt idx="1898">17.966795683327526</cx:pt>
          <cx:pt idx="1899">18.162769802443449</cx:pt>
          <cx:pt idx="1900">18.290158147415546</cx:pt>
          <cx:pt idx="1901">18.709638551095626</cx:pt>
          <cx:pt idx="1902">19.015420239809366</cx:pt>
          <cx:pt idx="1903">18.550831068535267</cx:pt>
          <cx:pt idx="1904">18.474741999660591</cx:pt>
          <cx:pt idx="1905">17.956812813992954</cx:pt>
          <cx:pt idx="1906">17.242056308547607</cx:pt>
          <cx:pt idx="1907">16.475164171648142</cx:pt>
          <cx:pt idx="1908">15.761476388049264</cx:pt>
          <cx:pt idx="1909">14.70100473538748</cx:pt>
          <cx:pt idx="1910">14.373067086438592</cx:pt>
          <cx:pt idx="1911">12.092032144321742</cx:pt>
          <cx:pt idx="1912">11.705240009421459</cx:pt>
          <cx:pt idx="1913">11.372683545869144</cx:pt>
          <cx:pt idx="1914">11.257487929496465</cx:pt>
          <cx:pt idx="1915">7.4402601610674752</cx:pt>
          <cx:pt idx="1916">7.3788296115835061</cx:pt>
          <cx:pt idx="1917">5.7050088901579814</cx:pt>
          <cx:pt idx="1918">5.8526936523711681</cx:pt>
          <cx:pt idx="1919">6.0085188566380241</cx:pt>
          <cx:pt idx="1920">6.1334770098114042</cx:pt>
          <cx:pt idx="1921">6.072455240154361</cx:pt>
          <cx:pt idx="1922">5.8809061777301253</cx:pt>
          <cx:pt idx="1923">5.6629467167934209</cx:pt>
          <cx:pt idx="1924">5.6123836802835063</cx:pt>
          <cx:pt idx="1925">5.7158782674070396</cx:pt>
          <cx:pt idx="1926">5.8823718728566199</cx:pt>
          <cx:pt idx="1927">5.8718107019504817</cx:pt>
          <cx:pt idx="1928">5.8961315975893855</cx:pt>
          <cx:pt idx="1929">6.0500783693983724</cx:pt>
          <cx:pt idx="1930">5.9326681791701397</cx:pt>
          <cx:pt idx="1931">6.0257111947303663</cx:pt>
          <cx:pt idx="1932">6.409045332104113</cx:pt>
          <cx:pt idx="1933">10.164169657556204</cx:pt>
          <cx:pt idx="1934">10.234098964207616</cx:pt>
          <cx:pt idx="1935">12.750884576030963</cx:pt>
          <cx:pt idx="1936">14.74538696615349</cx:pt>
          <cx:pt idx="1937">14.984129535312837</cx:pt>
          <cx:pt idx="1938">16.539920360063448</cx:pt>
          <cx:pt idx="1939">17.560404781551991</cx:pt>
          <cx:pt idx="1940">18.527053843985314</cx:pt>
          <cx:pt idx="1941">19.038979978472838</cx:pt>
          <cx:pt idx="1942">19.973689590610668</cx:pt>
          <cx:pt idx="1943">20.249137912683999</cx:pt>
          <cx:pt idx="1944">20.383563358069015</cx:pt>
          <cx:pt idx="1945">20.379051673874248</cx:pt>
          <cx:pt idx="1946">20.194570796507964</cx:pt>
          <cx:pt idx="1947">19.909017191143349</cx:pt>
          <cx:pt idx="1948">20.464154250674579</cx:pt>
          <cx:pt idx="1949">20.244170439452667</cx:pt>
          <cx:pt idx="1950">19.546584497482964</cx:pt>
          <cx:pt idx="1951">19.123795131455601</cx:pt>
          <cx:pt idx="1952">18.903536128484522</cx:pt>
          <cx:pt idx="1953">18.5760010791331</cx:pt>
          <cx:pt idx="1954">18.59084560287361</cx:pt>
          <cx:pt idx="1955">17.853683737215292</cx:pt>
          <cx:pt idx="1956">16.804111429038436</cx:pt>
          <cx:pt idx="1957">16.409592092543868</cx:pt>
          <cx:pt idx="1958">15.714551423339502</cx:pt>
          <cx:pt idx="1959">15.227017730518252</cx:pt>
          <cx:pt idx="1960">13.822354042071408</cx:pt>
          <cx:pt idx="1961">12.02181924381807</cx:pt>
          <cx:pt idx="1962">11.174941178584682</cx:pt>
          <cx:pt idx="1963">11.574297724531364</cx:pt>
          <cx:pt idx="1964">10.851346650896884</cx:pt>
          <cx:pt idx="1965">11.606577604020961</cx:pt>
          <cx:pt idx="1966">12.003304142811162</cx:pt>
          <cx:pt idx="1967">11.725843351283974</cx:pt>
          <cx:pt idx="1968">11.983705412029238</cx:pt>
          <cx:pt idx="1969">11.936854935330597</cx:pt>
          <cx:pt idx="1970">11.900980351774946</cx:pt>
          <cx:pt idx="1971">12.224151711160625</cx:pt>
          <cx:pt idx="1972">11.980827595999262</cx:pt>
          <cx:pt idx="1973">12.560154109897212</cx:pt>
          <cx:pt idx="1974">12.810959747621268</cx:pt>
          <cx:pt idx="1975">13.226627618592714</cx:pt>
          <cx:pt idx="1976">13.198092861183156</cx:pt>
          <cx:pt idx="1977">13.174383014626983</cx:pt>
          <cx:pt idx="1978">13.306294422729712</cx:pt>
          <cx:pt idx="1979">13.252455855685639</cx:pt>
          <cx:pt idx="1980">13.29955491433981</cx:pt>
          <cx:pt idx="1981">13.676265202351754</cx:pt>
          <cx:pt idx="1982">13.71617050540468</cx:pt>
          <cx:pt idx="1983">13.613887432856304</cx:pt>
          <cx:pt idx="1984">13.266325877907965</cx:pt>
          <cx:pt idx="1985">13.389651176214029</cx:pt>
          <cx:pt idx="1986">13.255274378547384</cx:pt>
          <cx:pt idx="1987">12.943733228286863</cx:pt>
          <cx:pt idx="1988">13.014580682635442</cx:pt>
          <cx:pt idx="1989">12.961304035429871</cx:pt>
          <cx:pt idx="1990">12.699171843755853</cx:pt>
          <cx:pt idx="1991">12.013593832888192</cx:pt>
          <cx:pt idx="1992">11.930642475787188</cx:pt>
          <cx:pt idx="1993">11.790508553663958</cx:pt>
          <cx:pt idx="1994">11.90015937302725</cx:pt>
          <cx:pt idx="1995">11.699346675933581</cx:pt>
          <cx:pt idx="1996">11.406592165392178</cx:pt>
          <cx:pt idx="1997">11.729959676954925</cx:pt>
          <cx:pt idx="1998">11.766111477898926</cx:pt>
          <cx:pt idx="1999">12.158389563655589</cx:pt>
          <cx:pt idx="2000">12.502919199360889</cx:pt>
          <cx:pt idx="2001">12.311848325714639</cx:pt>
          <cx:pt idx="2002">12.325844262427186</cx:pt>
          <cx:pt idx="2003">12.325844262427188</cx:pt>
          <cx:pt idx="2004">12.125019255820709</cx:pt>
          <cx:pt idx="2005">11.990465560928653</cx:pt>
          <cx:pt idx="2006">12.008856884739735</cx:pt>
          <cx:pt idx="2007">11.998084138249146</cx:pt>
          <cx:pt idx="2008">11.468547693884197</cx:pt>
          <cx:pt idx="2009">11.412284165979107</cx:pt>
          <cx:pt idx="2010">11.518900011340682</cx:pt>
          <cx:pt idx="2011">11.109745126761872</cx:pt>
          <cx:pt idx="2012">11.109745126761872</cx:pt>
          <cx:pt idx="2013">10.675786331371729</cx:pt>
          <cx:pt idx="2014">10.887301471592183</cx:pt>
          <cx:pt idx="2015">10.670886377989131</cx:pt>
          <cx:pt idx="2016">10.50101254012279</cx:pt>
          <cx:pt idx="2017">10.52249915684231</cx:pt>
          <cx:pt idx="2018">10.417988421889357</cx:pt>
          <cx:pt idx="2019">10.265946384645391</cx:pt>
          <cx:pt idx="2020">10.820584895062943</cx:pt>
          <cx:pt idx="2021">10.915348257669422</cx:pt>
          <cx:pt idx="2022">10.959119437736533</cx:pt>
          <cx:pt idx="2023">11.275035999126974</cx:pt>
          <cx:pt idx="2024">11.075706043761549</cx:pt>
          <cx:pt idx="2025">11.221131542917064</cx:pt>
          <cx:pt idx="2026">11.617466042187482</cx:pt>
          <cx:pt idx="2027">12.099966752115431</cx:pt>
          <cx:pt idx="2028">11.880100235654385</cx:pt>
          <cx:pt idx="2029">11.49137607677736</cx:pt>
          <cx:pt idx="2030">11.30862756797943</cx:pt>
          <cx:pt idx="2031">11.370257632115891</cx:pt>
          <cx:pt idx="2032">11.403971883192439</cx:pt>
          <cx:pt idx="2033">10.981907796488493</cx:pt>
          <cx:pt idx="2034">11.456514484690841</cx:pt>
          <cx:pt idx="2035">11.148990985734986</cx:pt>
          <cx:pt idx="2036">11.146928859040313</cx:pt>
          <cx:pt idx="2037">11.774753822743255</cx:pt>
          <cx:pt idx="2038">12.268078379535925</cx:pt>
          <cx:pt idx="2039">12.401751822862044</cx:pt>
          <cx:pt idx="2040">12.310914697521673</cx:pt>
          <cx:pt idx="2041">12.235993634759911</cx:pt>
          <cx:pt idx="2042">12.280486343284057</cx:pt>
          <cx:pt idx="2043">12.257955427573057</cx:pt>
          <cx:pt idx="2044">12.161556161769024</cx:pt>
          <cx:pt idx="2045">12.190112820425931</cx:pt>
          <cx:pt idx="2046">12.349321727383929</cx:pt>
          <cx:pt idx="2047">12.299004725642614</cx:pt>
          <cx:pt idx="2048">12.387238520385388</cx:pt>
          <cx:pt idx="2049">12.402678613170997</cx:pt>
          <cx:pt idx="2050">11.991376211606234</cx:pt>
          <cx:pt idx="2051">12.283808612274472</cx:pt>
          <cx:pt idx="2052">12.184595513027585</cx:pt>
          <cx:pt idx="2053">11.98663048336886</cx:pt>
          <cx:pt idx="2054">12.085899450071615</cx:pt>
          <cx:pt idx="2055">11.876035949973268</cx:pt>
          <cx:pt idx="2056">11.318228609220382</cx:pt>
          <cx:pt idx="2057">10.898697591703437</cx:pt>
          <cx:pt idx="2058">11.3287346992088</cx:pt>
          <cx:pt idx="2059">11.292149648236201</cx:pt>
          <cx:pt idx="2060">11.668850370345712</cx:pt>
          <cx:pt idx="2061">11.632099858857675</cx:pt>
          <cx:pt idx="2062">11.64636986509027</cx:pt>
          <cx:pt idx="2063">11.996407508227131</cx:pt>
          <cx:pt idx="2064">11.388086131880389</cx:pt>
          <cx:pt idx="2065">11.490175713670984</cx:pt>
          <cx:pt idx="2066">11.576283722662735</cx:pt>
          <cx:pt idx="2067">11.196058419726608</cx:pt>
          <cx:pt idx="2068">10.610610607842714</cx:pt>
          <cx:pt idx="2069">10.213187328268235</cx:pt>
          <cx:pt idx="2070">10.168918160341549</cx:pt>
          <cx:pt idx="2071">10.039920318408907</cx:pt>
          <cx:pt idx="2072">10.380352794483002</cx:pt>
          <cx:pt idx="2073">10.118209373181612</cx:pt>
          <cx:pt idx="2074">10.117698161733923</cx:pt>
          <cx:pt idx="2075">10.906130301849485</cx:pt>
          <cx:pt idx="2076">10.102691117523685</cx:pt>
          <cx:pt idx="2077">10.140167084705613</cx:pt>
          <cx:pt idx="2078">10.48260737942924</cx:pt>
          <cx:pt idx="2079">10.353743284435827</cx:pt>
          <cx:pt idx="2080">10.668947313657949</cx:pt>
          <cx:pt idx="2081">10.90423307026105</cx:pt>
          <cx:pt idx="2082">10.925873541446384</cx:pt>
          <cx:pt idx="2083">10.925873541446384</cx:pt>
          <cx:pt idx="2084">10.99012095568969</cx:pt>
          <cx:pt idx="2085">11.361560520952407</cx:pt>
          <cx:pt idx="2086">11.44306244678056</cx:pt>
          <cx:pt idx="2087">11.740537887382224</cx:pt>
          <cx:pt idx="2088">11.809795272053453</cx:pt>
          <cx:pt idx="2089">11.849875114526947</cx:pt>
          <cx:pt idx="2090">11.303747725585447</cx:pt>
          <cx:pt idx="2091">11.739950459078146</cx:pt>
          <cx:pt idx="2092">11.93064247578719</cx:pt>
          <cx:pt idx="2093">11.410622193840908</cx:pt>
          <cx:pt idx="2094">11.895328939323731</cx:pt>
          <cx:pt idx="2095">11.843617030612569</cx:pt>
          <cx:pt idx="2096">11.981019471906675</cx:pt>
          <cx:pt idx="2097">11.906966955063137</cx:pt>
          <cx:pt idx="2098">12.262643018252772</cx:pt>
          <cx:pt idx="2099">12.609110007150141</cx:pt>
          <cx:pt idx="2100">12.681600392132971</cx:pt>
          <cx:pt idx="2101">12.681600392132971</cx:pt>
          <cx:pt idx="2102">12.304610854304256</cx:pt>
          <cx:pt idx="2103">12.76349860154825</cx:pt>
          <cx:pt idx="2104">12.748720918487127</cx:pt>
          <cx:pt idx="2105">12.338566767864794</cx:pt>
          <cx:pt idx="2106">12.549167669427414</cx:pt>
          <cx:pt idx="2107">12.669494542167932</cx:pt>
          <cx:pt idx="2108">12.361229712289955</cx:pt>
          <cx:pt idx="2109">12.361462175909319</cx:pt>
          <cx:pt idx="2110">12.130563660137302</cx:pt>
          <cx:pt idx="2111">11.880825854649403</cx:pt>
          <cx:pt idx="2112">11.87463248070121</cx:pt>
          <cx:pt idx="2113">11.788607397305929</cx:pt>
          <cx:pt idx="2114">11.772215486953353</cx:pt>
          <cx:pt idx="2115">11.481569438957777</cx:pt>
          <cx:pt idx="2116">11.269376671968713</cx:pt>
          <cx:pt idx="2117">11.092557305969027</cx:pt>
          <cx:pt idx="2118">10.826160313169058</cx:pt>
          <cx:pt idx="2119">10.875470659652644</cx:pt>
          <cx:pt idx="2120">10.856218092151973</cx:pt>
          <cx:pt idx="2121">11.167944685829488</cx:pt>
          <cx:pt idx="2122">10.991323641959545</cx:pt>
          <cx:pt idx="2123">11.323914273905407</cx:pt>
          <cx:pt idx="2124">11.214163868268011</cx:pt>
          <cx:pt idx="2125">11.684010097309185</cx:pt>
          <cx:pt idx="2126">11.467144470130764</cx:pt>
          <cx:pt idx="2127">11.713093174910629</cx:pt>
          <cx:pt idx="2128">11.085664347389763</cx:pt>
          <cx:pt idx="2129">11.021608869351404</cx:pt>
          <cx:pt idx="2130">11.374957370136109</cx:pt>
          <cx:pt idx="2131">11.334212271529593</cx:pt>
          <cx:pt idx="2132">11.218621629432372</cx:pt>
          <cx:pt idx="2133">10.647756225781944</cx:pt>
          <cx:pt idx="2134">10.886087293041708</cx:pt>
          <cx:pt idx="2135">10.878905032798277</cx:pt>
          <cx:pt idx="2136">11.259785016628411</cx:pt>
          <cx:pt idx="2137">11.714221634651919</cx:pt>
          <cx:pt idx="2138">11.614299549391195</cx:pt>
          <cx:pt idx="2139">11.788802401811878</cx:pt>
          <cx:pt idx="2140">12.43169845342066</cx:pt>
          <cx:pt idx="2141">12.153992769040348</cx:pt>
          <cx:pt idx="2142">12.537759062083248</cx:pt>
          <cx:pt idx="2143">13.129286382722416</cx:pt>
          <cx:pt idx="2144">13.456443143303712</cx:pt>
          <cx:pt idx="2145">13.88027625681554</cx:pt>
          <cx:pt idx="2146">13.923807445993477</cx:pt>
          <cx:pt idx="2147">13.924261469509412</cx:pt>
          <cx:pt idx="2148">13.883960811529684</cx:pt>
          <cx:pt idx="2149">14.116469553102792</cx:pt>
          <cx:pt idx="2150">14.15367220129141</cx:pt>
          <cx:pt idx="2151">13.861590030040547</cx:pt>
          <cx:pt idx="2152">13.99429276116008</cx:pt>
          <cx:pt idx="2153">13.752366567500177</cx:pt>
          <cx:pt idx="2154">13.71063854076105</cx:pt>
          <cx:pt idx="2155">13.757380464368184</cx:pt>
          <cx:pt idx="2156">13.812746071038465</cx:pt>
          <cx:pt idx="2157">13.790759858371269</cx:pt>
          <cx:pt idx="2158">14.018050760588537</cx:pt>
          <cx:pt idx="2159">14.157732138670546</cx:pt>
          <cx:pt idx="2160">13.742667846536564</cx:pt>
          <cx:pt idx="2161">13.511170346714271</cx:pt>
          <cx:pt idx="2162">13.677063609032361</cx:pt>
          <cx:pt idx="2163">13.590902975084507</cx:pt>
          <cx:pt idx="2164">13.191820872458605</cx:pt>
          <cx:pt idx="2165">13.369419557719954</cx:pt>
          <cx:pt idx="2166">13.408009272210331</cx:pt>
          <cx:pt idx="2167">12.995843721089773</cx:pt>
          <cx:pt idx="2168">12.901216195008315</cx:pt>
          <cx:pt idx="2169">12.628921378028046</cx:pt>
          <cx:pt idx="2170">12.229651173115771</cx:pt>
          <cx:pt idx="2171">12.207779694009526</cx:pt>
          <cx:pt idx="2172">11.975837743355259</cx:pt>
          <cx:pt idx="2173">11.728783731320648</cx:pt>
          <cx:pt idx="2174">11.485322967951792</cx:pt>
          <cx:pt idx="2175">11.093334438549901</cx:pt>
          <cx:pt idx="2176">10.92445322022661</cx:pt>
          <cx:pt idx="2177">11.339535152344842</cx:pt>
          <cx:pt idx="2178">11.758342599603703</cx:pt>
          <cx:pt idx="2179">11.239350003703379</cx:pt>
          <cx:pt idx="2180">11.312743297694871</cx:pt>
          <cx:pt idx="2181">11.580254697137484</cx:pt>
          <cx:pt idx="2182">11.608360047332518</cx:pt>
          <cx:pt idx="2183">11.687551093993671</cx:pt>
          <cx:pt idx="2184">11.267081540344934</cx:pt>
          <cx:pt idx="2185">10.961216896953957</cx:pt>
          <cx:pt idx="2186">10.829716460770783</cx:pt>
          <cx:pt idx="2187">10.456477945966451</cx:pt>
          <cx:pt idx="2188">10.427693014717848</cx:pt>
          <cx:pt idx="2189">10.264098798137663</cx:pt>
          <cx:pt idx="2190">10.50566349724002</cx:pt>
          <cx:pt idx="2191">10.875259278188086</cx:pt>
          <cx:pt idx="2192">10.466146849966204</cx:pt>
          <cx:pt idx="2193">10.377307249336239</cx:pt>
          <cx:pt idx="2194">11.226456846812058</cx:pt>
          <cx:pt idx="2195">11.384653917778362</cx:pt>
          <cx:pt idx="2196">11.02186958711644</cx:pt>
          <cx:pt idx="2197">10.9982234720081</cx:pt>
          <cx:pt idx="2198">11.225432946108858</cx:pt>
          <cx:pt idx="2199">11.179054717095545</cx:pt>
          <cx:pt idx="2200">11.415909447159569</cx:pt>
          <cx:pt idx="2201">11.445824415555402</cx:pt>
          <cx:pt idx="2202">11.339535152344842</cx:pt>
          <cx:pt idx="2203">11.67549747887902</cx:pt>
          <cx:pt idx="2204">11.754187319429187</cx:pt>
          <cx:pt idx="2205">11.854675589544128</cx:pt>
          <cx:pt idx="2206">11.810817173204002</cx:pt>
          <cx:pt idx="2207">12.058478202149894</cx:pt>
          <cx:pt idx="2208">12.217426784776709</cx:pt>
          <cx:pt idx="2209">12.226972257051727</cx:pt>
          <cx:pt idx="2210">12.322346768576896</cx:pt>
          <cx:pt idx="2211">12.339265426449332</cx:pt>
          <cx:pt idx="2212">12.321367292391821</cx:pt>
          <cx:pt idx="2213">12.243741070534726</cx:pt>
          <cx:pt idx="2214">12.211921817746733</cx:pt>
          <cx:pt idx="2215">12.036152438268694</cx:pt>
          <cx:pt idx="2216">12.036152438268694</cx:pt>
          <cx:pt idx="2217">12.18388798523614</cx:pt>
          <cx:pt idx="2218">12.228711269399765</cx:pt>
          <cx:pt idx="2219">12.278614246570823</cx:pt>
          <cx:pt idx="2220">12.541608908867653</cx:pt>
          <cx:pt idx="2221">12.404346661229445</cx:pt>
          <cx:pt idx="2222">12.379998700165197</cx:pt>
          <cx:pt idx="2223">12.280065146407001</cx:pt>
          <cx:pt idx="2224">13.15932430225633</cx:pt>
          <cx:pt idx="2225">12.826382652721033</cx:pt>
          <cx:pt idx="2226">13.952464454992031</cx:pt>
          <cx:pt idx="2227">15.76275254567209</cx:pt>
          <cx:pt idx="2228">16.521981178689362</cx:pt>
          <cx:pt idx="2229">16.810266430704317</cx:pt>
          <cx:pt idx="2230">17.406697086129693</cx:pt>
          <cx:pt idx="2231">18.299676524997381</cx:pt>
          <cx:pt idx="2232">18.078246278490262</cx:pt>
          <cx:pt idx="2233">18.634290477750834</cx:pt>
          <cx:pt idx="2234">17.888704456344421</cx:pt>
          <cx:pt idx="2235">17.882277876964263</cx:pt>
          <cx:pt idx="2236">17.850110273654032</cx:pt>
          <cx:pt idx="2237">17.851752224116947</cx:pt>
          <cx:pt idx="2238">18.456067749702516</cx:pt>
          <cx:pt idx="2239">18.355399468689654</cx:pt>
          <cx:pt idx="2240">17.325285488019507</cx:pt>
          <cx:pt idx="2241">17.321702552299669</cx:pt>
          <cx:pt idx="2242">17.140259792288052</cx:pt>
          <cx:pt idx="2243">16.202773992667776</cx:pt>
          <cx:pt idx="2244">14.620447026830876</cx:pt>
          <cx:pt idx="2245">14.251275401686426</cx:pt>
          <cx:pt idx="2246">13.70527207897095</cx:pt>
          <cx:pt idx="2247">13.237051795240701</cx:pt>
          <cx:pt idx="2248">13.21684748611651</cx:pt>
          <cx:pt idx="2249">12.93347256709033</cx:pt>
          <cx:pt idx="2250">12.636791750564164</cx:pt>
          <cx:pt idx="2251">11.614299549391195</cx:pt>
          <cx:pt idx="2252">10.710398857099625</cx:pt>
          <cx:pt idx="2253">101.36666118601322</cx:pt>
          <cx:pt idx="2254">101.83974338799825</cx:pt>
          <cx:pt idx="2255">102.22232362980144</cx:pt>
          <cx:pt idx="2256">101.27835774303628</cx:pt>
          <cx:pt idx="2257">100.59158919160167</cx:pt>
          <cx:pt idx="2258">99.306815869611484</cx:pt>
          <cx:pt idx="2259">97.139572532125854</cx:pt>
          <cx:pt idx="2260">94.374047913291463</cx:pt>
          <cx:pt idx="2261">91.094374455677922</cx:pt>
          <cx:pt idx="2262">86.924336234940895</cx:pt>
          <cx:pt idx="2263">82.071100377912444</cx:pt>
          <cx:pt idx="2264">76.508319733907015</cx:pt>
          <cx:pt idx="2265">69.862294765381549</cx:pt>
          <cx:pt idx="2266">62.260151274965672</cx:pt>
          <cx:pt idx="2267">52.315148022763722</cx:pt>
          <cx:pt idx="2268">38.8199646467177</cx:pt>
          <cx:pt idx="2269">12.968751125190366</cx:pt>
          <cx:pt idx="2270">12.899968814004895</cx:pt>
          <cx:pt idx="2271">12.452622859942158</cx:pt>
          <cx:pt idx="2272">12.513165480597928</cx:pt>
          <cx:pt idx="2273">12.54325848148452</cx:pt>
          <cx:pt idx="2274">12.470885634378464</cx:pt>
          <cx:pt idx="2275">12.314648785598543</cx:pt>
          <cx:pt idx="2276">12.533908032800969</cx:pt>
          <cx:pt idx="2277">12.582646323637453</cx:pt>
          <cx:pt idx="2278">12.507469032909709</cx:pt>
          <cx:pt idx="2279">12.235289079158479</cx:pt>
          <cx:pt idx="2280">12.184454010756077</cx:pt>
          <cx:pt idx="2281">12.064005548948385</cx:pt>
          <cx:pt idx="2282">12.112689271144966</cx:pt>
          <cx:pt idx="2283">11.837986781310526</cx:pt>
          <cx:pt idx="2284">12.049705485979754</cx:pt>
          <cx:pt idx="2285">11.625576243288148</cx:pt>
          <cx:pt idx="2286">11.809795272053451</cx:pt>
          <cx:pt idx="2287">11.7624475520103</cx:pt>
          <cx:pt idx="2288">11.903636071559728</cx:pt>
          <cx:pt idx="2289">12.184595513027585</cx:pt>
          <cx:pt idx="2290">12.614031595942997</cx:pt>
          <cx:pt idx="2291">13.111546197079917</cx:pt>
          <cx:pt idx="2292">12.917109743976438</cx:pt>
          <cx:pt idx="2293">12.693739972236655</cx:pt>
          <cx:pt idx="2294">12.955449747535573</cx:pt>
          <cx:pt idx="2295">13.280743989684472</cx:pt>
          <cx:pt idx="2296">12.995180362106488</cx:pt>
          <cx:pt idx="2297">13.163909212203128</cx:pt>
          <cx:pt idx="2298">12.954385047312085</cx:pt>
          <cx:pt idx="2299">13.048142511043698</cx:pt>
          <cx:pt idx="2300">12.927916865557213</cx:pt>
          <cx:pt idx="2301">12.892348260815828</cx:pt>
          <cx:pt idx="2302">13.21284641342764</cx:pt>
          <cx:pt idx="2303">13.433574339699389</cx:pt>
          <cx:pt idx="2304">13.369419557719954</cx:pt>
          <cx:pt idx="2305">13.448966973105337</cx:pt>
          <cx:pt idx="2306">13.408009272210331</cx:pt>
          <cx:pt idx="2307">13.575205593159602</cx:pt>
          <cx:pt idx="2308">13.65759440961223</cx:pt>
          <cx:pt idx="2309">13.953329434183463</cx:pt>
          <cx:pt idx="2310">14.140550640402695</cx:pt>
          <cx:pt idx="2311">13.857899527357846</cx:pt>
          <cx:pt idx="2312">14.17010776328072</cx:pt>
          <cx:pt idx="2313">13.968807615787991</cx:pt>
          <cx:pt idx="2314">14.036242088038486</cx:pt>
          <cx:pt idx="2315">14.165239955203925</cx:pt>
          <cx:pt idx="2316">13.92760427781965</cx:pt>
          <cx:pt idx="2317">13.960370841169961</cx:pt>
          <cx:pt idx="2318">13.693021966487626</cx:pt>
          <cx:pt idx="2319">13.697428234157135</cx:pt>
          <cx:pt idx="2320">13.226410360883364</cx:pt>
          <cx:pt idx="2321">13.042106874433207</cx:pt>
          <cx:pt idx="2322">13.263899671015256</cx:pt>
          <cx:pt idx="2323">13.270873820288664</cx:pt>
          <cx:pt idx="2324">13.124558011167679</cx:pt>
          <cx:pt idx="2325">12.909454790521007</cx:pt>
          <cx:pt idx="2326">12.794754672381835</cx:pt>
          <cx:pt idx="2327">12.644975377550191</cx:pt>
          <cx:pt idx="2328">12.897295448467382</cx:pt>
          <cx:pt idx="2329">12.735189730477687</cx:pt>
          <cx:pt idx="2330">12.912659741865554</cx:pt>
          <cx:pt idx="2331">12.743986636931901</cx:pt>
          <cx:pt idx="2332">12.168170273960335</cx:pt>
          <cx:pt idx="2333">12.366064055708472</cx:pt>
          <cx:pt idx="2334">12.133548059234245</cx:pt>
          <cx:pt idx="2335">11.882615525385729</cx:pt>
          <cx:pt idx="2336">11.740537887382224</cx:pt>
          <cx:pt idx="2337">11.415305313582238</cx:pt>
          <cx:pt idx="2338">11.643408672602769</cx:pt>
          <cx:pt idx="2339">11.372481406154654</cx:pt>
          <cx:pt idx="2340">11.631358723172733</cx:pt>
          <cx:pt idx="2341">11.786462134804166</cx:pt>
          <cx:pt idx="2342">11.349261963953284</cx:pt>
          <cx:pt idx="2343">11.452249691152641</cx:pt>
          <cx:pt idx="2344">11.312133654447862</cx:pt>
          <cx:pt idx="2345">11.247681753480858</cx:pt>
          <cx:pt idx="2346">11.187071766670835</cx:pt>
          <cx:pt idx="2347">10.960745003624652</cx:pt>
          <cx:pt idx="2348">11.132225149609992</cx:pt>
          <cx:pt idx="2349">11.149403365306094</cx:pt>
          <cx:pt idx="2350">11.046609715514375</cx:pt>
          <cx:pt idx="2351">10.863891472719823</cx:pt>
          <cx:pt idx="2352">10.56175055152524</cx:pt>
          <cx:pt idx="2353">10.824886185061727</cx:pt>
          <cx:pt idx="2354">10.749445321161632</cx:pt>
          <cx:pt idx="2355">11.182909785219936</cx:pt>
          <cx:pt idx="2356">11.517153623452581</cx:pt>
          <cx:pt idx="2357">11.530868117372163</cx:pt>
          <cx:pt idx="2358">11.072436523851136</cx:pt>
          <cx:pt idx="2359">11.183732027769867</cx:pt>
          <cx:pt idx="2360">11.037084822511346</cx:pt>
          <cx:pt idx="2361">11.613557277754227</cx:pt>
          <cx:pt idx="2362">12.001388808522675</cx:pt>
          <cx:pt idx="2363">11.726578515413646</cx:pt>
          <cx:pt idx="2364">11.999233692007264</cx:pt>
          <cx:pt idx="2365">12.326450393781043</cx:pt>
          <cx:pt idx="2366">12.279737538847826</cx:pt>
          <cx:pt idx="2367">12.683095818459696</cx:pt>
          <cx:pt idx="2368">12.528404508964016</cx:pt>
          <cx:pt idx="2369">12.698311952254977</cx:pt>
          <cx:pt idx="2370">12.698311952254977</cx:pt>
          <cx:pt idx="2371">12.647474874047198</cx:pt>
          <cx:pt idx="2372">12.871283958444716</cx:pt>
          <cx:pt idx="2373">13.031250594762273</cx:pt>
          <cx:pt idx="2374">12.958293827405633</cx:pt>
          <cx:pt idx="2375">12.983776859545204</cx:pt>
          <cx:pt idx="2376">13.15826736314474</cx:pt>
          <cx:pt idx="2377">13.277146105080421</cx:pt>
          <cx:pt idx="2378">13.216052043653331</cx:pt>
          <cx:pt idx="2379">13.099023459190215</cx:pt>
          <cx:pt idx="2380">13.416052928878752</cx:pt>
          <cx:pt idx="2381">13.730871862531641</cx:pt>
          <cx:pt idx="2382">13.926708741632712</cx:pt>
          <cx:pt idx="2383">13.706183900859605</cx:pt>
          <cx:pt idx="2384">14.051114672132305</cx:pt>
          <cx:pt idx="2385">13.956479976460159</cx:pt>
          <cx:pt idx="2386">12.959644321985882</cx:pt>
          <cx:pt idx="2387">13.025123652151873</cx:pt>
          <cx:pt idx="2388">13.48978721012155</cx:pt>
          <cx:pt idx="2389">14.07340065728984</cx:pt>
          <cx:pt idx="2390">14.734005195156852</cx:pt>
          <cx:pt idx="2391">14.841383583300672</cx:pt>
          <cx:pt idx="2392">15.157506391224119</cx:pt>
          <cx:pt idx="2393">14.82216005079653</cx:pt>
          <cx:pt idx="2394">13.313079855469029</cx:pt>
          <cx:pt idx="2395">14.099645385611653</cx:pt>
          <cx:pt idx="2396">13.45362404707371</cx:pt>
          <cx:pt idx="2397">14.863265679744362</cx:pt>
          <cx:pt idx="2398">5.5075705472861021</cx:pt>
          <cx:pt idx="2399">7.0710678118654755</cx:pt>
        </cx:lvl>
      </cx:numDim>
    </cx:data>
    <cx:data id="4">
      <cx:numDim type="val">
        <cx:f>Sheet2!$E$4919:$E$7318</cx:f>
        <cx:lvl ptCount="2400" formatCode="#,##0.00">
          <cx:pt idx="0">3.3952299195925675</cx:pt>
          <cx:pt idx="1">3.3562431103976884</cx:pt>
          <cx:pt idx="2">3.3986136456860874</cx:pt>
          <cx:pt idx="3">3.3044727612563332</cx:pt>
          <cx:pt idx="4">3.3598371608050348</cx:pt>
          <cx:pt idx="5">3.4274081222961477</cx:pt>
          <cx:pt idx="6">3.4006422652334303</cx:pt>
          <cx:pt idx="7">3.4006422652334303</cx:pt>
          <cx:pt idx="8">3.3433756772968595</cx:pt>
          <cx:pt idx="9">3.3461248817307947</cx:pt>
          <cx:pt idx="10">3.3086441991821376</cx:pt>
          <cx:pt idx="11">3.337181686572579</cx:pt>
          <cx:pt idx="12">3.3937061421564398</cx:pt>
          <cx:pt idx="13">3.3828505968959881</cx:pt>
          <cx:pt idx="14">3.390487029742272</cx:pt>
          <cx:pt idx="15">3.3500729105121172</cx:pt>
          <cx:pt idx="16">3.3700847562587826</cx:pt>
          <cx:pt idx="17">3.3986136456860874</cx:pt>
          <cx:pt idx="18">3.2449784371350248</cx:pt>
          <cx:pt idx="19">3.2091822283430149</cx:pt>
          <cx:pt idx="20">3.2652823714829391</cx:pt>
          <cx:pt idx="21">3.2236553821692087</cx:pt>
          <cx:pt idx="22">3.314891513628528</cx:pt>
          <cx:pt idx="23">3.3192230083726439</cx:pt>
          <cx:pt idx="24">3.2816102019041478</cx:pt>
          <cx:pt idx="25">3.4031763391576257</cx:pt>
          <cx:pt idx="26">3.4788358470291056</cx:pt>
          <cx:pt idx="27">3.5712775009099684</cx:pt>
          <cx:pt idx="28">3.6382388059602966</cx:pt>
          <cx:pt idx="29">3.5789936298209373</cx:pt>
          <cx:pt idx="30">3.5789936298209373</cx:pt>
          <cx:pt idx="31">3.5572493570883879</cx:pt>
          <cx:pt idx="32">3.4534673563838982</cx:pt>
          <cx:pt idx="33">3.4534673563838982</cx:pt>
          <cx:pt idx="34">3.3741750801143042</cx:pt>
          <cx:pt idx="35">3.3500729105121163</cx:pt>
          <cx:pt idx="36">3.3536735733791403</cx:pt>
          <cx:pt idx="37">3.3904870297422725</cx:pt>
          <cx:pt idx="38">3.3521309057367379</cx:pt>
          <cx:pt idx="39">3.2120462915889529</cx:pt>
          <cx:pt idx="40">3.2947188671862584</cx:pt>
          <cx:pt idx="41">3.23433448181073</cx:pt>
          <cx:pt idx="42">3.1905031491643427</cx:pt>
          <cx:pt idx="43">3.2492262562597602</cx:pt>
          <cx:pt idx="44">3.2772289949067446</cx:pt>
          <cx:pt idx="45">3.2737198076974061</cx:pt>
          <cx:pt idx="46">3.2428524409881785</cx:pt>
          <cx:pt idx="47">3.3268327418062396</cx:pt>
          <cx:pt idx="48">3.321127076381039</cx:pt>
          <cx:pt idx="49">3.3904870297422725</cx:pt>
          <cx:pt idx="50">3.4655944407253152</cx:pt>
          <cx:pt idx="51">3.4011492310620564</cx:pt>
          <cx:pt idx="52">3.3495582141358669</cx:pt>
          <cx:pt idx="53">3.4389586769266649</cx:pt>
          <cx:pt idx="54">3.5143384459445106</cx:pt>
          <cx:pt idx="55">3.4132938216103925</cx:pt>
          <cx:pt idx="56">3.4576252564141625</cx:pt>
          <cx:pt idx="57">3.4132938216103925</cx:pt>
          <cx:pt idx="58">3.4589547288294993</cx:pt>
          <cx:pt idx="59">3.4589547288294993</cx:pt>
          <cx:pt idx="60">3.3782604514988064</cx:pt>
          <cx:pt idx="61">3.4813130037221676</cx:pt>
          <cx:pt idx="62">3.4839533628455417</cx:pt>
          <cx:pt idx="63">3.514992519735014</cx:pt>
          <cx:pt idx="64">3.6079414323559003</cx:pt>
          <cx:pt idx="65">3.6514837167011072</cx:pt>
          <cx:pt idx="66">3.6990213057901755</cx:pt>
          <cx:pt idx="67">3.6811105270887592</cx:pt>
          <cx:pt idx="68">3.7430395172354523</cx:pt>
          <cx:pt idx="69">3.7594325812991158</cx:pt>
          <cx:pt idx="70">3.6728265916612228</cx:pt>
          <cx:pt idx="71">3.6477043639029714</cx:pt>
          <cx:pt idx="72">3.6168507289356442</cx:pt>
          <cx:pt idx="73">3.554016668891498</cx:pt>
          <cx:pt idx="74">3.5905367318812527</cx:pt>
          <cx:pt idx="75">3.5881349812511467</cx:pt>
          <cx:pt idx="76">3.5378089199422558</cx:pt>
          <cx:pt idx="77">3.4971252561884691</cx:pt>
          <cx:pt idx="78">3.5051685974503024</cx:pt>
          <cx:pt idx="79">3.562254226246885</cx:pt>
          <cx:pt idx="80">3.4349454980701872</cx:pt>
          <cx:pt idx="81">3.3828505968959881</cx:pt>
          <cx:pt idx="82">3.4389586769266649</cx:pt>
          <cx:pt idx="83">3.376899210201878</cx:pt>
          <cx:pt idx="84">3.376899210201878</cx:pt>
          <cx:pt idx="85">3.3630856110997542</cx:pt>
          <cx:pt idx="86">3.2279312616418983</cx:pt>
          <cx:pt idx="87">3.1330643073551787</cx:pt>
          <cx:pt idx="88">3.0103270529158852</cx:pt>
          <cx:pt idx="89">3.1200132625712813</cx:pt>
          <cx:pt idx="90">3.0589984086899777</cx:pt>
          <cx:pt idx="91">2.9641536560292754</cx:pt>
          <cx:pt idx="92">3.0369373562434778</cx:pt>
          <cx:pt idx="93">2.8945052978946562</cx:pt>
          <cx:pt idx="94">2.8302552583797476</cx:pt>
          <cx:pt idx="95">2.8373534698101457</cx:pt>
          <cx:pt idx="96">2.914292958553732</cx:pt>
          <cx:pt idx="97">2.9767296720108609</cx:pt>
          <cx:pt idx="98">2.8687776242628606</cx:pt>
          <cx:pt idx="99">2.8687776242628602</cx:pt>
          <cx:pt idx="100">3.0484591924898488</cx:pt>
          <cx:pt idx="101">3.0484591924898488</cx:pt>
          <cx:pt idx="102">3.0484591924898488</cx:pt>
          <cx:pt idx="103">3.0680032069997778</cx:pt>
          <cx:pt idx="104">3.0889123183322678</cx:pt>
          <cx:pt idx="105">3.169720245823219</cx:pt>
          <cx:pt idx="106">3.2767028564084661</cx:pt>
          <cx:pt idx="107">3.268800616627507</cx:pt>
          <cx:pt idx="108">3.322684138623091</cx:pt>
          <cx:pt idx="109">3.3911649915626341</cx:pt>
          <cx:pt idx="110">3.4011492310620564</cx:pt>
          <cx:pt idx="111">3.4971252561884687</cx:pt>
          <cx:pt idx="112">3.3598371608050348</cx:pt>
          <cx:pt idx="113">3.4971252561884683</cx:pt>
          <cx:pt idx="114">3.430927624974927</cx:pt>
          <cx:pt idx="115">3.4349454980701863</cx:pt>
          <cx:pt idx="116">3.4381229843000689</cx:pt>
          <cx:pt idx="117">3.4509702117373968</cx:pt>
          <cx:pt idx="118">3.4481379282757518</cx:pt>
          <cx:pt idx="119">3.3321837098008369</cx:pt>
          <cx:pt idx="120">3.4514697852017937</cx:pt>
          <cx:pt idx="121">3.430927624974927</cx:pt>
          <cx:pt idx="122">3.4414645372166102</cx:pt>
          <cx:pt idx="123">3.4898868670527974</cx:pt>
          <cx:pt idx="124">3.4898868670527978</cx:pt>
          <cx:pt idx="125">3.5202207349807639</cx:pt>
          <cx:pt idx="126">3.4489711942622217</cx:pt>
          <cx:pt idx="127">3.4200221818195766</cx:pt>
          <cx:pt idx="128">3.4589547288294997</cx:pt>
          <cx:pt idx="129">3.4589547288295002</cx:pt>
          <cx:pt idx="130">3.298205712132011</cx:pt>
          <cx:pt idx="131">3.383530088837539</cx:pt>
          <cx:pt idx="132">3.3392476267332554</cx:pt>
          <cx:pt idx="133">3.3774097399818306</cx:pt>
          <cx:pt idx="134">3.2983799576197379</cx:pt>
          <cx:pt idx="135">3.2745974570543983</cx:pt>
          <cx:pt idx="136">3.2412570287523907</cx:pt>
          <cx:pt idx="137">3.1832897030168867</cx:pt>
          <cx:pt idx="138">3.1484351157616248</cx:pt>
          <cx:pt idx="139">2.9905982948098426</cx:pt>
          <cx:pt idx="140">3.0363695805822215</cx:pt>
          <cx:pt idx="141">2.8687776242628606</cx:pt>
          <cx:pt idx="142">2.8705800607294463</cx:pt>
          <cx:pt idx="143">2.5910988216292092</cx:pt>
          <cx:pt idx="144">2.8785772347727145</cx:pt>
          <cx:pt idx="145">2.9651229355607676</cx:pt>
          <cx:pt idx="146">2.9728657948993864</cx:pt>
          <cx:pt idx="147">3.0477049967354843</cx:pt>
          <cx:pt idx="148">3.2021903423290978</cx:pt>
          <cx:pt idx="149">3.2322014845584124</cx:pt>
          <cx:pt idx="150">3.1805804429416638</cx:pt>
          <cx:pt idx="151">3.1805804429416638</cx:pt>
          <cx:pt idx="152">3.1456958369891033</cx:pt>
          <cx:pt idx="153">3.1456958369891037</cx:pt>
          <cx:pt idx="154">3.0866788311867741</cx:pt>
          <cx:pt idx="155">2.9913668885760178</cx:pt>
          <cx:pt idx="156">3.0926312124293047</cx:pt>
          <cx:pt idx="157">3.1154048094006623</cx:pt>
          <cx:pt idx="158">3.1037611591959409</cx:pt>
          <cx:pt idx="159">3.2428524409881785</cx:pt>
          <cx:pt idx="160">3.2837111049374683</cx:pt>
          <cx:pt idx="161">3.2809096019384554</cx:pt>
          <cx:pt idx="162">3.2640500897666613</cx:pt>
          <cx:pt idx="163">3.3598371608050344</cx:pt>
          <cx:pt idx="164">3.4006422652334298</cx:pt>
          <cx:pt idx="165">3.4154819925420936</cx:pt>
          <cx:pt idx="166">3.343375677296859</cx:pt>
          <cx:pt idx="167">3.3060376672795586</cx:pt>
          <cx:pt idx="168">3.3060376672795586</cx:pt>
          <cx:pt idx="169">3.3060376672795586</cx:pt>
          <cx:pt idx="170">3.1702641392545949</cx:pt>
          <cx:pt idx="171">3.1227750700188182</cx:pt>
          <cx:pt idx="172">3.1227750700188182</cx:pt>
          <cx:pt idx="173">3.0926312124293056</cx:pt>
          <cx:pt idx="174">3.1000556168537052</cx:pt>
          <cx:pt idx="175">3.0522273758720839</cx:pt>
          <cx:pt idx="176">3.0522273758720839</cx:pt>
          <cx:pt idx="177">3.1222229039690559</cx:pt>
          <cx:pt idx="178">3.1015383650512947</cx:pt>
          <cx:pt idx="179">3.1015383650512947</cx:pt>
          <cx:pt idx="180">3.0618152530285312</cx:pt>
          <cx:pt idx="181">3.1551818352977854</cx:pt>
          <cx:pt idx="182">3.2377088536015179</cx:pt>
          <cx:pt idx="183">3.2000359193386361</cx:pt>
          <cx:pt idx="184">3.1484351157616253</cx:pt>
          <cx:pt idx="185">3.2120462915889534</cx:pt>
          <cx:pt idx="186">3.1666364184883227</cx:pt>
          <cx:pt idx="187">3.0754870654345425</cx:pt>
          <cx:pt idx="188">3.0859339762456237</cx:pt>
          <cx:pt idx="189">3.0227109701715449</cx:pt>
          <cx:pt idx="190">2.9827087896973667</cx:pt>
          <cx:pt idx="191">2.9827087896973667</cx:pt>
          <cx:pt idx="192">3.0066975047479372</cx:pt>
          <cx:pt idx="193">2.844636008875038</cx:pt>
          <cx:pt idx="194">2.6986586706528222</cx:pt>
          <cx:pt idx="195">2.8057822069974447</cx:pt>
          <cx:pt idx="196">2.8202877492386742</cx:pt>
          <cx:pt idx="197">2.8031181324317784</cx:pt>
          <cx:pt idx="198">2.8615565252369972</cx:pt>
          <cx:pt idx="199">3.013570837959894</cx:pt>
          <cx:pt idx="200">3.0665042435747694</cx:pt>
          <cx:pt idx="201">3.0859339762456242</cx:pt>
          <cx:pt idx="202">3.2640500897666609</cx:pt>
          <cx:pt idx="203">3.3190498571161871</cx:pt>
          <cx:pt idx="204">3.244092774726778</cx:pt>
          <cx:pt idx="205">3.2348675113661063</cx:pt>
          <cx:pt idx="206">3.2668660506827409</cx:pt>
          <cx:pt idx="207">3.2525851787197806</cx:pt>
          <cx:pt idx="208">3.2525851787197806</cx:pt>
          <cx:pt idx="209">3.1688135493185507</cx:pt>
          <cx:pt idx="210">3.196441987477693</cx:pt>
          <cx:pt idx="211">3.1622776601683795</cx:pt>
          <cx:pt idx="212">3.2215153141868234</cx:pt>
          <cx:pt idx="213">3.2851109605291118</cx:pt>
          <cx:pt idx="214">3.4614461133177126</cx:pt>
          <cx:pt idx="215">3.4073956077312491</cx:pt>
          <cx:pt idx="216">3.4409635111487988</cx:pt>
          <cx:pt idx="217">3.5486762952227502</cx:pt>
          <cx:pt idx="218">3.5977323637146137</cx:pt>
          <cx:pt idx="219">3.6736088930165902</cx:pt>
          <cx:pt idx="220">3.6811105270887592</cx:pt>
          <cx:pt idx="221">3.6811105270887592</cx:pt>
          <cx:pt idx="222">3.6552591618419998</cx:pt>
          <cx:pt idx="223">3.6709483882187062</cx:pt>
          <cx:pt idx="224">3.6829835481701454</cx:pt>
          <cx:pt idx="225">3.6263721144752479</cx:pt>
          <cx:pt idx="226">3.7078667535483212</cx:pt>
          <cx:pt idx="227">3.7632524450954974</cx:pt>
          <cx:pt idx="228">3.6514837167011072</cx:pt>
          <cx:pt idx="229">3.6001277116555026</cx:pt>
          <cx:pt idx="230">3.5202207349807635</cx:pt>
          <cx:pt idx="231">3.5733689310287255</cx:pt>
          <cx:pt idx="232">3.5280485309561165</cx:pt>
          <cx:pt idx="233">3.5733689310287255</cx:pt>
          <cx:pt idx="234">3.4832934606968355</cx:pt>
          <cx:pt idx="235">3.4389586769266667</cx:pt>
          <cx:pt idx="236">3.2605267186083018</cx:pt>
          <cx:pt idx="237">2.9664793948382657</cx:pt>
          <cx:pt idx="238">2.6920487433888729</cx:pt>
          <cx:pt idx="239">2.6971675223608473</cx:pt>
          <cx:pt idx="240">2.4506625892678047</cx:pt>
          <cx:pt idx="241">1.9061304607327711</cx:pt>
          <cx:pt idx="242">1.8864306744895689</cx:pt>
          <cx:pt idx="243">1.066199610389819</cx:pt>
          <cx:pt idx="244">1.0400044208570938</cx:pt>
          <cx:pt idx="245">1.0699661612438485</cx:pt>
          <cx:pt idx="246">1.0333518722845683</cx:pt>
          <cx:pt idx="247">1.0613372610104652</cx:pt>
          <cx:pt idx="248">1.0806553992619587</cx:pt>
          <cx:pt idx="249">1.1244411127720095</cx:pt>
          <cx:pt idx="250">1.1188047809743373</cx:pt>
          <cx:pt idx="251">1.1547005383792519</cx:pt>
          <cx:pt idx="252">1.112106833535071</cx:pt>
          <cx:pt idx="253">1.0726484571581121</cx:pt>
          <cx:pt idx="254">1.0726484571581119</cx:pt>
          <cx:pt idx="255">1.0933445471810683</cx:pt>
          <cx:pt idx="256">1.0661996103898193</cx:pt>
          <cx:pt idx="257">1.0742546199601597</cx:pt>
          <cx:pt idx="258">1.2507469032909713</cx:pt>
          <cx:pt idx="259">1.4890404223224918</cx:pt>
          <cx:pt idx="260">1.489040422322492</cx:pt>
          <cx:pt idx="261">1.5698305055298021</cx:pt>
          <cx:pt idx="262">1.57749984061059</cx:pt>
          <cx:pt idx="263">1.5391444107819707</cx:pt>
          <cx:pt idx="264">1.5391444107819707</cx:pt>
          <cx:pt idx="265">1.5624913792865638</cx:pt>
          <cx:pt idx="266">1.920548293359591</cx:pt>
          <cx:pt idx="267">1.9475891374404053</cx:pt>
          <cx:pt idx="268">1.98152385340404</cx:pt>
          <cx:pt idx="269">2.3116397126108428</cx:pt>
          <cx:pt idx="270">2.6076809620810595</cx:pt>
          <cx:pt idx="271">2.9329675843034329</cx:pt>
          <cx:pt idx="272">3.0552385763833056</cx:pt>
          <cx:pt idx="273">3.0618152530285294</cx:pt>
          <cx:pt idx="274">3.0595619850282305</cx:pt>
          <cx:pt idx="275">3.0295479728072023</cx:pt>
          <cx:pt idx="276">3.0295479728072023</cx:pt>
          <cx:pt idx="277">2.9790455927491539</cx:pt>
          <cx:pt idx="278">3.0371265912099354</cx:pt>
          <cx:pt idx="279">3.0702502799624001</cx:pt>
          <cx:pt idx="280">3.0371265912099354</cx:pt>
          <cx:pt idx="281">3.0477049967354835</cx:pt>
          <cx:pt idx="282">3.0702502799623996</cx:pt>
          <cx:pt idx="283">3.0522273758720839</cx:pt>
          <cx:pt idx="284">3.0894704378269902</cx:pt>
          <cx:pt idx="285">3.1037611591959418</cx:pt>
          <cx:pt idx="286">3.0665042435747689</cx:pt>
          <cx:pt idx="287">3.1126364624103529</cx:pt>
          <cx:pt idx="288">3.1919438822019468</cx:pt>
          <cx:pt idx="289">3.3060376672795582</cx:pt>
          <cx:pt idx="290">3.2263284709246283</cx:pt>
          <cx:pt idx="291">3.30186293637012</cx:pt>
          <cx:pt idx="292">3.2555875928490456</cx:pt>
          <cx:pt idx="293">3.236998751859542</cx:pt>
          <cx:pt idx="294">3.1876197295521123</cx:pt>
          <cx:pt idx="295">3.1892419738577522</cx:pt>
          <cx:pt idx="296">3.1905031491643427</cx:pt>
          <cx:pt idx="297">3.1154048094006623</cx:pt>
          <cx:pt idx="298">3.1784113721440641</cx:pt>
          <cx:pt idx="299">3.0635041164105474</cx:pt>
          <cx:pt idx="300">2.9300268721061866</cx:pt>
          <cx:pt idx="301">2.7934652809480327</cx:pt>
          <cx:pt idx="302">2.7934652809480327</cx:pt>
          <cx:pt idx="303">2.7753015783108528</cx:pt>
          <cx:pt idx="304">2.8585423501876077</cx:pt>
          <cx:pt idx="305">2.8958948352023639</cx:pt>
          <cx:pt idx="306">2.9563879794535537</cx:pt>
          <cx:pt idx="307">3.1037611591959409</cx:pt>
          <cx:pt idx="308">3.0095633012727636</cx:pt>
          <cx:pt idx="309">3.0095633012727636</cx:pt>
          <cx:pt idx="310">3.0467619895045392</cx:pt>
          <cx:pt idx="311">3.2555875928490456</cx:pt>
          <cx:pt idx="312">3.2555875928490456</cx:pt>
          <cx:pt idx="313">3.3268327418062396</cx:pt>
          <cx:pt idx="314">3.3461248817307956</cx:pt>
          <cx:pt idx="315">3.4514697852017941</cx:pt>
          <cx:pt idx="316">3.5280485309561165</cx:pt>
          <cx:pt idx="317">3.4813130037221671</cx:pt>
          <cx:pt idx="318">3.575780599610626</cx:pt>
          <cx:pt idx="319">3.4641016151377544</cx:pt>
          <cx:pt idx="320">3.6263721144752479</cx:pt>
          <cx:pt idx="321">3.5559566344665812</cx:pt>
          <cx:pt idx="322">3.5559566344665812</cx:pt>
          <cx:pt idx="323">3.5712775009099684</cx:pt>
          <cx:pt idx="324">3.6759547981661749</cx:pt>
          <cx:pt idx="325">3.6045947689408671</cx:pt>
          <cx:pt idx="326">3.6168507289356437</cx:pt>
          <cx:pt idx="327">3.724568940576003</cx:pt>
          <cx:pt idx="328">3.7039897718386121</cx:pt>
          <cx:pt idx="329">3.7973069707208369</cx:pt>
          <cx:pt idx="330">3.8981280505969242</cx:pt>
          <cx:pt idx="331">3.7667632985265254</cx:pt>
          <cx:pt idx="332">3.7667632985265254</cx:pt>
          <cx:pt idx="333">3.7667632985265254</cx:pt>
          <cx:pt idx="334">3.6212971575732733</cx:pt>
          <cx:pt idx="335">3.5712775009099684</cx:pt>
          <cx:pt idx="336">3.4031763391576262</cx:pt>
          <cx:pt idx="337">3.4389586769266649</cx:pt>
          <cx:pt idx="338">3.6045947689408671</cx:pt>
          <cx:pt idx="339">3.6045947689408671</cx:pt>
          <cx:pt idx="340">3.5084462946294117</cx:pt>
          <cx:pt idx="341">3.5421923206937276</cx:pt>
          <cx:pt idx="342">3.5680575223444233</cx:pt>
          <cx:pt idx="343">3.4314301163914385</cx:pt>
          <cx:pt idx="344">3.4456369212532318</cx:pt>
          <cx:pt idx="345">3.4456369212532318</cx:pt>
          <cx:pt idx="346">3.3155849330511589</cx:pt>
          <cx:pt idx="347">3.30186293637012</cx:pt>
          <cx:pt idx="348">3.2091822283430163</cx:pt>
          <cx:pt idx="349">3.1957227160942669</cx:pt>
          <cx:pt idx="350">3.0998702234607909</cx:pt>
          <cx:pt idx="351">3.1811224795479127</cx:pt>
          <cx:pt idx="352">3.1566386895069183</cx:pt>
          <cx:pt idx="353">3.0889123183322686</cx:pt>
          <cx:pt idx="354">3.0454412888246853</cx:pt>
          <cx:pt idx="355">3.0454412888246853</cx:pt>
          <cx:pt idx="356">3.0278401694861672</cx:pt>
          <cx:pt idx="357">2.9867523591975975</cx:pt>
          <cx:pt idx="358">3.041664698472045</cx:pt>
          <cx:pt idx="359">3.1015383650512951</cx:pt>
          <cx:pt idx="360">3.0325816929042371</cx:pt>
          <cx:pt idx="361">3.0340974154494083</cx:pt>
          <cx:pt idx="362">3.0026807945605851</cx:pt>
          <cx:pt idx="363">3.0444975804295487</cx:pt>
          <cx:pt idx="364">3.1396610110596037</cx:pt>
          <cx:pt idx="365">3.1805804429416638</cx:pt>
          <cx:pt idx="366">3.1941037632761273</cx:pt>
          <cx:pt idx="367">3.0859339762456242</cx:pt>
          <cx:pt idx="368">2.9282610272443543</cx:pt>
          <cx:pt idx="369">2.9300268721061871</cx:pt>
          <cx:pt idx="370">2.8974820618686445</cx:pt>
          <cx:pt idx="371">2.8777785174335948</cx:pt>
          <cx:pt idx="372">2.8825675017766446</cx:pt>
          <cx:pt idx="373">2.8639655812482645</cx:pt>
          <cx:pt idx="374">2.9048117037912728</cx:pt>
          <cx:pt idx="375">2.9470421563432661</cx:pt>
          <cx:pt idx="376">2.9836720413903928</cx:pt>
          <cx:pt idx="377">2.9836720413903928</cx:pt>
          <cx:pt idx="378">3.0026807945605851</cx:pt>
          <cx:pt idx="379">3.1222229039690559</cx:pt>
          <cx:pt idx="380">3.1236951298690809</cx:pt>
          <cx:pt idx="381">3.2107935782760704</cx:pt>
          <cx:pt idx="382">3.2816102019041478</cx:pt>
          <cx:pt idx="383">3.3190498571161879</cx:pt>
          <cx:pt idx="384">3.4788358470291052</cx:pt>
          <cx:pt idx="385">3.5300027677368591</cx:pt>
          <cx:pt idx="386">3.5467323475034855</cx:pt>
          <cx:pt idx="387">3.5030364496842012</cx:pt>
          <cx:pt idx="388">3.594376194819493</cx:pt>
          <cx:pt idx="389">3.4349454980701868</cx:pt>
          <cx:pt idx="390">3.3782604514988064</cx:pt>
          <cx:pt idx="391">3.397768030076052</cx:pt>
          <cx:pt idx="392">3.3577838887692222</cx:pt>
          <cx:pt idx="393">3.2863353450309964</cx:pt>
          <cx:pt idx="394">3.2661622880613295</cx:pt>
          <cx:pt idx="395">3.4107672646097291</cx:pt>
          <cx:pt idx="396">3.5378089199422558</cx:pt>
          <cx:pt idx="397">3.5519138438344733</cx:pt>
          <cx:pt idx="398">3.5669298431209904</cx:pt>
          <cx:pt idx="399">3.5330947653140661</cx:pt>
          <cx:pt idx="400">3.6960681189921121</cx:pt>
          <cx:pt idx="401">3.6960681189921121</cx:pt>
          <cx:pt idx="402">3.7101909979648373</cx:pt>
          <cx:pt idx="403">3.7594325812991163</cx:pt>
          <cx:pt idx="404">3.7132877274898095</cx:pt>
          <cx:pt idx="405">3.6358685660905095</cx:pt>
          <cx:pt idx="406">3.5475424551743377</cx:pt>
          <cx:pt idx="407">3.6459708512652513</cx:pt>
          <cx:pt idx="408">3.7736229124089062</cx:pt>
          <cx:pt idx="409">3.7368928023281525</cx:pt>
          <cx:pt idx="410">3.7850279763311114</cx:pt>
          <cx:pt idx="411">3.6923344016127979</cx:pt>
          <cx:pt idx="412">3.605391875332367</cx:pt>
          <cx:pt idx="413">3.5501335574682353</cx:pt>
          <cx:pt idx="414">3.3952299195925675</cx:pt>
          <cx:pt idx="415">3.3500729105121159</cx:pt>
          <cx:pt idx="416">3.3500729105121163</cx:pt>
          <cx:pt idx="417">3.4374542839175311</cx:pt>
          <cx:pt idx="418">3.3185303491396492</cx:pt>
          <cx:pt idx="419">3.3185303491396492</cx:pt>
          <cx:pt idx="420">3.3392476267332558</cx:pt>
          <cx:pt idx="421">3.2851109605291127</cx:pt>
          <cx:pt idx="422">3.2414343355564275</cx:pt>
          <cx:pt idx="423">3.1478874507038612</cx:pt>
          <cx:pt idx="424">3.1176177170854453</cx:pt>
          <cx:pt idx="425">3.0399637021426469</cx:pt>
          <cx:pt idx="426">3.075487065434543</cx:pt>
          <cx:pt idx="427">3.1259021686252582</cx:pt>
          <cx:pt idx="428">3.1347147847306922</cx:pt>
          <cx:pt idx="429">3.1832897030168859</cx:pt>
          <cx:pt idx="430">3.0931886609054451</cx:pt>
          <cx:pt idx="431">2.9767296720108596</cx:pt>
          <cx:pt idx="432">2.97672967201086</cx:pt>
          <cx:pt idx="433">2.8809720581775866</cx:pt>
          <cx:pt idx="434">2.8494806947731823</cx:pt>
          <cx:pt idx="435">2.9844424188990715</cx:pt>
          <cx:pt idx="436">2.9767296720108605</cx:pt>
          <cx:pt idx="437">2.9400132926433407</cx:pt>
          <cx:pt idx="438">2.9400132926433407</cx:pt>
          <cx:pt idx="439">2.8945052978946553</cx:pt>
          <cx:pt idx="440">2.9790455927491548</cx:pt>
          <cx:pt idx="441">2.8705800607294467</cx:pt>
          <cx:pt idx="442">2.8849590128365992</cx:pt>
          <cx:pt idx="443">2.889736097404688</cx:pt>
          <cx:pt idx="444">2.8689779509014386</cx:pt>
          <cx:pt idx="445">2.9651229355607671</cx:pt>
          <cx:pt idx="446">2.8849590128365992</cx:pt>
          <cx:pt idx="447">2.8373534698101466</cx:pt>
          <cx:pt idx="448">2.881570453045017</cx:pt>
          <cx:pt idx="449">2.8815704530450166</cx:pt>
          <cx:pt idx="450">2.887945616707051</cx:pt>
          <cx:pt idx="451">2.97518472332913</cx:pt>
          <cx:pt idx="452">2.9796242916750817</cx:pt>
          <cx:pt idx="453">3.0589984086899777</cx:pt>
          <cx:pt idx="454">3.0680032069997769</cx:pt>
          <cx:pt idx="455">2.9952068989998155</cx:pt>
          <cx:pt idx="456">2.7618085029372605</cx:pt>
          <cx:pt idx="457">2.9135040324541235</cx:pt>
          <cx:pt idx="458">3.0392073981871324</cx:pt>
          <cx:pt idx="459">2.8518999514943251</cx:pt>
          <cx:pt idx="460">2.8809720581775866</cx:pt>
          <cx:pt idx="461">2.8809720581775871</cx:pt>
          <cx:pt idx="462">2.8615565252369968</cx:pt>
          <cx:pt idx="463">2.9534705865721982</cx:pt>
          <cx:pt idx="464">2.9048117037912733</cx:pt>
          <cx:pt idx="465">2.9016444010052398</cx:pt>
          <cx:pt idx="466">2.9093586606143891</cx:pt>
          <cx:pt idx="467">2.9633780041368833</cx:pt>
          <cx:pt idx="468">2.9633780041368833</cx:pt>
          <cx:pt idx="469">2.9633780041368833</cx:pt>
          <cx:pt idx="470">2.8496823779453764</cx:pt>
          <cx:pt idx="471">2.9495762407505257</cx:pt>
          <cx:pt idx="472">3.0567430642629314</cx:pt>
          <cx:pt idx="473">3.1222229039690559</cx:pt>
          <cx:pt idx="474">3.1222229039690559</cx:pt>
          <cx:pt idx="475">3.0295479728072023</cx:pt>
          <cx:pt idx="476">3.0295479728072028</cx:pt>
          <cx:pt idx="477">3.0217601630107276</cx:pt>
          <cx:pt idx="478">2.955804731235709</cx:pt>
          <cx:pt idx="479">2.9882913274095722</cx:pt>
          <cx:pt idx="480">3.0595619850282301</cx:pt>
          <cx:pt idx="481">3.0323921743156137</cx:pt>
          <cx:pt idx="482">3.1486176496120128</cx:pt>
          <cx:pt idx="483">3.1139286639449426</cx:pt>
          <cx:pt idx="484">3.002106540108282</cx:pt>
          <cx:pt idx="485">3.002106540108282</cx:pt>
          <cx:pt idx="486">2.965122935560768</cx:pt>
          <cx:pt idx="487">2.9093586606143886</cx:pt>
          <cx:pt idx="488">2.8424127682002118</cx:pt>
          <cx:pt idx="489">2.8424127682002118</cx:pt>
          <cx:pt idx="490">2.9819379643092012</cx:pt>
          <cx:pt idx="491">2.9651229355607671</cx:pt>
          <cx:pt idx="492">2.9942473580817115</cx:pt>
          <cx:pt idx="493">2.9749915483314697</cx:pt>
          <cx:pt idx="494">2.9896372747346396</cx:pt>
          <cx:pt idx="495">3.0708117912811361</cx:pt>
          <cx:pt idx="496">3.0680032069997778</cx:pt>
          <cx:pt idx="497">3.2000359193386365</cx:pt>
          <cx:pt idx="498">3.0369373562434778</cx:pt>
          <cx:pt idx="499">3.0340974154494083</cx:pt>
          <cx:pt idx="500">3.0708117912811361</cx:pt>
          <cx:pt idx="501">3.0126171460983087</cx:pt>
          <cx:pt idx="502">3.0126171460983087</cx:pt>
          <cx:pt idx="503">2.9633780041368833</cx:pt>
          <cx:pt idx="504">2.9470421563432669</cx:pt>
          <cx:pt idx="505">2.9911747586494517</cx:pt>
          <cx:pt idx="506">2.916461404928373</cx:pt>
          <cx:pt idx="507">2.916461404928373</cx:pt>
          <cx:pt idx="508">2.916461404928373</cx:pt>
          <cx:pt idx="509">2.8905315106037341</cx:pt>
          <cx:pt idx="510">2.8343135559308421</cx:pt>
          <cx:pt idx="511">2.8488755595889033</cx:pt>
          <cx:pt idx="512">2.7503395819592811</cx:pt>
          <cx:pt idx="513">2.788523277465246</cx:pt>
          <cx:pt idx="514">2.8235463150271594</cx:pt>
          <cx:pt idx="515">2.7628487713469467</cx:pt>
          <cx:pt idx="516">2.943139304470185</cx:pt>
          <cx:pt idx="517">2.9680288749098862</cx:pt>
          <cx:pt idx="518">3.0189059447833548</cx:pt>
          <cx:pt idx="519">3.0278401694861681</cx:pt>
          <cx:pt idx="520">2.8326909346122604</cx:pt>
          <cx:pt idx="521">2.881570453045017</cx:pt>
          <cx:pt idx="522">2.9323796777894642</cx:pt>
          <cx:pt idx="523">2.944701065951532</cx:pt>
          <cx:pt idx="524">2.944701065951532</cx:pt>
          <cx:pt idx="525">2.944701065951532</cx:pt>
          <cx:pt idx="526">3.0670664407091244</cx:pt>
          <cx:pt idx="527">2.9798171663421877</cx:pt>
          <cx:pt idx="528">3.0454412888246853</cx:pt>
          <cx:pt idx="529">3.1043166090454437</cx:pt>
          <cx:pt idx="530">3.2000359193386365</cx:pt>
          <cx:pt idx="531">3.2898310755640825</cx:pt>
          <cx:pt idx="532">3.1905031491643427</cx:pt>
          <cx:pt idx="533">3.1266375020084305</cx:pt>
          <cx:pt idx="534">3.1579128856102807</cx:pt>
          <cx:pt idx="535">3.0931886609054451</cx:pt>
          <cx:pt idx="536">3.2000359193386361</cx:pt>
          <cx:pt idx="537">3.2348675113661072</cx:pt>
          <cx:pt idx="538">3.2976829204273361</cx:pt>
          <cx:pt idx="539">3.4275757996095382</cx:pt>
          <cx:pt idx="540">3.5272339460751434</cx:pt>
          <cx:pt idx="541">3.5084462946294122</cx:pt>
          <cx:pt idx="542">3.580920064138144</cx:pt>
          <cx:pt idx="543">3.6773616229230335</cx:pt>
          <cx:pt idx="544">3.6547874444853585</cx:pt>
          <cx:pt idx="545">3.6426591272367741</cx:pt>
          <cx:pt idx="546">3.5402448126271331</cx:pt>
          <cx:pt idx="547">3.5977323637146137</cx:pt>
          <cx:pt idx="548">3.5977323637146141</cx:pt>
          <cx:pt idx="549">3.7046103615676618</cx:pt>
          <cx:pt idx="550">3.81542543687697</cx:pt>
          <cx:pt idx="551">3.8393007026094574</cx:pt>
          <cx:pt idx="552">3.8200920732720394</cx:pt>
          <cx:pt idx="553">3.7295033720723265</cx:pt>
          <cx:pt idx="554">3.8536443417424597</cx:pt>
          <cx:pt idx="555">3.7663055467213984</cx:pt>
          <cx:pt idx="556">3.6358685660905095</cx:pt>
          <cx:pt idx="557">3.5977323637146137</cx:pt>
          <cx:pt idx="558">3.530491157911595</cx:pt>
          <cx:pt idx="559">3.4874158004914242</cx:pt>
          <cx:pt idx="560">3.4006422652334303</cx:pt>
          <cx:pt idx="561">3.4073956077312491</cx:pt>
          <cx:pt idx="562">3.4046958781936025</cx:pt>
          <cx:pt idx="563">3.4213662660458874</cx:pt>
          <cx:pt idx="564">3.4240528516707336</cx:pt>
          <cx:pt idx="565">3.4972895909201771</cx:pt>
          <cx:pt idx="566">3.4255631301467333</cx:pt>
          <cx:pt idx="567">3.5182610647222066</cx:pt>
          <cx:pt idx="568">3.4349454980701868</cx:pt>
          <cx:pt idx="569">3.3495582141358677</cx:pt>
          <cx:pt idx="570">3.2483417520222582</cx:pt>
          <cx:pt idx="571">3.2745974570543974</cx:pt>
          <cx:pt idx="572">3.2377088536015179</cx:pt>
          <cx:pt idx="573">3.1148513368337043</cx:pt>
          <cx:pt idx="574">3.1413080224572094</cx:pt>
          <cx:pt idx="575">3.1747929609389627</cx:pt>
          <cx:pt idx="576">3.1440511241492826</cx:pt>
          <cx:pt idx="577">3.0670664407091244</cx:pt>
          <cx:pt idx="578">3.0249916880288574</cx:pt>
          <cx:pt idx="579">2.9417720830318825</cx:pt>
          <cx:pt idx="580">2.7959330069424668</cx:pt>
          <cx:pt idx="581">2.7659672291340827</cx:pt>
          <cx:pt idx="582">2.6909811055347133</cx:pt>
          <cx:pt idx="583">2.6909811055347133</cx:pt>
          <cx:pt idx="584">2.5289132643984793</cx:pt>
          <cx:pt idx="585">2.5325467623418674</cx:pt>
          <cx:pt idx="586">2.6307203681068829</cx:pt>
          <cx:pt idx="587">2.6643668243529532</cx:pt>
          <cx:pt idx="588">2.7156422156974509</cx:pt>
          <cx:pt idx="589">2.6952491194863515</cx:pt>
          <cx:pt idx="590">2.6971675223608487</cx:pt>
          <cx:pt idx="591">2.6643668243529532</cx:pt>
          <cx:pt idx="592">2.7131014614698588</cx:pt>
          <cx:pt idx="593">2.7907894487270868</cx:pt>
          <cx:pt idx="594">2.7678366173294773</cx:pt>
          <cx:pt idx="595">2.6986586706528222</cx:pt>
          <cx:pt idx="596">2.6617771265198682</cx:pt>
          <cx:pt idx="597">2.7003618318641123</cx:pt>
          <cx:pt idx="598">2.8424127682002114</cx:pt>
          <cx:pt idx="599">2.8424127682002114</cx:pt>
          <cx:pt idx="600">2.928457284811496</cx:pt>
          <cx:pt idx="601">2.9680288749098871</cx:pt>
          <cx:pt idx="602">2.9243331099467849</cx:pt>
          <cx:pt idx="603">2.9243331099467849</cx:pt>
          <cx:pt idx="604">2.9211869733608857</cx:pt>
          <cx:pt idx="605">2.8929164379984051</cx:pt>
          <cx:pt idx="606">2.9980836791401333</cx:pt>
          <cx:pt idx="607">3.0363695805822215</cx:pt>
          <cx:pt idx="608">2.978080844644984</cx:pt>
          <cx:pt idx="609">3.0026807945605851</cx:pt>
          <cx:pt idx="610">2.9882913274095722</cx:pt>
          <cx:pt idx="611">2.9563879794535546</cx:pt>
          <cx:pt idx="612">2.899861272940286</cx:pt>
          <cx:pt idx="613">2.8705800607294463</cx:pt>
          <cx:pt idx="614">2.8719811736968208</cx:pt>
          <cx:pt idx="615">2.8849590128365996</cx:pt>
          <cx:pt idx="616">2.7659672291340844</cx:pt>
          <cx:pt idx="617">2.8211027435481975</cx:pt>
          <cx:pt idx="618">2.8123291774432895</cx:pt>
          <cx:pt idx="619">2.8123291774432895</cx:pt>
          <cx:pt idx="620">2.8373534698101461</cx:pt>
          <cx:pt idx="621">2.6175798245576067</cx:pt>
          <cx:pt idx="622">2.6120850877693704</cx:pt>
          <cx:pt idx="623">2.3510819226255295</cx:pt>
          <cx:pt idx="624">2.3576727274274467</cx:pt>
          <cx:pt idx="625">2.4030631792939103</cx:pt>
          <cx:pt idx="626">2.3588912259983403</cx:pt>
          <cx:pt idx="627">1.9181528470973292</cx:pt>
          <cx:pt idx="628">1.9181528470973292</cx:pt>
          <cx:pt idx="629">1.925031720891057</cx:pt>
          <cx:pt idx="630">1.4367908045682762</cx:pt>
          <cx:pt idx="631">1.4367908045682762</cx:pt>
          <cx:pt idx="632">1.234094204567515</cx:pt>
          <cx:pt idx="633">1.222866427231762</cx:pt>
          <cx:pt idx="634">1.2015315896469556</cx:pt>
          <cx:pt idx="635">1.1841869998335202</cx:pt>
          <cx:pt idx="636">1.1426929274467317</cx:pt>
          <cx:pt idx="637">1.1841869998335202</cx:pt>
          <cx:pt idx="638">1.1591713250937243</cx:pt>
          <cx:pt idx="639">1.1591713250937243</cx:pt>
          <cx:pt idx="640">1.1325893433586842</cx:pt>
          <cx:pt idx="641">1.1665845619713491</cx:pt>
          <cx:pt idx="642">1.1651056880677462</cx:pt>
          <cx:pt idx="643">1.1290317283753195</cx:pt>
          <cx:pt idx="644">1.0875470659652646</cx:pt>
          <cx:pt idx="645">1.0806553992619585</cx:pt>
          <cx:pt idx="646">1.0613372610104652</cx:pt>
          <cx:pt idx="647">1.8815498624956692</cx:pt>
          <cx:pt idx="648">1.9640446187314118</cx:pt>
          <cx:pt idx="649">2.0014362658942657</cx:pt>
          <cx:pt idx="650">2.0758601596203081</cx:pt>
          <cx:pt idx="651">2.0758601596203081</cx:pt>
          <cx:pt idx="652">2.5379872557490959</cx:pt>
          <cx:pt idx="653">2.8245638458955447</cx:pt>
          <cx:pt idx="654">2.8478667152074038</cx:pt>
          <cx:pt idx="655">2.8131464774249273</cx:pt>
          <cx:pt idx="656">2.8131464774249273</cx:pt>
          <cx:pt idx="657">2.7742659793426316</cx:pt>
          <cx:pt idx="658">2.8416038857796773</cx:pt>
          <cx:pt idx="659">2.9942473580817115</cx:pt>
          <cx:pt idx="660">3.130311577896463</cx:pt>
          <cx:pt idx="661">3.1037611591959413</cx:pt>
          <cx:pt idx="662">3.1037611591959413</cx:pt>
          <cx:pt idx="663">3.1139286639449422</cx:pt>
          <cx:pt idx="664">3.1374636509319971</cx:pt>
          <cx:pt idx="665">3.1015383650512947</cx:pt>
          <cx:pt idx="666">3.0866788311867741</cx:pt>
          <cx:pt idx="667">3.0618152530285303</cx:pt>
          <cx:pt idx="668">3.0618152530285303</cx:pt>
          <cx:pt idx="669">3.022710970171544</cx:pt>
          <cx:pt idx="670">3.022710970171544</cx:pt>
          <cx:pt idx="671">3.1200132625712818</cx:pt>
          <cx:pt idx="672">3.1784113721440646</cx:pt>
          <cx:pt idx="673">3.1985988311694578</cx:pt>
          <cx:pt idx="674">3.1593684804723705</cx:pt>
          <cx:pt idx="675">3.0618152530285312</cx:pt>
          <cx:pt idx="676">3.0709989389054861</cx:pt>
          <cx:pt idx="677">3.0255615988615636</cx:pt>
          <cx:pt idx="678">3.1347147847306931</cx:pt>
          <cx:pt idx="679">3.1286587776755779</cx:pt>
          <cx:pt idx="680">3.2200878120388854</cx:pt>
          <cx:pt idx="681">3.1396610110596042</cx:pt>
          <cx:pt idx="682">3.0970879908372804</cx:pt>
          <cx:pt idx="683">3.1588227110017155</cx:pt>
          <cx:pt idx="684">3.0209993018220298</cx:pt>
          <cx:pt idx="685">3.158822711001716</cx:pt>
          <cx:pt idx="686">3.1015383650512947</cx:pt>
          <cx:pt idx="687">3.1593684804723705</cx:pt>
          <cx:pt idx="688">3.1941037632761269</cx:pt>
          <cx:pt idx="689">3.2348675113661067</cx:pt>
          <cx:pt idx="690">3.2021903423290978</cx:pt>
          <cx:pt idx="691">3.2745974570543974</cx:pt>
          <cx:pt idx="692">3.2562936409147856</cx:pt>
          <cx:pt idx="693">3.28720962617792</cx:pt>
          <cx:pt idx="694">3.3459531226319617</cx:pt>
          <cx:pt idx="695">3.3459531226319617</cx:pt>
          <cx:pt idx="696">3.4912040540659364</cx:pt>
          <cx:pt idx="697">3.5095927654516195</cx:pt>
          <cx:pt idx="698">3.4516362936219505</cx:pt>
          <cx:pt idx="699">3.3474986372568964</cx:pt>
          <cx:pt idx="700">3.3666723568860526</cx:pt>
          <cx:pt idx="701">3.2767028564084661</cx:pt>
          <cx:pt idx="702">3.1876197295521127</cx:pt>
          <cx:pt idx="703">3.1259021686252586</cx:pt>
          <cx:pt idx="704">3.0933744547405473</cx:pt>
          <cx:pt idx="705">3.124982758573128</cx:pt>
          <cx:pt idx="706">3.0917019082788646</cx:pt>
          <cx:pt idx="707">3.0747394992918911</cx:pt>
          <cx:pt idx="708">2.9361010975735176</cx:pt>
          <cx:pt idx="709">2.9117281671784245</cx:pt>
          <cx:pt idx="710">2.7957274463049839</cx:pt>
          <cx:pt idx="711">2.9323796777894642</cx:pt>
          <cx:pt idx="712">2.9703515794846784</cx:pt>
          <cx:pt idx="713">2.897482061868645</cx:pt>
          <cx:pt idx="714">3.022710970171544</cx:pt>
          <cx:pt idx="715">2.9517187667799445</cx:pt>
          <cx:pt idx="716">3.1006117305216194</cx:pt>
          <cx:pt idx="717">2.9867523591975975</cx:pt>
          <cx:pt idx="718">3.0164301043970241</cx:pt>
          <cx:pt idx="719">3.041664698472045</cx:pt>
          <cx:pt idx="720">3.1919438822019468</cx:pt>
          <cx:pt idx="721">3.1688135493185507</cx:pt>
          <cx:pt idx="722">3.1549996812211796</cx:pt>
          <cx:pt idx="723">3.1413080224572094</cx:pt>
          <cx:pt idx="724">3.0625659739551057</cx:pt>
          <cx:pt idx="725">3.0792221737643906</cx:pt>
          <cx:pt idx="726">2.9882913274095722</cx:pt>
          <cx:pt idx="727">2.9635719361422042</cx:pt>
          <cx:pt idx="728">2.9635719361422042</cx:pt>
          <cx:pt idx="729">2.9703515794846789</cx:pt>
          <cx:pt idx="730">2.8464537323790648</cx:pt>
          <cx:pt idx="731">2.8397830579274803</cx:pt>
          <cx:pt idx="732">2.8332995265055452</cx:pt>
          <cx:pt idx="733">2.8245638458955442</cx:pt>
          <cx:pt idx="734">2.97518472332913</cx:pt>
          <cx:pt idx="735">3.0680032069997769</cx:pt>
          <cx:pt idx="736">3.0505322693649344</cx:pt>
          <cx:pt idx="737">2.9988503544318208</cx:pt>
          <cx:pt idx="738">3.0552385763833056</cx:pt>
          <cx:pt idx="739">3.0595619850282305</cx:pt>
          <cx:pt idx="740">3.079222173764391</cx:pt>
          <cx:pt idx="741">2.9703515794846802</cx:pt>
          <cx:pt idx="742">2.9519134647628604</cx:pt>
          <cx:pt idx="743">2.9353180328582766</cx:pt>
          <cx:pt idx="744">2.7841918285080554</cx:pt>
          <cx:pt idx="745">2.7841918285080562</cx:pt>
          <cx:pt idx="746">2.6076809620810599</cx:pt>
          <cx:pt idx="747">2.5928726358514265</cx:pt>
          <cx:pt idx="748">2.5944237284527412</cx:pt>
          <cx:pt idx="749">2.5289132643984789</cx:pt>
          <cx:pt idx="750">2.3242845889810293</cx:pt>
          <cx:pt idx="751">2.3242845889810293</cx:pt>
          <cx:pt idx="752">2.4737704480984197</cx:pt>
          <cx:pt idx="753">2.5042492623171708</cx:pt>
          <cx:pt idx="754">2.515240899319426</cx:pt>
          <cx:pt idx="755">2.463527048205759</cx:pt>
          <cx:pt idx="756">2.413801313614937</cx:pt>
          <cx:pt idx="757">2.4646932149211107</cx:pt>
          <cx:pt idx="758">2.4876707473310122</cx:pt>
          <cx:pt idx="759">2.5721765013355884</cx:pt>
          <cx:pt idx="760">2.6663074470696078</cx:pt>
          <cx:pt idx="761">2.7659672291340831</cx:pt>
          <cx:pt idx="762">2.7534722071236346</cx:pt>
          <cx:pt idx="763">2.8245638458955447</cx:pt>
          <cx:pt idx="764">2.8088529994312252</cx:pt>
          <cx:pt idx="765">2.7209278336372811</cx:pt>
          <cx:pt idx="766">2.7792333351186049</cx:pt>
          <cx:pt idx="767">2.9253155837221763</cx:pt>
          <cx:pt idx="768">2.8879456167070514</cx:pt>
          <cx:pt idx="769">2.9370796348769974</cx:pt>
          <cx:pt idx="770">3.0931886609054451</cx:pt>
          <cx:pt idx="771">3.2640500897666604</cx:pt>
          <cx:pt idx="772">3.2263284709246292</cx:pt>
          <cx:pt idx="773">3.3190498571161879</cx:pt>
          <cx:pt idx="774">3.4733798836424383</cx:pt>
          <cx:pt idx="775">3.568862789348366</cx:pt>
          <cx:pt idx="776">3.6212971575732751</cx:pt>
          <cx:pt idx="777">3.6679725992032362</cx:pt>
          <cx:pt idx="778">3.7114299998353952</cx:pt>
          <cx:pt idx="779">3.7245689405760034</cx:pt>
          <cx:pt idx="780">3.7355083975953995</cx:pt>
          <cx:pt idx="781">3.6728265916612224</cx:pt>
          <cx:pt idx="782">3.6585594803507524</cx:pt>
          <cx:pt idx="783">3.573368931028726</cx:pt>
          <cx:pt idx="784">3.6096932082202313</cx:pt>
          <cx:pt idx="785">3.5969335599205556</cx:pt>
          <cx:pt idx="786">3.584769827010331</cx:pt>
          <cx:pt idx="787">3.4912040540659364</cx:pt>
          <cx:pt idx="788">3.5182610647222061</cx:pt>
          <cx:pt idx="789">3.4832934606968355</cx:pt>
          <cx:pt idx="790">3.3397639120910538</cx:pt>
          <cx:pt idx="791">3.3624019876327678</cx:pt>
          <cx:pt idx="792">3.2661622880613308</cx:pt>
          <cx:pt idx="793">3.1015383650512951</cx:pt>
          <cx:pt idx="794">3.2547048173798907</cx:pt>
          <cx:pt idx="795">3.2243684225190412</cx:pt>
          <cx:pt idx="796">3.2243684225190412</cx:pt>
          <cx:pt idx="797">3.3051683665184863</cx:pt>
          <cx:pt idx="798">3.2772289949067432</cx:pt>
          <cx:pt idx="799">3.2350451683677171</cx:pt>
          <cx:pt idx="800">3.2206231994915897</cx:pt>
          <cx:pt idx="801">3.1396610110596037</cx:pt>
          <cx:pt idx="802">3.2172309075731071</cx:pt>
          <cx:pt idx="803">3.1065374152975651</cx:pt>
          <cx:pt idx="804">3.0805283917558359</cx:pt>
          <cx:pt idx="805">2.9796242916750808</cx:pt>
          <cx:pt idx="806">2.9796242916750808</cx:pt>
          <cx:pt idx="807">2.9211869733608853</cx:pt>
          <cx:pt idx="808">2.9211869733608853</cx:pt>
          <cx:pt idx="809">2.9211869733608853</cx:pt>
          <cx:pt idx="810">2.8839627909025363</cx:pt>
          <cx:pt idx="811">2.8729815503246354</cx:pt>
          <cx:pt idx="812">2.8494806947731814</cx:pt>
          <cx:pt idx="813">3.0227109701715449</cx:pt>
          <cx:pt idx="814">3.0227109701715449</cx:pt>
          <cx:pt idx="815">3.0028721883074452</cx:pt>
          <cx:pt idx="816">3.1126364624103529</cx:pt>
          <cx:pt idx="817">3.2241901772151365</cx:pt>
          <cx:pt idx="818">3.2236553821692087</cx:pt>
          <cx:pt idx="819">3.224190177215136</cx:pt>
          <cx:pt idx="820">3.2449784371350248</cx:pt>
          <cx:pt idx="821">3.2091822283430154</cx:pt>
          <cx:pt idx="822">3.2976829204273361</cx:pt>
          <cx:pt idx="823">3.3433756772968595</cx:pt>
          <cx:pt idx="824">3.2215153141868242</cx:pt>
          <cx:pt idx="825">3.2215153141868242</cx:pt>
          <cx:pt idx="826">3.2419661977858754</cx:pt>
          <cx:pt idx="827">3.1332477366640425</cx:pt>
          <cx:pt idx="828">3.0529804544366832</cx:pt>
          <cx:pt idx="829">3.0181443640586267</cx:pt>
          <cx:pt idx="830">2.9519134647628604</cx:pt>
          <cx:pt idx="831">2.900653909629392</cx:pt>
          <cx:pt idx="832">2.8488755595889033</cx:pt>
          <cx:pt idx="833">2.8343135559308421</cx:pt>
          <cx:pt idx="834">2.6487906587767527</cx:pt>
          <cx:pt idx="835">2.6208711370918985</cx:pt>
          <cx:pt idx="836">2.750966392370874</cx:pt>
          <cx:pt idx="837">2.8879456167070523</cx:pt>
          <cx:pt idx="838">2.8039381172767066</cx:pt>
          <cx:pt idx="839">2.8039381172767066</cx:pt>
          <cx:pt idx="840">2.8569334898658809</cx:pt>
          <cx:pt idx="841">2.8767798089123051</cx:pt>
          <cx:pt idx="842">2.8569334898658809</cx:pt>
          <cx:pt idx="843">2.7603514685425576</cx:pt>
          <cx:pt idx="844">2.7603514685425576</cx:pt>
          <cx:pt idx="845">2.740920224698435</cx:pt>
          <cx:pt idx="846">2.7342022728696422</cx:pt>
          <cx:pt idx="847">2.5855478087369352</cx:pt>
          <cx:pt idx="848">2.6843522731632632</cx:pt>
          <cx:pt idx="849">2.6826389477784613</cx:pt>
          <cx:pt idx="850">2.7586853440699257</cx:pt>
          <cx:pt idx="851">2.8998612729402855</cx:pt>
          <cx:pt idx="852">2.797576948291002</cx:pt>
          <cx:pt idx="853">2.725992384941422</cx:pt>
          <cx:pt idx="854">2.7478309104898866</cx:pt>
          <cx:pt idx="855">2.8735816091365516</cx:pt>
          <cx:pt idx="856">2.8488755595889037</cx:pt>
          <cx:pt idx="857">2.8488755595889037</cx:pt>
          <cx:pt idx="858">2.944115502481861</cx:pt>
          <cx:pt idx="859">3.0589984086899777</cx:pt>
          <cx:pt idx="860">3.0550504633038931</cx:pt>
          <cx:pt idx="861">3.1148513368337034</cx:pt>
          <cx:pt idx="862">3.1704454163304931</cx:pt>
          <cx:pt idx="863">3.1964419874776935</cx:pt>
          <cx:pt idx="864">3.2322014845584133</cx:pt>
          <cx:pt idx="865">3.2412570287523912</cx:pt>
          <cx:pt idx="866">3.2428524409881785</cx:pt>
          <cx:pt idx="867">3.0820205344404572</cx:pt>
          <cx:pt idx="868">3.0597498207398006</cx:pt>
          <cx:pt idx="869">3.158822711001716</cx:pt>
          <cx:pt idx="870">3.2703825921213827</cx:pt>
          <cx:pt idx="871">3.2476339751858756</cx:pt>
          <cx:pt idx="872">3.3500729105121163</cx:pt>
          <cx:pt idx="873">3.2955909242850341</cx:pt>
          <cx:pt idx="874">3.2955909242850341</cx:pt>
          <cx:pt idx="875">3.3044727612563332</cx:pt>
          <cx:pt idx="876">3.2455097185701551</cx:pt>
          <cx:pt idx="877">3.2767028564084661</cx:pt>
          <cx:pt idx="878">3.268800616627507</cx:pt>
          <cx:pt idx="879">3.3680377315166088</cx:pt>
          <cx:pt idx="880">3.3392476267332554</cx:pt>
          <cx:pt idx="881">3.2263284709246292</cx:pt>
          <cx:pt idx="882">3.360350282781321</cx:pt>
          <cx:pt idx="883">3.3782604514988064</cx:pt>
          <cx:pt idx="884">3.3500729105121163</cx:pt>
          <cx:pt idx="885">3.3945527696218143</cx:pt>
          <cx:pt idx="886">3.4799920729200249</cx:pt>
          <cx:pt idx="887">3.5475424551743382</cx:pt>
          <cx:pt idx="888">3.5862124226305787</cx:pt>
          <cx:pt idx="889">3.4713937709000504</cx:pt>
          <cx:pt idx="890">3.4708970651377156</cx:pt>
          <cx:pt idx="891">3.4708970651377156</cx:pt>
          <cx:pt idx="892">3.3164515034465141</cx:pt>
          <cx:pt idx="893">3.2064948456846611</cx:pt>
          <cx:pt idx="894">3.2021903423290983</cx:pt>
          <cx:pt idx="895">3.3356313917471745</cx:pt>
          <cx:pt idx="896">3.2767028564084661</cx:pt>
          <cx:pt idx="897">3.2767028564084661</cx:pt>
          <cx:pt idx="898">3.2428524409881789</cx:pt>
          <cx:pt idx="899">3.1374636509319966</cx:pt>
          <cx:pt idx="900">3.0782888215639406</cx:pt>
          <cx:pt idx="901">3.1660919018617388</cx:pt>
          <cx:pt idx="902">3.1154048094006623</cx:pt>
          <cx:pt idx="903">3.1832897030168854</cx:pt>
          <cx:pt idx="904">3.0926312124293052</cx:pt>
          <cx:pt idx="905">3.0663168216240657</cx:pt>
          <cx:pt idx="906">3.1037611591959409</cx:pt>
          <cx:pt idx="907">3.2027287216321976</cx:pt>
          <cx:pt idx="908">3.0437424030446394</cx:pt>
          <cx:pt idx="909">2.9913668885760178</cx:pt>
          <cx:pt idx="910">3.0437424030446389</cx:pt>
          <cx:pt idx="911">3.1957227160942669</cx:pt>
          <cx:pt idx="912">3.0842573949268433</cx:pt>
          <cx:pt idx="913">3.1484351157616248</cx:pt>
          <cx:pt idx="914">3.139661011059605</cx:pt>
          <cx:pt idx="915">3.139661011059605</cx:pt>
          <cx:pt idx="916">3.1396610110596046</cx:pt>
          <cx:pt idx="917">3.0112814700645343</cx:pt>
          <cx:pt idx="918">3.0325816929042375</cx:pt>
          <cx:pt idx="919">3.0171921178244632</cx:pt>
          <cx:pt idx="920">3.0171921178244632</cx:pt>
          <cx:pt idx="921">2.9836720413903928</cx:pt>
          <cx:pt idx="922">2.9934795038934023</cx:pt>
          <cx:pt idx="923">2.9728657948993864</cx:pt>
          <cx:pt idx="924">3.0931886609054451</cx:pt>
          <cx:pt idx="925">3.0747394992918906</cx:pt>
          <cx:pt idx="926">3.0931886609054451</cx:pt>
          <cx:pt idx="927">3.1117131327758436</cx:pt>
          <cx:pt idx="928">3.1529952918367683</cx:pt>
          <cx:pt idx="929">3.1905031491643423</cx:pt>
          <cx:pt idx="930">3.2492262562597602</cx:pt>
          <cx:pt idx="931">3.1724387805112886</cx:pt>
          <cx:pt idx="932">3.1303115778964625</cx:pt>
          <cx:pt idx="933">3.0323921743156137</cx:pt>
          <cx:pt idx="934">3.1303115778964625</cx:pt>
          <cx:pt idx="935">3.1447822138287713</cx:pt>
          <cx:pt idx="936">3.2263284709246292</cx:pt>
          <cx:pt idx="937">3.2369987518595416</cx:pt>
          <cx:pt idx="938">3.2793327047595739</cx:pt>
          <cx:pt idx="939">3.3930286880839842</cx:pt>
          <cx:pt idx="940">3.430927624974927</cx:pt>
          <cx:pt idx="941">3.28720962617792</cx:pt>
          <cx:pt idx="942">3.2835360810264129</cx:pt>
          <cx:pt idx="943">3.1813031378937175</cx:pt>
          <cx:pt idx="944">3.1566386895069187</cx:pt>
          <cx:pt idx="945">3.1139286639449422</cx:pt>
          <cx:pt idx="946">3.0369373562434778</cx:pt>
          <cx:pt idx="947">3.0363695805822215</cx:pt>
          <cx:pt idx="948">2.9905982948098426</cx:pt>
          <cx:pt idx="949">3.1347147847306926</cx:pt>
          <cx:pt idx="950">3.2172309075731071</cx:pt>
          <cx:pt idx="951">3.3072543044771687</cx:pt>
          <cx:pt idx="952">3.308123057100437</cx:pt>
          <cx:pt idx="953">3.337181686572579</cx:pt>
          <cx:pt idx="954">3.16318623012253</cx:pt>
          <cx:pt idx="955">3.1456958369891033</cx:pt>
          <cx:pt idx="956">3.196441987477693</cx:pt>
          <cx:pt idx="957">3.230600812417932</cx:pt>
          <cx:pt idx="958">3.2476339751858743</cx:pt>
          <cx:pt idx="959">3.2941955221162926</cx:pt>
          <cx:pt idx="960">3.258234484198919</cx:pt>
          <cx:pt idx="961">3.2816102019041478</cx:pt>
          <cx:pt idx="962">3.4107672646097291</cx:pt>
          <cx:pt idx="963">3.4416315296973465</cx:pt>
          <cx:pt idx="964">3.337181686572579</cx:pt>
          <cx:pt idx="965">3.328905104595548</cx:pt>
          <cx:pt idx="966">3.2877340832705504</cx:pt>
          <cx:pt idx="967">3.1566386895069183</cx:pt>
          <cx:pt idx="968">3.1566386895069183</cx:pt>
          <cx:pt idx="969">3.0595619850282296</cx:pt>
          <cx:pt idx="970">2.9400132926433407</cx:pt>
          <cx:pt idx="971">3.0597498207398006</cx:pt>
          <cx:pt idx="972">3.2107935782760704</cx:pt>
          <cx:pt idx="973">3.2091822283430154</cx:pt>
          <cx:pt idx="974">3.335803682307541</cx:pt>
          <cx:pt idx="975">3.2534685293182668</cx:pt>
          <cx:pt idx="976">3.2027287216321985</cx:pt>
          <cx:pt idx="977">3.2027287216321985</cx:pt>
          <cx:pt idx="978">3.3081230571004374</cx:pt>
          <cx:pt idx="979">3.315064882082067</cx:pt>
          <cx:pt idx="980">3.3569279880928899</cx:pt>
          <cx:pt idx="981">3.2455097185701551</cx:pt>
          <cx:pt idx="982">3.28720962617792</cx:pt>
          <cx:pt idx="983">3.3233759321218685</cx:pt>
          <cx:pt idx="984">3.3107279471786701</cx:pt>
          <cx:pt idx="985">3.3569279880928899</cx:pt>
          <cx:pt idx="986">3.3122898979129363</cx:pt>
          <cx:pt idx="987">3.3252776221494371</cx:pt>
          <cx:pt idx="988">3.1551818352977854</cx:pt>
          <cx:pt idx="989">3.1941037632761264</cx:pt>
          <cx:pt idx="990">3.2000359193386361</cx:pt>
          <cx:pt idx="991">3.2737198076974061</cx:pt>
          <cx:pt idx="992">3.2048813344359717</cx:pt>
          <cx:pt idx="993">3.1506248240006611</cx:pt>
          <cx:pt idx="994">3.1919438822019468</cx:pt>
          <cx:pt idx="995">3.3107279471786697</cx:pt>
          <cx:pt idx="996">3.3107279471786697</cx:pt>
          <cx:pt idx="997">3.3569279880928899</cx:pt>
          <cx:pt idx="998">3.4534673563838991</cx:pt>
          <cx:pt idx="999">3.4854376858680123</cx:pt>
          <cx:pt idx="1000">3.5076271574758437</cx:pt>
          <cx:pt idx="1001">3.5202207349807635</cx:pt>
          <cx:pt idx="1002">3.4813130037221662</cx:pt>
          <cx:pt idx="1003">3.5109025594010994</cx:pt>
          <cx:pt idx="1004">3.5109025594010994</cx:pt>
          <cx:pt idx="1005">3.5207104821116104</cx:pt>
          <cx:pt idx="1006">3.6160561484807618</cx:pt>
          <cx:pt idx="1007">3.7016616337227148</cx:pt>
          <cx:pt idx="1008">3.6339712610912027</cx:pt>
          <cx:pt idx="1009">3.5494859592217924</cx:pt>
          <cx:pt idx="1010">3.4514697852017937</cx:pt>
          <cx:pt idx="1011">3.5272339460751434</cx:pt>
          <cx:pt idx="1012">3.4456369212532314</cx:pt>
          <cx:pt idx="1013">3.3700847562587826</cx:pt>
          <cx:pt idx="1014">3.4576252564141621</cx:pt>
          <cx:pt idx="1015">3.501067160790809</cx:pt>
          <cx:pt idx="1016">3.4872510004629556</cx:pt>
          <cx:pt idx="1017">3.5519138438344742</cx:pt>
          <cx:pt idx="1018">3.643447905992093</cx:pt>
          <cx:pt idx="1019">3.5849301440796628</cx:pt>
          <cx:pt idx="1020">3.6834516546242364</cx:pt>
          <cx:pt idx="1021">3.7545374847160504</cx:pt>
          <cx:pt idx="1022">3.7882152410658607</cx:pt>
          <cx:pt idx="1023">3.7882152410658607</cx:pt>
          <cx:pt idx="1024">3.7918545488375783</cx:pt>
          <cx:pt idx="1025">3.7207093625973449</cx:pt>
          <cx:pt idx="1026">3.7632524450954974</cx:pt>
          <cx:pt idx="1027">3.7299656403458887</cx:pt>
          <cx:pt idx="1028">3.689220083918308</cx:pt>
          <cx:pt idx="1029">3.689220083918308</cx:pt>
          <cx:pt idx="1030">3.6453402786470344</cx:pt>
          <cx:pt idx="1031">3.6287485572789451</cx:pt>
          <cx:pt idx="1032">3.549485959221792</cx:pt>
          <cx:pt idx="1033">3.5369965829197807</cx:pt>
          <cx:pt idx="1034">3.5010671607908082</cx:pt>
          <cx:pt idx="1035">3.5693458623475345</cx:pt>
          <cx:pt idx="1036">3.6396602089730314</cx:pt>
          <cx:pt idx="1037">3.6396602089730314</cx:pt>
          <cx:pt idx="1038">3.6001277116555022</cx:pt>
          <cx:pt idx="1039">3.5564414605148449</cx:pt>
          <cx:pt idx="1040">3.5823642100341133</cx:pt>
          <cx:pt idx="1041">3.5501335574682353</cx:pt>
          <cx:pt idx="1042">3.5785118592002432</cx:pt>
          <cx:pt idx="1043">3.6015641557267992</cx:pt>
          <cx:pt idx="1044">3.5757805996106256</cx:pt>
          <cx:pt idx="1045">3.4476378720149423</cx:pt>
          <cx:pt idx="1046">3.3624019876327678</cx:pt>
          <cx:pt idx="1047">3.3392476267332558</cx:pt>
          <cx:pt idx="1048">3.1264536848765494</cx:pt>
          <cx:pt idx="1049">3.1486176496120128</cx:pt>
          <cx:pt idx="1050">3.0926312124293047</cx:pt>
          <cx:pt idx="1051">3.0580588839868721</cx:pt>
          <cx:pt idx="1052">2.8945052978946562</cx:pt>
          <cx:pt idx="1053">2.7678366173294782</cx:pt>
          <cx:pt idx="1054">2.6714755490543789</cx:pt>
          <cx:pt idx="1055">2.6357402066177928</cx:pt>
          <cx:pt idx="1056">2.5855478087369348</cx:pt>
          <cx:pt idx="1057">2.5855478087369348</cx:pt>
          <cx:pt idx="1058">2.5596335944683637</cx:pt>
          <cx:pt idx="1059">2.5596335944683637</cx:pt>
          <cx:pt idx="1060">2.5777563085378912</cx:pt>
          <cx:pt idx="1061">2.4590905710814326</cx:pt>
          <cx:pt idx="1062">2.4681884091350281</cx:pt>
          <cx:pt idx="1063">2.4730733822559707</cx:pt>
          <cx:pt idx="1064">2.4259137394524899</cx:pt>
          <cx:pt idx="1065">2.1573184717388725</cx:pt>
          <cx:pt idx="1066">1.6049492418657725</cx:pt>
          <cx:pt idx="1067">1.5916448515084438</cx:pt>
          <cx:pt idx="1068">1.5085960589122316</cx:pt>
          <cx:pt idx="1069">1.4735210781716319</cx:pt>
          <cx:pt idx="1070">0.94443317550184869</cx:pt>
          <cx:pt idx="1071">0.9128709291752769</cx:pt>
          <cx:pt idx="1072">0.97143098618457724</cx:pt>
          <cx:pt idx="1073">0.93710240611164242</cx:pt>
          <cx:pt idx="1074">0.93710240611164242</cx:pt>
          <cx:pt idx="1075">0.92288901712558846</cx:pt>
          <cx:pt idx="1076">0.89955289021760709</cx:pt>
          <cx:pt idx="1077">0.92288901712558846</cx:pt>
          <cx:pt idx="1078">0.96132093030084542</cx:pt>
          <cx:pt idx="1079">0.9732042112432564</cx:pt>
          <cx:pt idx="1080">0.99481413963302379</cx:pt>
          <cx:pt idx="1081">0.98026503570712209</cx:pt>
          <cx:pt idx="1082">0.99481413963302379</cx:pt>
          <cx:pt idx="1083">1.0080138659874616</cx:pt>
          <cx:pt idx="1084">0.9855274566525748</cx:pt>
          <cx:pt idx="1085">1.6262925893598903</cx:pt>
          <cx:pt idx="1086">1.6262925893598903</cx:pt>
          <cx:pt idx="1087">2.0566684364455212</cx:pt>
          <cx:pt idx="1088">2.1605129233480698</cx:pt>
          <cx:pt idx="1089">2.3850588561137096</cx:pt>
          <cx:pt idx="1090">2.4023455970813381</cx:pt>
          <cx:pt idx="1091">2.4059313679168901</cx:pt>
          <cx:pt idx="1092">2.4374944739106241</cx:pt>
          <cx:pt idx="1093">2.6714755490543798</cx:pt>
          <cx:pt idx="1094">2.6714755490543798</cx:pt>
          <cx:pt idx="1095">2.6193357059051983</cx:pt>
          <cx:pt idx="1096">2.6120850877693713</cx:pt>
          <cx:pt idx="1097">2.6997232723237459</cx:pt>
          <cx:pt idx="1098">2.6843522731632641</cx:pt>
          <cx:pt idx="1099">2.7636807041485016</cx:pt>
          <cx:pt idx="1100">2.7584770077524388</cx:pt>
          <cx:pt idx="1101">2.8657710442673054</cx:pt>
          <cx:pt idx="1102">2.865771044267305</cx:pt>
          <cx:pt idx="1103">2.9594966953276316</cx:pt>
          <cx:pt idx="1104">2.9836720413903928</cx:pt>
          <cx:pt idx="1105">3.0141429082351698</cx:pt>
          <cx:pt idx="1106">2.9873295651860179</cx:pt>
          <cx:pt idx="1107">2.9819379643092025</cx:pt>
          <cx:pt idx="1108">2.937862230050726</cx:pt>
          <cx:pt idx="1109">3.1043166090454428</cx:pt>
          <cx:pt idx="1110">3.2449784371350239</cx:pt>
          <cx:pt idx="1111">3.2449784371350239</cx:pt>
          <cx:pt idx="1112">3.2898310755640829</cx:pt>
          <cx:pt idx="1113">3.231312320148708</cx:pt>
          <cx:pt idx="1114">3.194103763276126</cx:pt>
          <cx:pt idx="1115">3.1037611591959413</cx:pt>
          <cx:pt idx="1116">3.1856358646381677</cx:pt>
          <cx:pt idx="1117">3.0933744547405473</cx:pt>
          <cx:pt idx="1118">3.1440511241492821</cx:pt>
          <cx:pt idx="1119">3.0931886609054451</cx:pt>
          <cx:pt idx="1120">3.1403931227661994</cx:pt>
          <cx:pt idx="1121">3.1403931227661994</cx:pt>
          <cx:pt idx="1122">3.1286587776755779</cx:pt>
          <cx:pt idx="1123">3.0904004129956486</cx:pt>
          <cx:pt idx="1124">3.1065374152975656</cx:pt>
          <cx:pt idx="1125">3.1065374152975656</cx:pt>
          <cx:pt idx="1126">3.1236951298690809</cx:pt>
          <cx:pt idx="1127">3.0730568105584282</cx:pt>
          <cx:pt idx="1128">3.0859339762456242</cx:pt>
          <cx:pt idx="1129">3.0278401694861685</cx:pt>
          <cx:pt idx="1130">3.0708117912811357</cx:pt>
          <cx:pt idx="1131">3.1259021686252577</cx:pt>
          <cx:pt idx="1132">3.0680032069997782</cx:pt>
          <cx:pt idx="1133">2.9905982948098426</cx:pt>
          <cx:pt idx="1134">3.1549996812211796</cx:pt>
          <cx:pt idx="1135">3.15499968122118</cx:pt>
          <cx:pt idx="1136">3.1549996812211796</cx:pt>
          <cx:pt idx="1137">3.1469744638083843</cx:pt>
          <cx:pt idx="1138">3.1369140703974456</cx:pt>
          <cx:pt idx="1139">2.9790455927491548</cx:pt>
          <cx:pt idx="1140">2.8464537323790653</cx:pt>
          <cx:pt idx="1141">2.9024365507336225</cx:pt>
          <cx:pt idx="1142">2.955804731235709</cx:pt>
          <cx:pt idx="1143">2.9548323950367505</cx:pt>
          <cx:pt idx="1144">2.9896372747346391</cx:pt>
          <cx:pt idx="1145">3.1588227110017151</cx:pt>
          <cx:pt idx="1146">3.2941955221162926</cx:pt>
          <cx:pt idx="1147">3.308644199182138</cx:pt>
          <cx:pt idx="1148">3.2688006166275065</cx:pt>
          <cx:pt idx="1149">3.428078782340195</cx:pt>
          <cx:pt idx="1150">3.5306539396235523</cx:pt>
          <cx:pt idx="1151">3.4997536859140483</cx:pt>
          <cx:pt idx="1152">3.4997536859140483</cx:pt>
          <cx:pt idx="1153">3.4589547288294993</cx:pt>
          <cx:pt idx="1154">3.4589547288294993</cx:pt>
          <cx:pt idx="1155">3.4748687232294349</cx:pt>
          <cx:pt idx="1156">3.4748687232294344</cx:pt>
          <cx:pt idx="1157">3.5525609995005594</cx:pt>
          <cx:pt idx="1158">3.512866334641481</cx:pt>
          <cx:pt idx="1159">3.6287485572789446</cx:pt>
          <cx:pt idx="1160">3.5109025594010999</cx:pt>
          <cx:pt idx="1161">3.4389586769266649</cx:pt>
          <cx:pt idx="1162">3.4389586769266649</cx:pt>
          <cx:pt idx="1163">3.4389586769266649</cx:pt>
          <cx:pt idx="1164">3.3564143429230113</cx:pt>
          <cx:pt idx="1165">3.3977680300760515</cx:pt>
          <cx:pt idx="1166">3.4053710112318059</cx:pt>
          <cx:pt idx="1167">3.4708970651377156</cx:pt>
          <cx:pt idx="1168">3.4680810554104049</cx:pt>
          <cx:pt idx="1169">3.4314301163914376</cx:pt>
          <cx:pt idx="1170">3.4574590364176037</cx:pt>
          <cx:pt idx="1171">3.3086441991821367</cx:pt>
          <cx:pt idx="1172">3.2879088837110748</cx:pt>
          <cx:pt idx="1173">3.3356313917471754</cx:pt>
          <cx:pt idx="1174">3.2107935782760699</cx:pt>
          <cx:pt idx="1175">3.2816102019041478</cx:pt>
          <cx:pt idx="1176">3.2107935782760704</cx:pt>
          <cx:pt idx="1177">3.2107935782760704</cx:pt>
          <cx:pt idx="1178">3.1724387805112899</cx:pt>
          <cx:pt idx="1179">3.0792221737643906</cx:pt>
          <cx:pt idx="1180">3.0011492051752673</cx:pt>
          <cx:pt idx="1181">3.0141429082351694</cx:pt>
          <cx:pt idx="1182">2.9767296720108609</cx:pt>
          <cx:pt idx="1183">2.9767296720108609</cx:pt>
          <cx:pt idx="1184">3.0782888215639406</cx:pt>
          <cx:pt idx="1185">3.1148513368337043</cx:pt>
          <cx:pt idx="1186">3.0567430642629327</cx:pt>
          <cx:pt idx="1187">3.1028351884843244</cx:pt>
          <cx:pt idx="1188">3.2012928422855929</cx:pt>
          <cx:pt idx="1189">3.0642544235774212</cx:pt>
          <cx:pt idx="1190">3.1227750700188177</cx:pt>
          <cx:pt idx="1191">3.139661011059605</cx:pt>
          <cx:pt idx="1192">3.139661011059605</cx:pt>
          <cx:pt idx="1193">3.2968114166936182</cx:pt>
          <cx:pt idx="1194">3.2968114166936182</cx:pt>
          <cx:pt idx="1195">3.2215153141868242</cx:pt>
          <cx:pt idx="1196">3.215622783390097</cx:pt>
          <cx:pt idx="1197">3.1811224795479118</cx:pt>
          <cx:pt idx="1198">3.3371816865725794</cx:pt>
          <cx:pt idx="1199">3.2731931051265941</cx:pt>
          <cx:pt idx="1200">3.2236553821692082</cx:pt>
          <cx:pt idx="1201">3.2731931051265946</cx:pt>
          <cx:pt idx="1202">3.3002960508094579</cx:pt>
          <cx:pt idx="1203">3.2348675113661072</cx:pt>
          <cx:pt idx="1204">3.1666364184883227</cx:pt>
          <cx:pt idx="1205">3.1043166090454428</cx:pt>
          <cx:pt idx="1206">3.1941037632761264</cx:pt>
          <cx:pt idx="1207">3.1513543886333415</cx:pt>
          <cx:pt idx="1208">3.1506248240006607</cx:pt>
          <cx:pt idx="1209">3.1332477366640425</cx:pt>
          <cx:pt idx="1210">3.1957227160942669</cx:pt>
          <cx:pt idx="1211">3.1957227160942669</cx:pt>
          <cx:pt idx="1212">3.2476339751858743</cx:pt>
          <cx:pt idx="1213">3.2941955221162926</cx:pt>
          <cx:pt idx="1214">3.2941955221162931</cx:pt>
          <cx:pt idx="1215">3.2412570287523912</cx:pt>
          <cx:pt idx="1216">3.3397639120910543</cx:pt>
          <cx:pt idx="1217">3.1805804429416638</cx:pt>
          <cx:pt idx="1218">3.00975425735311</cx:pt>
          <cx:pt idx="1219">3.0567430642629319</cx:pt>
          <cx:pt idx="1220">2.9290459786127605</cx:pt>
          <cx:pt idx="1221">2.9323796777894642</cx:pt>
          <cx:pt idx="1222">2.9959743104648817</cx:pt>
          <cx:pt idx="1223">2.9323796777894642</cx:pt>
          <cx:pt idx="1224">2.8879456167070523</cx:pt>
          <cx:pt idx="1225">2.9282610272443539</cx:pt>
          <cx:pt idx="1226">2.9674479146965296</cx:pt>
          <cx:pt idx="1227">2.7866677665949546</cx:pt>
          <cx:pt idx="1228">2.7866677665949546</cx:pt>
          <cx:pt idx="1229">2.8488755595889033</cx:pt>
          <cx:pt idx="1230">2.8839627909025367</cx:pt>
          <cx:pt idx="1231">2.944701065951532</cx:pt>
          <cx:pt idx="1232">2.9447010659515316</cx:pt>
          <cx:pt idx="1233">2.8719811736968204</cx:pt>
          <cx:pt idx="1234">2.8000410506021995</cx:pt>
          <cx:pt idx="1235">2.8615565252369968</cx:pt>
          <cx:pt idx="1236">2.556038601690775</cx:pt>
          <cx:pt idx="1237">2.5515377378330517</cx:pt>
          <cx:pt idx="1238">2.5452231571200654</cx:pt>
          <cx:pt idx="1239">2.4719111690322144</cx:pt>
          <cx:pt idx="1240">2.5008044682673107</cx:pt>
          <cx:pt idx="1241">2.3588912259983399</cx:pt>
          <cx:pt idx="1242">2.1237572430921121</cx:pt>
          <cx:pt idx="1243">2.0956989342433001</cx:pt>
          <cx:pt idx="1244">2.0869049843711394</cx:pt>
          <cx:pt idx="1245">2.1283526628524849</cx:pt>
          <cx:pt idx="1246">2.0998084203800231</cx:pt>
          <cx:pt idx="1247">2.0956989342433001</cx:pt>
          <cx:pt idx="1248">2.0083160441856096</cx:pt>
          <cx:pt idx="1249">2.0060254063781162</cx:pt>
          <cx:pt idx="1250">2.0423673439947319</cx:pt>
          <cx:pt idx="1251">2.0423673439947319</cx:pt>
          <cx:pt idx="1252">2.0160277319749236</cx:pt>
          <cx:pt idx="1253">2.0231419743250512</cx:pt>
          <cx:pt idx="1254">1.8096167118144559</cx:pt>
          <cx:pt idx="1255">1.8096167118144559</cx:pt>
          <cx:pt idx="1256">1.837039096937831</cx:pt>
          <cx:pt idx="1257">1.795268365940627</cx:pt>
          <cx:pt idx="1258">1.7603552410558057</cx:pt>
          <cx:pt idx="1259">1.4840144374549429</cx:pt>
          <cx:pt idx="1260">1.1371470653683551</cx:pt>
          <cx:pt idx="1261">1.1043279539543756</cx:pt>
          <cx:pt idx="1262">1.132589343358684</cx:pt>
          <cx:pt idx="1263">1.1043279539543756</cx:pt>
          <cx:pt idx="1264">1.1058881072455413</cx:pt>
          <cx:pt idx="1265">1.0699661612438482</cx:pt>
          <cx:pt idx="1266">1.1058881072455413</cx:pt>
          <cx:pt idx="1267">1.1366415543118706</cx:pt>
          <cx:pt idx="1268">1.1366415543118706</cx:pt>
          <cx:pt idx="1269">1.1366415543118706</cx:pt>
          <cx:pt idx="1270">1.1058881072455413</cx:pt>
          <cx:pt idx="1271">1.0742546199601595</cx:pt>
          <cx:pt idx="1272">1.1058881072455413</cx:pt>
          <cx:pt idx="1273">1.1058881072455413</cx:pt>
          <cx:pt idx="1274">1.0747894741730137</cx:pt>
          <cx:pt idx="1275">1.0416609195243758</cx:pt>
          <cx:pt idx="1276">1.0699661612438485</cx:pt>
          <cx:pt idx="1277">1.5844067746592754</cx:pt>
          <cx:pt idx="1278">1.5613875350094093</cx:pt>
          <cx:pt idx="1279">1.5554871358790012</cx:pt>
          <cx:pt idx="1280">1.6914252984479941</cx:pt>
          <cx:pt idx="1281">1.6887048699909157</cx:pt>
          <cx:pt idx="1282">2.2180036586726044</cx:pt>
          <cx:pt idx="1283">2.2151515866242968</cx:pt>
          <cx:pt idx="1284">2.2334963055994606</cx:pt>
          <cx:pt idx="1285">2.5270945563139748</cx:pt>
          <cx:pt idx="1286">2.4795717094024456</cx:pt>
          <cx:pt idx="1287">2.5106668986271492</cx:pt>
          <cx:pt idx="1288">2.7478309104898857</cx:pt>
          <cx:pt idx="1289">2.8639655812482654</cx:pt>
          <cx:pt idx="1290">3.0467619895045392</cx:pt>
          <cx:pt idx="1291">3.1337979601710786</cx:pt>
          <cx:pt idx="1292">3.1374636509319975</cx:pt>
          <cx:pt idx="1293">3.308644199182138</cx:pt>
          <cx:pt idx="1294">3.308644199182138</cx:pt>
          <cx:pt idx="1295">3.3986136456860874</cx:pt>
          <cx:pt idx="1296">3.3577838887692226</cx:pt>
          <cx:pt idx="1297">3.2666901242413688</cx:pt>
          <cx:pt idx="1298">3.2263284709246283</cx:pt>
          <cx:pt idx="1299">3.1784113721440646</cx:pt>
          <cx:pt idx="1300">3.130311577896463</cx:pt>
          <cx:pt idx="1301">3.1303115778964625</cx:pt>
          <cx:pt idx="1302">3.1200132625712809</cx:pt>
          <cx:pt idx="1303">3.1724387805112895</cx:pt>
          <cx:pt idx="1304">3.1220388269176937</cx:pt>
          <cx:pt idx="1305">3.1747929609389631</cx:pt>
          <cx:pt idx="1306">3.1588227110017155</cx:pt>
          <cx:pt idx="1307">3.1805804429416638</cx:pt>
          <cx:pt idx="1308">3.2982057121320114</cx:pt>
          <cx:pt idx="1309">3.3461248817307956</cx:pt>
          <cx:pt idx="1310">3.4675838751260919</cx:pt>
          <cx:pt idx="1311">3.5267451048357263</cx:pt>
          <cx:pt idx="1312">3.444969679395455</cx:pt>
          <cx:pt idx="1313">3.4087446706793774</cx:pt>
          <cx:pt idx="1314">3.524136806352026</cx:pt>
          <cx:pt idx="1315">3.5005746654664782</cx:pt>
          <cx:pt idx="1316">3.4971252561884687</cx:pt>
          <cx:pt idx="1317">3.6301736762226997</cx:pt>
          <cx:pt idx="1318">3.6301736762226993</cx:pt>
          <cx:pt idx="1319">3.6301736762226997</cx:pt>
          <cx:pt idx="1320">3.5854110522774238</cx:pt>
          <cx:pt idx="1321">3.5977323637146137</cx:pt>
          <cx:pt idx="1322">3.6915560685023538</cx:pt>
          <cx:pt idx="1323">3.5397577681913863</cx:pt>
          <cx:pt idx="1324">3.512866334641481</cx:pt>
          <cx:pt idx="1325">3.3972605596781689</cx:pt>
          <cx:pt idx="1326">3.3218191941495987</cx:pt>
          <cx:pt idx="1327">3.2914029430219163</cx:pt>
          <cx:pt idx="1328">3.2914029430219163</cx:pt>
          <cx:pt idx="1329">3.4188456746578133</cx:pt>
          <cx:pt idx="1330">3.4011492310620568</cx:pt>
          <cx:pt idx="1331">3.3577838887692231</cx:pt>
          <cx:pt idx="1332">3.315064882082067</cx:pt>
          <cx:pt idx="1333">3.2520550531879868</cx:pt>
          <cx:pt idx="1334">3.3726417900035224</cx:pt>
          <cx:pt idx="1335">3.3803012856266523</cx:pt>
          <cx:pt idx="1336">3.4087446706793774</cx:pt>
          <cx:pt idx="1337">3.4755302249912297</cx:pt>
          <cx:pt idx="1338">3.3911649915626341</cx:pt>
          <cx:pt idx="1339">3.4248919774894016</cx:pt>
          <cx:pt idx="1340">3.3808113016658092</cx:pt>
          <cx:pt idx="1341">3.3268327418062404</cx:pt>
          <cx:pt idx="1342">3.4275757996095377</cx:pt>
          <cx:pt idx="1343">3.5036926333463554</cx:pt>
          <cx:pt idx="1344">3.413293821610393</cx:pt>
          <cx:pt idx="1345">3.3808113016658088</cx:pt>
          <cx:pt idx="1346">3.3808113016658088</cx:pt>
          <cx:pt idx="1347">3.2835360810264129</cx:pt>
          <cx:pt idx="1348">3.2172309075731067</cx:pt>
          <cx:pt idx="1349">3.2582344841989177</cx:pt>
          <cx:pt idx="1350">3.3060376672795586</cx:pt>
          <cx:pt idx="1351">3.2428524409881789</cx:pt>
          <cx:pt idx="1352">3.1176177170854449</cx:pt>
          <cx:pt idx="1353">3.1447822138287718</cx:pt>
          <cx:pt idx="1354">3.2027287216321976</cx:pt>
          <cx:pt idx="1355">3.2021903423290978</cx:pt>
          <cx:pt idx="1356">3.2134773659711984</cx:pt>
          <cx:pt idx="1357">3.1724387805112895</cx:pt>
          <cx:pt idx="1358">3.158822711001716</cx:pt>
          <cx:pt idx="1359">3.1015383650512947</cx:pt>
          <cx:pt idx="1360">3.0642544235774212</cx:pt>
          <cx:pt idx="1361">3.1442339125058307</cx:pt>
          <cx:pt idx="1362">3.1849141528335645</cx:pt>
          <cx:pt idx="1363">3.2093613071762421</cx:pt>
          <cx:pt idx="1364">3.16318623012253</cx:pt>
          <cx:pt idx="1365">3.1089414985456565</cx:pt>
          <cx:pt idx="1366">2.9867523591975971</cx:pt>
          <cx:pt idx="1367">2.7975769482910011</cx:pt>
          <cx:pt idx="1368">2.8221211554594796</cx:pt>
          <cx:pt idx="1369">2.725781549844239</cx:pt>
          <cx:pt idx="1370">2.6663074470696082</cx:pt>
          <cx:pt idx="1371">2.558735319797969</cx:pt>
          <cx:pt idx="1372">2.5730700836107077</cx:pt>
          <cx:pt idx="1373">2.6087826905353344</cx:pt>
          <cx:pt idx="1374">2.6611293082829137</cx:pt>
          <cx:pt idx="1375">2.6226248148639613</cx:pt>
          <cx:pt idx="1376">2.6228439421413516</cx:pt>
          <cx:pt idx="1377">2.6208711370918985</cx:pt>
          <cx:pt idx="1378">2.6740558544360429</cx:pt>
          <cx:pt idx="1379">2.5461261988930666</cx:pt>
          <cx:pt idx="1380">2.440322194668791</cx:pt>
          <cx:pt idx="1381">2.3850588561137092</cx:pt>
          <cx:pt idx="1382">2.3831303667293544</cx:pt>
          <cx:pt idx="1383">2.3831303667293544</cx:pt>
          <cx:pt idx="1384">2.2742941307367102</cx:pt>
          <cx:pt idx="1385">2.5145553296253245</cx:pt>
          <cx:pt idx="1386">2.7099221687936983</cx:pt>
          <cx:pt idx="1387">2.7934652809480327</cx:pt>
          <cx:pt idx="1388">2.7907894487270872</cx:pt>
          <cx:pt idx="1389">2.8494806947731823</cx:pt>
          <cx:pt idx="1390">2.9323796777894642</cx:pt>
          <cx:pt idx="1391">2.8235463150271589</cx:pt>
          <cx:pt idx="1392">2.797576948291002</cx:pt>
          <cx:pt idx="1393">2.8367457476449327</cx:pt>
          <cx:pt idx="1394">2.8235463150271594</cx:pt>
          <cx:pt idx="1395">2.8343135559308417</cx:pt>
          <cx:pt idx="1396">2.8180452995551422</cx:pt>
          <cx:pt idx="1397">2.8729815503246354</cx:pt>
          <cx:pt idx="1398">2.9680288749098871</cx:pt>
          <cx:pt idx="1399">2.9711254108328298</cx:pt>
          <cx:pt idx="1400">2.8639655812482658</cx:pt>
          <cx:pt idx="1401">2.9063940608220369</cx:pt>
          <cx:pt idx="1402">2.9063940608220369</cx:pt>
          <cx:pt idx="1403">2.8665731072676914</cx:pt>
          <cx:pt idx="1404">2.9046138485511976</cx:pt>
          <cx:pt idx="1405">2.954832395036751</cx:pt>
          <cx:pt idx="1406">2.954832395036751</cx:pt>
          <cx:pt idx="1407">3.0181443640586267</cx:pt>
          <cx:pt idx="1408">2.9284572848114951</cx:pt>
          <cx:pt idx="1409">2.8687776242628602</cx:pt>
          <cx:pt idx="1410">2.8373534698101452</cx:pt>
          <cx:pt idx="1411">3.0680032069997778</cx:pt>
          <cx:pt idx="1412">3.2129407877748268</cx:pt>
          <cx:pt idx="1413">3.0680032069997778</cx:pt>
          <cx:pt idx="1414">3.0354230518081455</cx:pt>
          <cx:pt idx="1415">2.9674479146965291</cx:pt>
          <cx:pt idx="1416">2.9361010975735176</cx:pt>
          <cx:pt idx="1417">2.8153928290043635</cx:pt>
          <cx:pt idx="1418">2.8464537323790653</cx:pt>
          <cx:pt idx="1419">2.731047544378379</cx:pt>
          <cx:pt idx="1420">2.721561417959208</cx:pt>
          <cx:pt idx="1421">2.8759805923921133</cx:pt>
          <cx:pt idx="1422">2.882567501776645</cx:pt>
          <cx:pt idx="1423">2.9519134647628604</cx:pt>
          <cx:pt idx="1424">2.944115502481861</cx:pt>
          <cx:pt idx="1425">3.1566386895069174</cx:pt>
          <cx:pt idx="1426">3.3397639120910543</cx:pt>
          <cx:pt idx="1427">3.3543589757107148</cx:pt>
          <cx:pt idx="1428">3.3252776221494367</cx:pt>
          <cx:pt idx="1429">3.3252776221494367</cx:pt>
          <cx:pt idx="1430">3.3543589757107148</cx:pt>
          <cx:pt idx="1431">3.328041776926113</cx:pt>
          <cx:pt idx="1432">3.3589817833220912</cx:pt>
          <cx:pt idx="1433">3.4215342394493349</cx:pt>
          <cx:pt idx="1434">3.4132938216103934</cx:pt>
          <cx:pt idx="1435">3.2941955221162926</cx:pt>
          <cx:pt idx="1436">3.413293821610393</cx:pt>
          <cx:pt idx="1437">3.336320500605213</cx:pt>
          <cx:pt idx="1438">3.2626411978957934</cx:pt>
          <cx:pt idx="1439">3.1832897030168854</cx:pt>
          <cx:pt idx="1440">3.0970879908372808</cx:pt>
          <cx:pt idx="1441">3.0970879908372813</cx:pt>
          <cx:pt idx="1442">3.0970879908372813</cx:pt>
          <cx:pt idx="1443">3.1747929609389627</cx:pt>
          <cx:pt idx="1444">3.1724387805112899</cx:pt>
          <cx:pt idx="1445">3.2666901242413688</cx:pt>
          <cx:pt idx="1446">3.2955909242850341</cx:pt>
          <cx:pt idx="1447">3.2455097185701556</cx:pt>
          <cx:pt idx="1448">3.2455097185701556</cx:pt>
          <cx:pt idx="1449">3.1832897030168859</cx:pt>
          <cx:pt idx="1450">3.3081230571004374</cx:pt>
          <cx:pt idx="1451">3.3569279880928899</cx:pt>
          <cx:pt idx="1452">3.4274081222961477</cx:pt>
          <cx:pt idx="1453">3.3289051045955484</cx:pt>
          <cx:pt idx="1454">3.3107279471786688</cx:pt>
          <cx:pt idx="1455">3.1724387805112895</cx:pt>
          <cx:pt idx="1456">3.0775419359963387</cx:pt>
          <cx:pt idx="1457">3.0567430642629327</cx:pt>
          <cx:pt idx="1458">3.0567430642629327</cx:pt>
          <cx:pt idx="1459">3.0505322693649353</cx:pt>
          <cx:pt idx="1460">3.022710970171544</cx:pt>
          <cx:pt idx="1461">3.1111590034627907</cx:pt>
          <cx:pt idx="1462">3.1484351157616248</cx:pt>
          <cx:pt idx="1463">3.0625659739551057</cx:pt>
          <cx:pt idx="1464">3.1506248240006611</cx:pt>
          <cx:pt idx="1465">3.1731633297454733</cx:pt>
          <cx:pt idx="1466">3.108941498545656</cx:pt>
          <cx:pt idx="1467">3.0595619850282296</cx:pt>
          <cx:pt idx="1468">3.0814610656067969</cx:pt>
          <cx:pt idx="1469">3.1109742717580016</cx:pt>
          <cx:pt idx="1470">3.2525851787197801</cx:pt>
          <cx:pt idx="1471">3.1724387805112881</cx:pt>
          <cx:pt idx="1472">3.2000359193386365</cx:pt>
          <cx:pt idx="1473">3.1037611591959413</cx:pt>
          <cx:pt idx="1474">3.1330643073551787</cx:pt>
          <cx:pt idx="1475">3.1747929609389631</cx:pt>
          <cx:pt idx="1476">3.2449784371350248</cx:pt>
          <cx:pt idx="1477">3.3314937452609219</cx:pt>
          <cx:pt idx="1478">3.3294229937429645</cx:pt>
          <cx:pt idx="1479">3.4006422652334303</cx:pt>
          <cx:pt idx="1480">3.3671844372535871</cx:pt>
          <cx:pt idx="1481">3.158822711001716</cx:pt>
          <cx:pt idx="1482">3.2703825921213827</cx:pt>
          <cx:pt idx="1483">3.308123057100437</cx:pt>
          <cx:pt idx="1484">3.2605267186083027</cx:pt>
          <cx:pt idx="1485">3.2624650436318148</cx:pt>
          <cx:pt idx="1486">3.2227638598804798</cx:pt>
          <cx:pt idx="1487">3.1876197295521127</cx:pt>
          <cx:pt idx="1488">3.2877340832705499</cx:pt>
          <cx:pt idx="1489">3.4674181325226878</cx:pt>
          <cx:pt idx="1490">3.3808113016658083</cx:pt>
          <cx:pt idx="1491">3.2179453714743369</cx:pt>
          <cx:pt idx="1492">3.2476339751858756</cx:pt>
          <cx:pt idx="1493">3.231312320148708</cx:pt>
          <cx:pt idx="1494">3.0141429082351703</cx:pt>
          <cx:pt idx="1495">3.0680032069997769</cx:pt>
          <cx:pt idx="1496">3.1403931227661994</cx:pt>
          <cx:pt idx="1497">3.1015383650512947</cx:pt>
          <cx:pt idx="1498">3.2348675113661072</cx:pt>
          <cx:pt idx="1499">3.2525851787197801</cx:pt>
          <cx:pt idx="1500">3.2107935782760699</cx:pt>
          <cx:pt idx="1501">3.2605267186083018</cx:pt>
          <cx:pt idx="1502">3.230600812417932</cx:pt>
          <cx:pt idx="1503">3.3399359894754124</cx:pt>
          <cx:pt idx="1504">3.5300027677368591</cx:pt>
          <cx:pt idx="1505">3.4614461133177126</cx:pt>
          <cx:pt idx="1506">3.3884523304013436</cx:pt>
          <cx:pt idx="1507">3.3884523304013436</cx:pt>
          <cx:pt idx="1508">3.343375677296859</cx:pt>
          <cx:pt idx="1509">3.411441196105065</cx:pt>
          <cx:pt idx="1510">3.4409635111487993</cx:pt>
          <cx:pt idx="1511">3.431430116391438</cx:pt>
          <cx:pt idx="1512">3.431430116391438</cx:pt>
          <cx:pt idx="1513">3.4748687232294349</cx:pt>
          <cx:pt idx="1514">3.4907101671815108</cx:pt>
          <cx:pt idx="1515">3.4907101671815108</cx:pt>
          <cx:pt idx="1516">3.3487002110443211</cx:pt>
          <cx:pt idx="1517">3.3392476267332554</cx:pt>
          <cx:pt idx="1518">3.3129838618631267</cx:pt>
          <cx:pt idx="1519">3.2343344818107309</cx:pt>
          <cx:pt idx="1520">3.1856358646381677</cx:pt>
          <cx:pt idx="1521">3.2879088837110748</cx:pt>
          <cx:pt idx="1522">3.1220388269176937</cx:pt>
          <cx:pt idx="1523">3.1220388269176929</cx:pt>
          <cx:pt idx="1524">3.0642544235774221</cx:pt>
          <cx:pt idx="1525">3.0642544235774212</cx:pt>
          <cx:pt idx="1526">3.0249916880288579</cx:pt>
          <cx:pt idx="1527">3.1369140703974461</cx:pt>
          <cx:pt idx="1528">3.1148513368337034</cx:pt>
          <cx:pt idx="1529">3.1805804429416638</cx:pt>
          <cx:pt idx="1530">3.2091822283430154</cx:pt>
          <cx:pt idx="1531">3.2091822283430154</cx:pt>
          <cx:pt idx="1532">3.2091822283430154</cx:pt>
          <cx:pt idx="1533">3.2455097185701551</cx:pt>
          <cx:pt idx="1534">3.1330643073551792</cx:pt>
          <cx:pt idx="1535">3.1639128982300084</cx:pt>
          <cx:pt idx="1536">3.23433448181073</cx:pt>
          <cx:pt idx="1537">3.1376468230517749</cx:pt>
          <cx:pt idx="1538">3.2940210552823852</cx:pt>
          <cx:pt idx="1539">3.2640500897666609</cx:pt>
          <cx:pt idx="1540">3.1769645022058182</cx:pt>
          <cx:pt idx="1541">3.1769645022058182</cx:pt>
          <cx:pt idx="1542">3.2263284709246283</cx:pt>
          <cx:pt idx="1543">3.2012928422855929</cx:pt>
          <cx:pt idx="1544">3.3233759321218685</cx:pt>
          <cx:pt idx="1545">3.3782604514988064</cx:pt>
          <cx:pt idx="1546">3.4112727257132929</cx:pt>
          <cx:pt idx="1547">3.411441196105065</cx:pt>
          <cx:pt idx="1548">3.5084462946294122</cx:pt>
          <cx:pt idx="1549">3.4649310420896957</cx:pt>
          <cx:pt idx="1550">3.5751376470567258</cx:pt>
          <cx:pt idx="1551">3.524789061920512</cx:pt>
          <cx:pt idx="1552">3.5300027677368595</cx:pt>
          <cx:pt idx="1553">3.5727255444676902</cx:pt>
          <cx:pt idx="1554">3.5727255444676902</cx:pt>
          <cx:pt idx="1555">3.6665621719697516</cx:pt>
          <cx:pt idx="1556">3.7268827688047543</cx:pt>
          <cx:pt idx="1557">3.5669298431209899</cx:pt>
          <cx:pt idx="1558">3.5862124226305792</cx:pt>
          <cx:pt idx="1559">3.5084462946294122</cx:pt>
          <cx:pt idx="1560">3.4634379305612759</cx:pt>
          <cx:pt idx="1561">3.3945527696218138</cx:pt>
          <cx:pt idx="1562">3.3564143429230113</cx:pt>
          <cx:pt idx="1563">3.4148088585204714</cx:pt>
          <cx:pt idx="1564">3.4775139752811723</cx:pt>
          <cx:pt idx="1565">3.4775139752811723</cx:pt>
          <cx:pt idx="1566">3.4775139752811723</cx:pt>
          <cx:pt idx="1567">3.5010671607908086</cx:pt>
          <cx:pt idx="1568">3.4289169229317613</cx:pt>
          <cx:pt idx="1569">3.4641016151377544</cx:pt>
          <cx:pt idx="1570">3.4634379305612759</cx:pt>
          <cx:pt idx="1571">3.5233213170882207</cx:pt>
          <cx:pt idx="1572">3.3392476267332554</cx:pt>
          <cx:pt idx="1573">3.4476378720149428</cx:pt>
          <cx:pt idx="1574">3.2626411978957934</cx:pt>
          <cx:pt idx="1575">3.2215153141868234</cx:pt>
          <cx:pt idx="1576">3.2048813344359712</cx:pt>
          <cx:pt idx="1577">3.224190177215136</cx:pt>
          <cx:pt idx="1578">3.2449784371350243</cx:pt>
          <cx:pt idx="1579">3.2758257711237673</cx:pt>
          <cx:pt idx="1580">3.158822711001716</cx:pt>
          <cx:pt idx="1581">3.0792221737643906</cx:pt>
          <cx:pt idx="1582">3.2631696036321745</cx:pt>
          <cx:pt idx="1583">3.215622783390097</cx:pt>
          <cx:pt idx="1584">3.2243684225190412</cx:pt>
          <cx:pt idx="1585">3.1249827585731276</cx:pt>
          <cx:pt idx="1586">3.013570837959894</cx:pt>
          <cx:pt idx="1587">3.1154048094006623</cx:pt>
          <cx:pt idx="1588">3.170264139254594</cx:pt>
          <cx:pt idx="1589">3.170264139254594</cx:pt>
          <cx:pt idx="1590">3.2136562054607758</cx:pt>
          <cx:pt idx="1591">3.2322014845584128</cx:pt>
          <cx:pt idx="1592">3.2547048173798903</cx:pt>
          <cx:pt idx="1593">3.2107935782760704</cx:pt>
          <cx:pt idx="1594">3.1796768432635112</cx:pt>
          <cx:pt idx="1595">3.1796768432635112</cx:pt>
          <cx:pt idx="1596">3.1015383650512947</cx:pt>
          <cx:pt idx="1597">3.1015383650512947</cx:pt>
          <cx:pt idx="1598">3.1139286639449422</cx:pt>
          <cx:pt idx="1599">3.002106540108282</cx:pt>
          <cx:pt idx="1600">3.0597498207398006</cx:pt>
          <cx:pt idx="1601">2.988291327409573</cx:pt>
          <cx:pt idx="1602">3.0095633012727632</cx:pt>
          <cx:pt idx="1603">2.9495762407505257</cx:pt>
          <cx:pt idx="1604">3.0103270529158852</cx:pt>
          <cx:pt idx="1605">3.0618152530285303</cx:pt>
          <cx:pt idx="1606">3.0552385763833056</cx:pt>
          <cx:pt idx="1607">3.0820205344404576</cx:pt>
          <cx:pt idx="1608">3.0295479728072028</cx:pt>
          <cx:pt idx="1609">3.1811224795479118</cx:pt>
          <cx:pt idx="1610">3.1878000196871259</cx:pt>
          <cx:pt idx="1611">3.2091822283430149</cx:pt>
          <cx:pt idx="1612">3.106537415297566</cx:pt>
          <cx:pt idx="1613">3.1065374152975656</cx:pt>
          <cx:pt idx="1614">3.1529952918367692</cx:pt>
          <cx:pt idx="1615">3.1767835971291003</cx:pt>
          <cx:pt idx="1616">3.1747929609389631</cx:pt>
          <cx:pt idx="1617">3.1747929609389627</cx:pt>
          <cx:pt idx="1618">3.1506248240006611</cx:pt>
          <cx:pt idx="1619">3.1484351157616253</cx:pt>
          <cx:pt idx="1620">3.0680032069997774</cx:pt>
          <cx:pt idx="1621">3.0680032069997774</cx:pt>
          <cx:pt idx="1622">3.1347147847306931</cx:pt>
          <cx:pt idx="1623">3.0842573949268441</cx:pt>
          <cx:pt idx="1624">3.2279312616418987</cx:pt>
          <cx:pt idx="1625">3.3176643217366255</cx:pt>
          <cx:pt idx="1626">3.2976829204273357</cx:pt>
          <cx:pt idx="1627">3.2976829204273357</cx:pt>
          <cx:pt idx="1628">3.2976829204273357</cx:pt>
          <cx:pt idx="1629">3.2976829204273357</cx:pt>
          <cx:pt idx="1630">3.2940210552823852</cx:pt>
          <cx:pt idx="1631">3.328041776926113</cx:pt>
          <cx:pt idx="1632">3.4011492310620564</cx:pt>
          <cx:pt idx="1633">3.3521309057367379</cx:pt>
          <cx:pt idx="1634">3.308123057100437</cx:pt>
          <cx:pt idx="1635">3.3930286880839842</cx:pt>
          <cx:pt idx="1636">3.3977680300760515</cx:pt>
          <cx:pt idx="1637">3.4808177134149072</cx:pt>
          <cx:pt idx="1638">3.3869255037299077</cx:pt>
          <cx:pt idx="1639">3.2455097185701551</cx:pt>
          <cx:pt idx="1640">3.2428524409881789</cx:pt>
          <cx:pt idx="1641">3.2120462915889529</cx:pt>
          <cx:pt idx="1642">3.2120462915889529</cx:pt>
          <cx:pt idx="1643">3.2072117012370303</cx:pt>
          <cx:pt idx="1644">3.2120462915889534</cx:pt>
          <cx:pt idx="1645">3.1892419738577527</cx:pt>
          <cx:pt idx="1646">3.1892419738577527</cx:pt>
          <cx:pt idx="1647">3.1876197295521127</cx:pt>
          <cx:pt idx="1648">3.1529952918367687</cx:pt>
          <cx:pt idx="1649">3.1529952918367687</cx:pt>
          <cx:pt idx="1650">3.2666901242413684</cx:pt>
          <cx:pt idx="1651">3.2666901242413684</cx:pt>
          <cx:pt idx="1652">3.2236553821692087</cx:pt>
          <cx:pt idx="1653">3.2877340832705504</cx:pt>
          <cx:pt idx="1654">3.2134773659711993</cx:pt>
          <cx:pt idx="1655">3.1015383650512942</cx:pt>
          <cx:pt idx="1656">3.1775071556391392</cx:pt>
          <cx:pt idx="1657">3.1914036835324309</cx:pt>
          <cx:pt idx="1658">3.2456867930563926</cx:pt>
          <cx:pt idx="1659">3.3459531226319617</cx:pt>
          <cx:pt idx="1660">3.2767028564084661</cx:pt>
          <cx:pt idx="1661">3.3051683665184868</cx:pt>
          <cx:pt idx="1662">3.2179453714743365</cx:pt>
          <cx:pt idx="1663">3.1579128856102807</cx:pt>
          <cx:pt idx="1664">3.3086441991821367</cx:pt>
          <cx:pt idx="1665">3.1529952918367687</cx:pt>
          <cx:pt idx="1666">3.2107935782760704</cx:pt>
          <cx:pt idx="1667">3.1154048094006623</cx:pt>
          <cx:pt idx="1668">3.2091822283430154</cx:pt>
          <cx:pt idx="1669">3.3086441991821367</cx:pt>
          <cx:pt idx="1670">3.3295956055580871</cx:pt>
          <cx:pt idx="1671">3.3930286880839842</cx:pt>
          <cx:pt idx="1672">3.3254504491354506</cx:pt>
          <cx:pt idx="1673">3.3107279471786697</cx:pt>
          <cx:pt idx="1674">3.2940210552823852</cx:pt>
          <cx:pt idx="1675">3.3705963181950289</cx:pt>
          <cx:pt idx="1676">3.3930286880839837</cx:pt>
          <cx:pt idx="1677">3.4476378720149428</cx:pt>
          <cx:pt idx="1678">3.4409635111487993</cx:pt>
          <cx:pt idx="1679">3.4409635111487993</cx:pt>
          <cx:pt idx="1680">3.5005746654664778</cx:pt>
          <cx:pt idx="1681">3.5291886339204233</cx:pt>
          <cx:pt idx="1682">3.4708970651377156</cx:pt>
          <cx:pt idx="1683">3.3972605596781689</cx:pt>
          <cx:pt idx="1684">3.268800616627507</cx:pt>
          <cx:pt idx="1685">3.3461248817307956</cx:pt>
          <cx:pt idx="1686">3.4087446706793778</cx:pt>
          <cx:pt idx="1687">3.3603502827813205</cx:pt>
          <cx:pt idx="1688">3.3025590913296523</cx:pt>
          <cx:pt idx="1689">3.2136562054607758</cx:pt>
          <cx:pt idx="1690">3.2745974570543974</cx:pt>
          <cx:pt idx="1691">3.2136562054607758</cx:pt>
          <cx:pt idx="1692">3.2136562054607758</cx:pt>
          <cx:pt idx="1693">3.2758257711237668</cx:pt>
          <cx:pt idx="1694">3.1082019786735042</cx:pt>
          <cx:pt idx="1695">3.1264536848765503</cx:pt>
          <cx:pt idx="1696">3.231312320148708</cx:pt>
          <cx:pt idx="1697">3.3150648820820674</cx:pt>
          <cx:pt idx="1698">3.1878000196871263</cx:pt>
          <cx:pt idx="1699">3.1222229039690559</cx:pt>
          <cx:pt idx="1700">3.0954174509106678</cx:pt>
          <cx:pt idx="1701">3.0567430642629314</cx:pt>
          <cx:pt idx="1702">3.1374636509319971</cx:pt>
          <cx:pt idx="1703">3.2072117012370303</cx:pt>
          <cx:pt idx="1704">3.169720245823219</cx:pt>
          <cx:pt idx="1705">3.1043166090454428</cx:pt>
          <cx:pt idx="1706">3.1593684804723701</cx:pt>
          <cx:pt idx="1707">2.9087659823763552</cx:pt>
          <cx:pt idx="1708">2.9182343898362557</cx:pt>
          <cx:pt idx="1709">2.9182343898362562</cx:pt>
          <cx:pt idx="1710">2.6087826905353344</cx:pt>
          <cx:pt idx="1711">2.4315928273789829</cx:pt>
          <cx:pt idx="1712">2.3442274417919808</cx:pt>
          <cx:pt idx="1713">2.3331691239426995</cx:pt>
          <cx:pt idx="1714">2.2803508501982757</cx:pt>
          <cx:pt idx="1715">2.2732831086237426</cx:pt>
          <cx:pt idx="1716">2.2334963055994597</cx:pt>
          <cx:pt idx="1717">2.2334963055994597</cx:pt>
          <cx:pt idx="1718">2.2334963055994597</cx:pt>
          <cx:pt idx="1719">2.1613107985239175</cx:pt>
          <cx:pt idx="1720">2.1559860533104027</cx:pt>
          <cx:pt idx="1721">2.0902070512849638</cx:pt>
          <cx:pt idx="1722">2.0833218390487516</cx:pt>
          <cx:pt idx="1723">2.0833218390487516</cx:pt>
          <cx:pt idx="1724">2.1088211011799016</cx:pt>
          <cx:pt idx="1725">2.1161665623339365</cx:pt>
          <cx:pt idx="1726">1.4994251772159104</cx:pt>
          <cx:pt idx="1727">1.4994251772159104</cx:pt>
          <cx:pt idx="1728">1.4781939897267773</cx:pt>
          <cx:pt idx="1729">1.2205143065174584</cx:pt>
          <cx:pt idx="1730">1.2205143065174584</cx:pt>
          <cx:pt idx="1731">1.2228664272317622</cx:pt>
          <cx:pt idx="1732">1.1962585350828727</cx:pt>
          <cx:pt idx="1733">1.1651056880677462</cx:pt>
          <cx:pt idx="1734">1.1290317283753197</cx:pt>
          <cx:pt idx="1735">1.1017227888394956</cx:pt>
          <cx:pt idx="1736">1.0613372610104652</cx:pt>
          <cx:pt idx="1737">1.0613372610104652</cx:pt>
          <cx:pt idx="1738">1.0148325268098501</cx:pt>
          <cx:pt idx="1739">1.0553639672872466</cx:pt>
          <cx:pt idx="1740">1.0806553992619587</cx:pt>
          <cx:pt idx="1741">1.0806553992619587</cx:pt>
          <cx:pt idx="1742">1.0806553992619587</cx:pt>
          <cx:pt idx="1743">1.0305673027596218</cx:pt>
          <cx:pt idx="1744">1.6609095970747993</cx:pt>
          <cx:pt idx="1745">1.984132457573184</cx:pt>
          <cx:pt idx="1746">2.2511810437976822</cx:pt>
          <cx:pt idx="1747">2.3449628088122512</cx:pt>
          <cx:pt idx="1748">2.630501896955229</cx:pt>
          <cx:pt idx="1749">2.7534722071236346</cx:pt>
          <cx:pt idx="1750">2.9680288749098871</cx:pt>
          <cx:pt idx="1751">3.1456958369891028</cx:pt>
          <cx:pt idx="1752">3.1659103755076718</cx:pt>
          <cx:pt idx="1753">3.2968114166936173</cx:pt>
          <cx:pt idx="1754">3.2412570287523916</cx:pt>
          <cx:pt idx="1755">3.2021903423290983</cx:pt>
          <cx:pt idx="1756">3.1222229039690559</cx:pt>
          <cx:pt idx="1757">3.1192763676005475</cx:pt>
          <cx:pt idx="1758">3.2661622880613304</cx:pt>
          <cx:pt idx="1759">3.3072543044771687</cx:pt>
          <cx:pt idx="1760">3.2877340832705504</cx:pt>
          <cx:pt idx="1761">3.3107279471786697</cx:pt>
          <cx:pt idx="1762">3.2737198076974061</cx:pt>
          <cx:pt idx="1763">3.2737198076974061</cx:pt>
          <cx:pt idx="1764">3.236998751859542</cx:pt>
          <cx:pt idx="1765">3.236998751859542</cx:pt>
          <cx:pt idx="1766">3.2348675113661076</cx:pt>
          <cx:pt idx="1767">3.262641197895793</cx:pt>
          <cx:pt idx="1768">3.2499336863261141</cx:pt>
          <cx:pt idx="1769">3.2499336863261137</cx:pt>
          <cx:pt idx="1770">3.2879088837110748</cx:pt>
          <cx:pt idx="1771">3.3397639120910543</cx:pt>
          <cx:pt idx="1772">3.3397639120910543</cx:pt>
          <cx:pt idx="1773">3.2758257711237664</cx:pt>
          <cx:pt idx="1774">3.2758257711237664</cx:pt>
          <cx:pt idx="1775">3.2758257711237664</cx:pt>
          <cx:pt idx="1776">3.2455097185701551</cx:pt>
          <cx:pt idx="1777">3.3072543044771692</cx:pt>
          <cx:pt idx="1778">3.2518783254725503</cx:pt>
          <cx:pt idx="1779">3.3521309057367374</cx:pt>
          <cx:pt idx="1780">3.2731931051265946</cx:pt>
          <cx:pt idx="1781">3.2534685293182672</cx:pt>
          <cx:pt idx="1782">3.2199093297721939</cx:pt>
          <cx:pt idx="1783">3.2199093297721944</cx:pt>
          <cx:pt idx="1784">3.2534685293182672</cx:pt>
          <cx:pt idx="1785">3.3945527696218138</cx:pt>
          <cx:pt idx="1786">3.4132938216103925</cx:pt>
          <cx:pt idx="1787">3.3870951851259581</cx:pt>
          <cx:pt idx="1788">3.2851109605291122</cx:pt>
          <cx:pt idx="1789">3.1666364184883227</cx:pt>
          <cx:pt idx="1790">3.1849141528335645</cx:pt>
          <cx:pt idx="1791">3.1849141528335645</cx:pt>
          <cx:pt idx="1792">3.3025590913296519</cx:pt>
          <cx:pt idx="1793">3.3521309057367379</cx:pt>
          <cx:pt idx="1794">3.3876041783191724</cx:pt>
          <cx:pt idx="1795">3.4733798836424379</cx:pt>
          <cx:pt idx="1796">3.5467323475034851</cx:pt>
          <cx:pt idx="1797">3.5071355833500362</cx:pt>
          <cx:pt idx="1798">3.4733798836424383</cx:pt>
          <cx:pt idx="1799">3.360350282781321</cx:pt>
          <cx:pt idx="1800">3.322684138623091</cx:pt>
          <cx:pt idx="1801">3.322684138623091</cx:pt>
          <cx:pt idx="1802">3.4233814029238778</cx:pt>
          <cx:pt idx="1803">3.5499716689819811</cx:pt>
          <cx:pt idx="1804">3.4879101538570785</cx:pt>
          <cx:pt idx="1805">3.460947979895137</cx:pt>
          <cx:pt idx="1806">3.4887339204668639</cx:pt>
          <cx:pt idx="1807">3.5591875606595984</cx:pt>
          <cx:pt idx="1808">3.5306539396235523</cx:pt>
          <cx:pt idx="1809">3.5306539396235523</cx:pt>
          <cx:pt idx="1810">3.5873340403761373</cx:pt>
          <cx:pt idx="1811">3.5583801041368872</cx:pt>
          <cx:pt idx="1812">3.6552591618419998</cx:pt>
          <cx:pt idx="1813">3.5785118592002441</cx:pt>
          <cx:pt idx="1814">3.5128663346414806</cx:pt>
          <cx:pt idx="1815">3.4489711942622217</cx:pt>
          <cx:pt idx="1816">3.4300899756973302</cx:pt>
          <cx:pt idx="1817">3.4300899756973302</cx:pt>
          <cx:pt idx="1818">3.4847780648011919</cx:pt>
          <cx:pt idx="1819">3.6103300068858926</cx:pt>
          <cx:pt idx="1820">3.7078667535483212</cx:pt>
          <cx:pt idx="1821">3.6671890954883914</cx:pt>
          <cx:pt idx="1822">3.6117623933762442</cx:pt>
          <cx:pt idx="1823">3.5905367318812522</cx:pt>
          <cx:pt idx="1824">3.5499716689819811</cx:pt>
          <cx:pt idx="1825">3.4733798836424374</cx:pt>
          <cx:pt idx="1826">3.4087446706793778</cx:pt>
          <cx:pt idx="1827">3.4087446706793778</cx:pt>
          <cx:pt idx="1828">3.4087446706793778</cx:pt>
          <cx:pt idx="1829">3.4315975971791213</cx:pt>
          <cx:pt idx="1830">3.5397577681913868</cx:pt>
          <cx:pt idx="1831">3.4087446706793783</cx:pt>
          <cx:pt idx="1832">3.4087446706793778</cx:pt>
          <cx:pt idx="1833">3.3665016461206925</cx:pt>
          <cx:pt idx="1834">3.4046958781936021</cx:pt>
          <cx:pt idx="1835">3.4087446706793778</cx:pt>
          <cx:pt idx="1836">3.3639399450678349</cx:pt>
          <cx:pt idx="1837">3.2334459039534136</cx:pt>
          <cx:pt idx="1838">3.298205712132011</cx:pt>
          <cx:pt idx="1839">3.1286587776755774</cx:pt>
          <cx:pt idx="1840">3.0227109701715449</cx:pt>
          <cx:pt idx="1841">3.0164301043970241</cx:pt>
          <cx:pt idx="1842">2.9980836791401329</cx:pt>
          <cx:pt idx="1843">3.0708117912811366</cx:pt>
          <cx:pt idx="1844">3.0814610656067964</cx:pt>
          <cx:pt idx="1845">2.9998084230018165</cx:pt>
          <cx:pt idx="1846">3.169720245823219</cx:pt>
          <cx:pt idx="1847">3.169720245823219</cx:pt>
          <cx:pt idx="1848">3.1126364624103529</cx:pt>
          <cx:pt idx="1849">3.0842573949268433</cx:pt>
          <cx:pt idx="1850">2.9604674995837996</cx:pt>
          <cx:pt idx="1851">3.0416646984720455</cx:pt>
          <cx:pt idx="1852">3.0954174509106687</cx:pt>
          <cx:pt idx="1853">3.0595619850282301</cx:pt>
          <cx:pt idx="1854">3.1456958369891028</cx:pt>
          <cx:pt idx="1855">3.2307787040406772</cx:pt>
          <cx:pt idx="1856">3.1456958369891028</cx:pt>
          <cx:pt idx="1857">3.2279312616418978</cx:pt>
          <cx:pt idx="1858">3.2279312616418983</cx:pt>
          <cx:pt idx="1859">3.28720962617792</cx:pt>
          <cx:pt idx="1860">3.1724387805112895</cx:pt>
          <cx:pt idx="1861">3.2091822283430158</cx:pt>
          <cx:pt idx="1862">3.2091822283430158</cx:pt>
          <cx:pt idx="1863">3.2605267186083022</cx:pt>
          <cx:pt idx="1864">3.3577838887692222</cx:pt>
          <cx:pt idx="1865">3.4148088585204714</cx:pt>
          <cx:pt idx="1866">3.4334393466502995</cx:pt>
          <cx:pt idx="1867">3.433439346650299</cx:pt>
          <cx:pt idx="1868">3.3850584470072556</cx:pt>
          <cx:pt idx="1869">3.4814780848329945</cx:pt>
          <cx:pt idx="1870">3.4814780848329945</cx:pt>
          <cx:pt idx="1871">3.4986039908880047</cx:pt>
          <cx:pt idx="1872">3.4708970651377156</cx:pt>
          <cx:pt idx="1873">3.4986039908880047</cx:pt>
          <cx:pt idx="1874">3.6096932082202313</cx:pt>
          <cx:pt idx="1875">3.6308068828691034</cx:pt>
          <cx:pt idx="1876">3.5267451048357263</cx:pt>
          <cx:pt idx="1877">3.5045126901471333</cx:pt>
          <cx:pt idx="1878">3.5045126901471333</cx:pt>
          <cx:pt idx="1879">3.4733798836424374</cx:pt>
          <cx:pt idx="1880">3.5330947653140661</cx:pt>
          <cx:pt idx="1881">3.4576252564141621</cx:pt>
          <cx:pt idx="1882">3.3500729105121163</cx:pt>
          <cx:pt idx="1883">3.3828505968959881</cx:pt>
          <cx:pt idx="1884">3.3828505968959881</cx:pt>
          <cx:pt idx="1885">3.244092774726778</cx:pt>
          <cx:pt idx="1886">3.2449784371350248</cx:pt>
          <cx:pt idx="1887">3.1747929609389627</cx:pt>
          <cx:pt idx="1888">3.1747929609389627</cx:pt>
          <cx:pt idx="1889">3.1747929609389631</cx:pt>
          <cx:pt idx="1890">3.2120462915889538</cx:pt>
          <cx:pt idx="1891">3.2120462915889534</cx:pt>
          <cx:pt idx="1892">3.1675437381878937</cx:pt>
          <cx:pt idx="1893">3.1089414985456565</cx:pt>
          <cx:pt idx="1894">2.9235468932072228</cx:pt>
          <cx:pt idx="1895">2.8211027435481979</cx:pt>
          <cx:pt idx="1896">2.8211027435481979</cx:pt>
          <cx:pt idx="1897">2.8367457476449323</cx:pt>
          <cx:pt idx="1898">2.8639655812482663</cx:pt>
          <cx:pt idx="1899">2.7802670838376775</cx:pt>
          <cx:pt idx="1900">2.6695386832951482</cx:pt>
          <cx:pt idx="1901">2.6971675223608491</cx:pt>
          <cx:pt idx="1902">2.7761297793374391</cx:pt>
          <cx:pt idx="1903">2.6772777390390465</cx:pt>
          <cx:pt idx="1904">2.4202213254923222</cx:pt>
          <cx:pt idx="1905">2.4202213254923222</cx:pt>
          <cx:pt idx="1906">2.3734644158557194</cx:pt>
          <cx:pt idx="1907">2.3867450060988777</cx:pt>
          <cx:pt idx="1908">2.2396633572979194</cx:pt>
          <cx:pt idx="1909">1.9945327571990961</cx:pt>
          <cx:pt idx="1910">1.9815238534040394</cx:pt>
          <cx:pt idx="1911">1.9596504497122615</cx:pt>
          <cx:pt idx="1912">1.99539700195282</cx:pt>
          <cx:pt idx="1913">2.0014362658942644</cx:pt>
          <cx:pt idx="1914">1.542128697463421</cx:pt>
          <cx:pt idx="1915">1.3493293353264109</cx:pt>
          <cx:pt idx="1916">1.2847469449832045</cx:pt>
          <cx:pt idx="1917">1.1651056880677462</cx:pt>
          <cx:pt idx="1918">1.1371470653683551</cx:pt>
          <cx:pt idx="1919">1.1058881072455413</cx:pt>
          <cx:pt idx="1920">1.1058881072455413</cx:pt>
          <cx:pt idx="1921">1.106407669457548</cx:pt>
          <cx:pt idx="1922">1.1351236704106018</cx:pt>
          <cx:pt idx="1923">1.1244411127720095</cx:pt>
          <cx:pt idx="1924">1.0980651740387641</cx:pt>
          <cx:pt idx="1925">1.0933445471810685</cx:pt>
          <cx:pt idx="1926">1.0661996103898193</cx:pt>
          <cx:pt idx="1927">1.0661996103898193</cx:pt>
          <cx:pt idx="1928">1.1017227888394958</cx:pt>
          <cx:pt idx="1929">1.106407669457548</cx:pt>
          <cx:pt idx="1930">1.0726484571581121</cx:pt>
          <cx:pt idx="1931">1.0726484571581121</cx:pt>
          <cx:pt idx="1932">1.5789564428051404</cx:pt>
          <cx:pt idx="1933">2.0591818484673641</cx:pt>
          <cx:pt idx="1934">2.0569478561107526</cx:pt>
          <cx:pt idx="1935">2.0924055341974772</cx:pt>
          <cx:pt idx="1936">2.0924055341974772</cx:pt>
          <cx:pt idx="1937">2.0569478561107526</cx:pt>
          <cx:pt idx="1938">2.1719211264017728</cx:pt>
          <cx:pt idx="1939">2.2180036586726044</cx:pt>
          <cx:pt idx="1940">2.5282314021838475</cx:pt>
          <cx:pt idx="1941">2.8695788469077979</cx:pt>
          <cx:pt idx="1942">2.9182343898362562</cx:pt>
          <cx:pt idx="1943">3.0066975047479372</cx:pt>
          <cx:pt idx="1944">3.0066975047479372</cx:pt>
          <cx:pt idx="1945">2.9873295651860179</cx:pt>
          <cx:pt idx="1946">3.0066975047479372</cx:pt>
          <cx:pt idx="1947">3.0240415979623854</cx:pt>
          <cx:pt idx="1948">2.9913668885760178</cx:pt>
          <cx:pt idx="1949">3.0255615988615641</cx:pt>
          <cx:pt idx="1950">3.080528391755835</cx:pt>
          <cx:pt idx="1951">3.0595619850282301</cx:pt>
          <cx:pt idx="1952">3.0589984086899777</cx:pt>
          <cx:pt idx="1953">3.1615506162088529</cx:pt>
          <cx:pt idx="1954">3.1522661069769162</cx:pt>
          <cx:pt idx="1955">3.1522661069769158</cx:pt>
          <cx:pt idx="1956">3.1332477366640425</cx:pt>
          <cx:pt idx="1957">3.117617717085444</cx:pt>
          <cx:pt idx="1958">3.048270661045128</cx:pt>
          <cx:pt idx="1959">2.9470421563432669</cx:pt>
          <cx:pt idx="1960">2.8839627909025367</cx:pt>
          <cx:pt idx="1961">2.8251741885063111</cx:pt>
          <cx:pt idx="1962">2.8123291774432895</cx:pt>
          <cx:pt idx="1963">2.7659672291340831</cx:pt>
          <cx:pt idx="1964">2.7659672291340827</cx:pt>
          <cx:pt idx="1965">2.8123291774432895</cx:pt>
          <cx:pt idx="1966">2.745947902830181</cx:pt>
          <cx:pt idx="1967">2.8276142415206817</cx:pt>
          <cx:pt idx="1968">2.8545184991639077</cx:pt>
          <cx:pt idx="1969">2.851899951494326</cx:pt>
          <cx:pt idx="1970">2.7352530404703499</cx:pt>
          <cx:pt idx="1971">2.5236809460075138</cx:pt>
          <cx:pt idx="1972">2.5506366119925397</cx:pt>
          <cx:pt idx="1973">2.6643668243529541</cx:pt>
          <cx:pt idx="1974">2.7478309104898866</cx:pt>
          <cx:pt idx="1975">2.7742659793426316</cx:pt>
          <cx:pt idx="1976">2.7478309104898866</cx:pt>
          <cx:pt idx="1977">2.7957274463049844</cx:pt>
          <cx:pt idx="1978">2.8057822069974443</cx:pt>
          <cx:pt idx="1979">2.8767798089123051</cx:pt>
          <cx:pt idx="1980">2.8767798089123051</cx:pt>
          <cx:pt idx="1981">2.8759805923921138</cx:pt>
          <cx:pt idx="1982">2.900653909629392</cx:pt>
          <cx:pt idx="1983">3.0164301043970245</cx:pt>
          <cx:pt idx="1984">3.0171921178244632</cx:pt>
          <cx:pt idx="1985">3.0409088175710903</cx:pt>
          <cx:pt idx="1986">3.1347147847306931</cx:pt>
          <cx:pt idx="1987">3.1784113721440641</cx:pt>
          <cx:pt idx="1988">3.1615506162088525</cx:pt>
          <cx:pt idx="1989">3.1811224795479118</cx:pt>
          <cx:pt idx="1990">3.3114222384617928</cx:pt>
          <cx:pt idx="1991">3.3843792619187569</cx:pt>
          <cx:pt idx="1992">3.3843792619187569</cx:pt>
          <cx:pt idx="1993">3.3185303491396492</cx:pt>
          <cx:pt idx="1994">3.3562431103976893</cx:pt>
          <cx:pt idx="1995">3.4087446706793778</cx:pt>
          <cx:pt idx="1996">3.4634379305612764</cx:pt>
          <cx:pt idx="1997">3.3782604514988064</cx:pt>
          <cx:pt idx="1998">3.3782604514988064</cx:pt>
          <cx:pt idx="1999">3.3782604514988064</cx:pt>
          <cx:pt idx="2000">3.3589817833220912</cx:pt>
          <cx:pt idx="2001">3.3726417900035224</cx:pt>
          <cx:pt idx="2002">3.2758257711237673</cx:pt>
          <cx:pt idx="2003">3.2134773659711988</cx:pt>
          <cx:pt idx="2004">3.1176177170854449</cx:pt>
          <cx:pt idx="2005">3.2236553821692087</cx:pt>
          <cx:pt idx="2006">3.3330459646243784</cx:pt>
          <cx:pt idx="2007">3.3164515034465145</cx:pt>
          <cx:pt idx="2008">3.421366266045887</cx:pt>
          <cx:pt idx="2009">3.421366266045887</cx:pt>
          <cx:pt idx="2010">3.3289051045955484</cx:pt>
          <cx:pt idx="2011">3.421366266045887</cx:pt>
          <cx:pt idx="2012">3.5583801041368872</cx:pt>
          <cx:pt idx="2013">3.4374542839175311</cx:pt>
          <cx:pt idx="2014">3.4614461133177117</cx:pt>
          <cx:pt idx="2015">3.4374542839175311</cx:pt>
          <cx:pt idx="2016">3.36923198042685</cx:pt>
          <cx:pt idx="2017">3.3383869737055494</cx:pt>
          <cx:pt idx="2018">3.3707668215878184</cx:pt>
          <cx:pt idx="2019">3.3665016461206925</cx:pt>
          <cx:pt idx="2020">3.2666901242413688</cx:pt>
          <cx:pt idx="2021">3.3589817833220912</cx:pt>
          <cx:pt idx="2022">3.3808113016658088</cx:pt>
          <cx:pt idx="2023">3.3808113016658092</cx:pt>
          <cx:pt idx="2024">3.3808113016658088</cx:pt>
          <cx:pt idx="2025">3.247633975185876</cx:pt>
          <cx:pt idx="2026">3.2129407877748273</cx:pt>
          <cx:pt idx="2027">3.2200878120388854</cx:pt>
          <cx:pt idx="2028">3.2129407877748273</cx:pt>
          <cx:pt idx="2029">3.2263284709246292</cx:pt>
          <cx:pt idx="2030">3.3002960508094574</cx:pt>
          <cx:pt idx="2031">3.377409739981831</cx:pt>
          <cx:pt idx="2032">3.4389586769266645</cx:pt>
          <cx:pt idx="2033">3.3700847562587826</cx:pt>
          <cx:pt idx="2034">3.3605213060291494</cx:pt>
          <cx:pt idx="2035">3.2518783254725503</cx:pt>
          <cx:pt idx="2036">3.1551818352977858</cx:pt>
          <cx:pt idx="2037">3.1264536848765503</cx:pt>
          <cx:pt idx="2038">2.9749915483314702</cx:pt>
          <cx:pt idx="2039">3.0454412888246845</cx:pt>
          <cx:pt idx="2040">3.0409088175710903</cx:pt>
          <cx:pt idx="2041">2.8825675017766459</cx:pt>
          <cx:pt idx="2042">2.906394060822036</cx:pt>
          <cx:pt idx="2043">2.8569334898658809</cx:pt>
          <cx:pt idx="2044">2.8569334898658809</cx:pt>
          <cx:pt idx="2045">2.8373534698101461</cx:pt>
          <cx:pt idx="2046">2.7753015783108528</cx:pt>
          <cx:pt idx="2047">2.8424127682002118</cx:pt>
          <cx:pt idx="2048">2.8424127682002118</cx:pt>
          <cx:pt idx="2049">2.8332995265055452</cx:pt>
          <cx:pt idx="2050">2.8332995265055452</cx:pt>
          <cx:pt idx="2051">2.7384029240987608</cx:pt>
          <cx:pt idx="2052">2.6643668243529532</cx:pt>
          <cx:pt idx="2053">2.6008398289960022</cx:pt>
          <cx:pt idx="2054">2.6313756727298521</cx:pt>
          <cx:pt idx="2055">2.6901266901756506</cx:pt>
          <cx:pt idx="2056">2.6568064832906391</cx:pt>
          <cx:pt idx="2057">2.6901266901756506</cx:pt>
          <cx:pt idx="2058">2.8172294207599431</cx:pt>
          <cx:pt idx="2059">2.8705800607294463</cx:pt>
          <cx:pt idx="2060">2.8172294207599426</cx:pt>
          <cx:pt idx="2061">2.7634727444278155</cx:pt>
          <cx:pt idx="2062">2.6832815729997477</cx:pt>
          <cx:pt idx="2063">2.7226170641794116</cx:pt>
          <cx:pt idx="2064">2.7384029240987608</cx:pt>
          <cx:pt idx="2065">2.7593102586422344</cx:pt>
          <cx:pt idx="2066">2.8405924588439961</cx:pt>
          <cx:pt idx="2067">2.8153928290043639</cx:pt>
          <cx:pt idx="2068">2.8326909346122604</cx:pt>
          <cx:pt idx="2069">2.6671694928234837</cx:pt>
          <cx:pt idx="2070">2.6481396636433128</cx:pt>
          <cx:pt idx="2071">2.7534722071236342</cx:pt>
          <cx:pt idx="2072">2.5855478087369361</cx:pt>
          <cx:pt idx="2073">2.6611293082829133</cx:pt>
          <cx:pt idx="2074">2.6470543159754274</cx:pt>
          <cx:pt idx="2075">2.6490076216029173</cx:pt>
          <cx:pt idx="2076">2.6611293082829142</cx:pt>
          <cx:pt idx="2077">2.7114063026280362</cx:pt>
          <cx:pt idx="2078">2.7628487713469472</cx:pt>
          <cx:pt idx="2079">2.7478309104898861</cx:pt>
          <cx:pt idx="2080">2.8251741885063115</cx:pt>
          <cx:pt idx="2081">2.8251741885063111</cx:pt>
          <cx:pt idx="2082">2.8251741885063111</cx:pt>
          <cx:pt idx="2083">2.8585423501876077</cx:pt>
          <cx:pt idx="2084">2.8357325879470423</cx:pt>
          <cx:pt idx="2085">2.7841918285080558</cx:pt>
          <cx:pt idx="2086">2.7603514685425576</cx:pt>
          <cx:pt idx="2087">2.8153928290043635</cx:pt>
          <cx:pt idx="2088">2.7283104956950086</cx:pt>
          <cx:pt idx="2089">2.7753015783108528</cx:pt>
          <cx:pt idx="2090">2.7335716184331895</cx:pt>
          <cx:pt idx="2091">2.670399685956883</cx:pt>
          <cx:pt idx="2092">2.6663074470696078</cx:pt>
          <cx:pt idx="2093">2.7377732372953338</cx:pt>
          <cx:pt idx="2094">2.7377732372953338</cx:pt>
          <cx:pt idx="2095">2.7841918285080562</cx:pt>
          <cx:pt idx="2096">2.8245638458955442</cx:pt>
          <cx:pt idx="2097">2.8454440293454955</cx:pt>
          <cx:pt idx="2098">2.8609539442752947</cx:pt>
          <cx:pt idx="2099">2.8609539442752947</cx:pt>
          <cx:pt idx="2100">3.00975425735311</cx:pt>
          <cx:pt idx="2101">2.9563879794535546</cx:pt>
          <cx:pt idx="2102">3.0392073981871337</cx:pt>
          <cx:pt idx="2103">3.2000359193386361</cx:pt>
          <cx:pt idx="2104">3.2200878120388858</cx:pt>
          <cx:pt idx="2105">3.3869255037299082</cx:pt>
          <cx:pt idx="2106">3.5300027677368586</cx:pt>
          <cx:pt idx="2107">3.5109025594010999</cx:pt>
          <cx:pt idx="2108">3.4898868670527974</cx:pt>
          <cx:pt idx="2109">3.5005746654664782</cx:pt>
          <cx:pt idx="2110">3.5862124226305792</cx:pt>
          <cx:pt idx="2111">3.6798613167271434</cx:pt>
          <cx:pt idx="2112">3.7021273784726501</cx:pt>
          <cx:pt idx="2113">3.6623276311877015</cx:pt>
          <cx:pt idx="2114">3.6853234858560651</cx:pt>
          <cx:pt idx="2115">3.6623276311877015</cx:pt>
          <cx:pt idx="2116">3.6388706091787362</cx:pt>
          <cx:pt idx="2117">3.6811105270887592</cx:pt>
          <cx:pt idx="2118">3.7882152410658612</cx:pt>
          <cx:pt idx="2119">3.7484096244465697</cx:pt>
          <cx:pt idx="2120">3.7356622456792188</cx:pt>
          <cx:pt idx="2121">3.6244698383619371</cx:pt>
          <cx:pt idx="2122">3.7356622456792183</cx:pt>
          <cx:pt idx="2123">3.6232010994280386</cx:pt>
          <cx:pt idx="2124">3.6103300068858926</cx:pt>
          <cx:pt idx="2125">3.6853234858560646</cx:pt>
          <cx:pt idx="2126">3.6853234858560651</cx:pt>
          <cx:pt idx="2127">3.6985551699045374</cx:pt>
          <cx:pt idx="2128">3.6985551699045374</cx:pt>
          <cx:pt idx="2129">3.6985551699045374</cx:pt>
          <cx:pt idx="2130">3.739199004519858</cx:pt>
          <cx:pt idx="2131">3.7039897718386121</cx:pt>
          <cx:pt idx="2132">3.5926169503196608</cx:pt>
          <cx:pt idx="2133">3.562254226246885</cx:pt>
          <cx:pt idx="2134">3.6709483882187057</cx:pt>
          <cx:pt idx="2135">3.5389458785116346</cx:pt>
          <cx:pt idx="2136">3.4832934606968355</cx:pt>
          <cx:pt idx="2137">3.5345584516705704</cx:pt>
          <cx:pt idx="2138">3.4887339204668639</cx:pt>
          <cx:pt idx="2139">3.5110662492890321</cx:pt>
          <cx:pt idx="2140">3.3680377315166088</cx:pt>
          <cx:pt idx="2141">3.2476339751858743</cx:pt>
          <cx:pt idx="2142">3.2307787040406772</cx:pt>
          <cx:pt idx="2143">3.3495582141358669</cx:pt>
          <cx:pt idx="2144">3.3233759321218685</cx:pt>
          <cx:pt idx="2145">3.4215342394493349</cx:pt>
          <cx:pt idx="2146">3.4674181325226883</cx:pt>
          <cx:pt idx="2147">3.3782604514988068</cx:pt>
          <cx:pt idx="2148">3.2877340832705504</cx:pt>
          <cx:pt idx="2149">3.2518783254725507</cx:pt>
          <cx:pt idx="2150">3.2518783254725507</cx:pt>
          <cx:pt idx="2151">3.2582344841989186</cx:pt>
          <cx:pt idx="2152">3.2582344841989186</cx:pt>
          <cx:pt idx="2153">3.3909955138148797</cx:pt>
          <cx:pt idx="2154">3.5030364496842012</cx:pt>
          <cx:pt idx="2155">3.3603502827813205</cx:pt>
          <cx:pt idx="2156">3.3051683665184863</cx:pt>
          <cx:pt idx="2157">3.3330459646243784</cx:pt>
          <cx:pt idx="2158">3.3114222384617928</cx:pt>
          <cx:pt idx="2159">3.3500729105121163</cx:pt>
          <cx:pt idx="2160">3.3046466762987556</cx:pt>
          <cx:pt idx="2161">3.3002960508094583</cx:pt>
          <cx:pt idx="2162">3.3603502827813205</cx:pt>
          <cx:pt idx="2163">3.2947188671862588</cx:pt>
          <cx:pt idx="2164">3.2136562054607758</cx:pt>
          <cx:pt idx="2165">3.2120462915889529</cx:pt>
          <cx:pt idx="2166">3.0505322693649362</cx:pt>
          <cx:pt idx="2167">2.9749915483314697</cx:pt>
          <cx:pt idx="2168">2.9353180328582789</cx:pt>
          <cx:pt idx="2169">2.9353180328582784</cx:pt>
          <cx:pt idx="2170">2.9517187667799445</cx:pt>
          <cx:pt idx="2171">2.9517187667799445</cx:pt>
          <cx:pt idx="2172">2.9117281671784263</cx:pt>
          <cx:pt idx="2173">2.8567323186168285</cx:pt>
          <cx:pt idx="2174">2.8567323186168285</cx:pt>
          <cx:pt idx="2175">2.9024365507336225</cx:pt>
          <cx:pt idx="2176">2.9790455927491539</cx:pt>
          <cx:pt idx="2177">3.0392073981871337</cx:pt>
          <cx:pt idx="2178">2.9988503544318212</cx:pt>
          <cx:pt idx="2179">3.0074619841665329</cx:pt>
          <cx:pt idx="2180">3.1139286639449426</cx:pt>
          <cx:pt idx="2181">3.1236951298690809</cx:pt>
          <cx:pt idx="2182">2.9819379643092021</cx:pt>
          <cx:pt idx="2183">3.0467619895045392</cx:pt>
          <cx:pt idx="2184">2.9819379643092021</cx:pt>
          <cx:pt idx="2185">3.0211895350832512</cx:pt>
          <cx:pt idx="2186">3.0904004129956486</cx:pt>
          <cx:pt idx="2187">3.1478874507038603</cx:pt>
          <cx:pt idx="2188">3.1396610110596046</cx:pt>
          <cx:pt idx="2189">3.2243684225190412</cx:pt>
          <cx:pt idx="2190">3.1856358646381677</cx:pt>
          <cx:pt idx="2191">3.2129407877748273</cx:pt>
          <cx:pt idx="2192">3.2582344841989186</cx:pt>
          <cx:pt idx="2193">3.3399359894754124</cx:pt>
          <cx:pt idx="2194">3.2758257711237673</cx:pt>
          <cx:pt idx="2195">3.2710854467592259</cx:pt>
          <cx:pt idx="2196">3.2640500897666609</cx:pt>
          <cx:pt idx="2197">3.3666723568860526</cx:pt>
          <cx:pt idx="2198">3.4079015689201282</cx:pt>
          <cx:pt idx="2199">3.5182610647222066</cx:pt>
          <cx:pt idx="2200">3.5182610647222066</cx:pt>
          <cx:pt idx="2201">3.5519138438344737</cx:pt>
          <cx:pt idx="2202">3.679861316727143</cx:pt>
          <cx:pt idx="2203">3.7728613489791383</cx:pt>
          <cx:pt idx="2204">3.8448353177593511</cx:pt>
          <cx:pt idx="2205">3.7699660049078587</cx:pt>
          <cx:pt idx="2206">3.7699660049078587</cx:pt>
          <cx:pt idx="2207">3.7299656403458887</cx:pt>
          <cx:pt idx="2208">3.7736229124089058</cx:pt>
          <cx:pt idx="2209">3.839300702609457</cx:pt>
          <cx:pt idx="2210">3.8063769843680011</cx:pt>
          <cx:pt idx="2211">3.8639209434810216</cx:pt>
          <cx:pt idx="2212">3.8639209434810216</cx:pt>
          <cx:pt idx="2213">3.7484096244465701</cx:pt>
          <cx:pt idx="2214">3.7078667535483212</cx:pt>
          <cx:pt idx="2215">3.674078193875661</cx:pt>
          <cx:pt idx="2216">3.5519138438344746</cx:pt>
          <cx:pt idx="2217">3.536509091141169</cx:pt>
          <cx:pt idx="2218">3.536509091141169</cx:pt>
          <cx:pt idx="2219">3.4788358470291061</cx:pt>
          <cx:pt idx="2220">3.4634379305612759</cx:pt>
          <cx:pt idx="2221">3.4887339204668644</cx:pt>
          <cx:pt idx="2222">3.4887339204668644</cx:pt>
          <cx:pt idx="2223">3.3666723568860522</cx:pt>
          <cx:pt idx="2224">3.6041164204855805</cx:pt>
          <cx:pt idx="2225">3.6665621719697516</cx:pt>
          <cx:pt idx="2226">3.9977004884561191</cx:pt>
          <cx:pt idx="2227">3.9770895613891244</cx:pt>
          <cx:pt idx="2228">4.0683810217248624</cx:pt>
          <cx:pt idx="2229">4.1583595350797289</cx:pt>
          <cx:pt idx="2230">4.2966172205852695</cx:pt>
          <cx:pt idx="2231">4.3263427255951816</cx:pt>
          <cx:pt idx="2232">4.146872523256282</cx:pt>
          <cx:pt idx="2233">4.1749113831878226</cx:pt>
          <cx:pt idx="2234">4.0401718411160594</cx:pt>
          <cx:pt idx="2235">3.9157800414902435</cx:pt>
          <cx:pt idx="2236">3.8994547216805562</cx:pt>
          <cx:pt idx="2237">3.8590094613758716</cx:pt>
          <cx:pt idx="2238">3.8627308546121117</cx:pt>
          <cx:pt idx="2239">4.0080379010298737</cx:pt>
          <cx:pt idx="2240">3.9171007340786561</cx:pt>
          <cx:pt idx="2241">3.6477043639029714</cx:pt>
          <cx:pt idx="2242">3.5830058658175199</cx:pt>
          <cx:pt idx="2243">3.5012313105042305</cx:pt>
          <cx:pt idx="2244">3.5291886339204241</cx:pt>
          <cx:pt idx="2245">3.2307787040406772</cx:pt>
          <cx:pt idx="2246">3.1919438822019468</cx:pt>
          <cx:pt idx="2247">3.1447822138287713</cx:pt>
          <cx:pt idx="2248">3.1154048094006614</cx:pt>
          <cx:pt idx="2249">2.8416038857796773</cx:pt>
          <cx:pt idx="2250">2.7461571896642818</cx:pt>
          <cx:pt idx="2251">2.1431526889785202</cx:pt>
          <cx:pt idx="2252">2.1732437750393134</cx:pt>
          <cx:pt idx="2253">24.967196869897709</cx:pt>
          <cx:pt idx="2254">25.207187444270232</cx:pt>
          <cx:pt idx="2255">25.275971052437889</cx:pt>
          <cx:pt idx="2256">25.287223615116776</cx:pt>
          <cx:pt idx="2257">25.034436053279634</cx:pt>
          <cx:pt idx="2258">24.745160910888153</cx:pt>
          <cx:pt idx="2259">24.126319867415081</cx:pt>
          <cx:pt idx="2260">23.487340684159907</cx:pt>
          <cx:pt idx="2261">22.678158006652847</cx:pt>
          <cx:pt idx="2262">21.689263194747639</cx:pt>
          <cx:pt idx="2263">20.535055533090883</cx:pt>
          <cx:pt idx="2264">19.162613264542934</cx:pt>
          <cx:pt idx="2265">17.534858549980264</cx:pt>
          <cx:pt idx="2266">15.597818886722225</cx:pt>
          <cx:pt idx="2267">13.069267275805359</cx:pt>
          <cx:pt idx="2268">9.6444850538544955</cx:pt>
          <cx:pt idx="2269">3.0439312149553097</cx:pt>
          <cx:pt idx="2270">2.9952068989998155</cx:pt>
          <cx:pt idx="2271">2.8424127682002118</cx:pt>
          <cx:pt idx="2272">2.9205966954496243</cx:pt>
          <cx:pt idx="2273">2.9780808446449845</cx:pt>
          <cx:pt idx="2274">2.9780808446449845</cx:pt>
          <cx:pt idx="2275">2.9290459786127601</cx:pt>
          <cx:pt idx="2276">2.9487967544153624</cx:pt>
          <cx:pt idx="2277">2.9680288749098862</cx:pt>
          <cx:pt idx="2278">2.7852237368598982</cx:pt>
          <cx:pt idx="2279">2.7636807041485016</cx:pt>
          <cx:pt idx="2280">2.7240942816232359</cx:pt>
          <cx:pt idx="2281">2.7584770077524392</cx:pt>
          <cx:pt idx="2282">2.944701065951532</cx:pt>
          <cx:pt idx="2283">2.8976804040711479</cx:pt>
          <cx:pt idx="2284">2.8367457476449327</cx:pt>
          <cx:pt idx="2285">2.8276142415206813</cx:pt>
          <cx:pt idx="2286">2.8397830579274808</cx:pt>
          <cx:pt idx="2287">2.9300268721061866</cx:pt>
          <cx:pt idx="2288">2.8326909346122608</cx:pt>
          <cx:pt idx="2289">2.8326909346122608</cx:pt>
          <cx:pt idx="2290">2.9243331099467849</cx:pt>
          <cx:pt idx="2291">3.0141429082351698</cx:pt>
          <cx:pt idx="2292">3.086678831186775</cx:pt>
          <cx:pt idx="2293">3.1249827585731271</cx:pt>
          <cx:pt idx="2294">3.1374636509319975</cx:pt>
          <cx:pt idx="2295">3.1369140703974456</cx:pt>
          <cx:pt idx="2296">3.0926312124293056</cx:pt>
          <cx:pt idx="2297">3.1579128856102807</cx:pt>
          <cx:pt idx="2298">3.1579128856102807</cx:pt>
          <cx:pt idx="2299">3.3002960508094583</cx:pt>
          <cx:pt idx="2300">3.3060376672795586</cx:pt>
          <cx:pt idx="2301">3.3543589757107144</cx:pt>
          <cx:pt idx="2302">3.3046466762987556</cx:pt>
          <cx:pt idx="2303">3.2334459039534131</cx:pt>
          <cx:pt idx="2304">3.1227750700188177</cx:pt>
          <cx:pt idx="2305">3.1347147847306935</cx:pt>
          <cx:pt idx="2306">3.1659103755076714</cx:pt>
          <cx:pt idx="2307">3.1200132625712813</cx:pt>
          <cx:pt idx="2308">3.1775071556391383</cx:pt>
          <cx:pt idx="2309">3.3107279471786693</cx:pt>
          <cx:pt idx="2310">3.4314301163914385</cx:pt>
          <cx:pt idx="2311">3.4489711942622217</cx:pt>
          <cx:pt idx="2312">3.4072269373052992</cx:pt>
          <cx:pt idx="2313">3.4799920729200249</cx:pt>
          <cx:pt idx="2314">3.5095927654516199</cx:pt>
          <cx:pt idx="2315">3.5010671607908082</cx:pt>
          <cx:pt idx="2316">3.4534673563838996</cx:pt>
          <cx:pt idx="2317">3.3589817833220921</cx:pt>
          <cx:pt idx="2318">3.4154819925420936</cx:pt>
          <cx:pt idx="2319">3.3500729105121168</cx:pt>
          <cx:pt idx="2320">3.2730175187677988</cx:pt>
          <cx:pt idx="2321">3.2021903423290978</cx:pt>
          <cx:pt idx="2322">3.1413080224572094</cx:pt>
          <cx:pt idx="2323">3.0567430642629319</cx:pt>
          <cx:pt idx="2324">3.0285993120753774</cx:pt>
          <cx:pt idx="2325">3.0454412888246849</cx:pt>
          <cx:pt idx="2326">3.1697202458232199</cx:pt>
          <cx:pt idx="2327">3.0904004129956482</cx:pt>
          <cx:pt idx="2328">3.0904004129956486</cx:pt>
          <cx:pt idx="2329">3.0227109701715444</cx:pt>
          <cx:pt idx="2330">3.1111590034627907</cx:pt>
          <cx:pt idx="2331">3.2091822283430154</cx:pt>
          <cx:pt idx="2332">3.2668660506827409</cx:pt>
          <cx:pt idx="2333">3.2668660506827409</cx:pt>
          <cx:pt idx="2334">3.2968114166936187</cx:pt>
          <cx:pt idx="2335">3.2652823714829387</cx:pt>
          <cx:pt idx="2336">3.2455097185701547</cx:pt>
          <cx:pt idx="2337">3.1941037632761269</cx:pt>
          <cx:pt idx="2338">3.3294229937429645</cx:pt>
          <cx:pt idx="2339">3.3294229937429645</cx:pt>
          <cx:pt idx="2340">3.2199093297721948</cx:pt>
          <cx:pt idx="2341">3.1522661069769158</cx:pt>
          <cx:pt idx="2342">3.1176177170854444</cx:pt>
          <cx:pt idx="2343">2.9674479146965291</cx:pt>
          <cx:pt idx="2344">3.0217601630107271</cx:pt>
          <cx:pt idx="2345">3.1176177170854444</cx:pt>
          <cx:pt idx="2346">3.0680032069997774</cx:pt>
          <cx:pt idx="2347">3.0904004129956486</cx:pt>
          <cx:pt idx="2348">3.0859339762456242</cx:pt>
          <cx:pt idx="2349">3.1332477366640425</cx:pt>
          <cx:pt idx="2350">3.1615506162088525</cx:pt>
          <cx:pt idx="2351">3.1856358646381677</cx:pt>
          <cx:pt idx="2352">3.1905031491643427</cx:pt>
          <cx:pt idx="2353">3.1905031491643427</cx:pt>
          <cx:pt idx="2354">3.2976829204273361</cx:pt>
          <cx:pt idx="2355">3.3930286880839842</cx:pt>
          <cx:pt idx="2356">3.3680377315166079</cx:pt>
          <cx:pt idx="2357">3.4139672543527864</cx:pt>
          <cx:pt idx="2358">3.4087446706793778</cx:pt>
          <cx:pt idx="2359">3.4087446706793778</cx:pt>
          <cx:pt idx="2360">3.3294229937429645</cx:pt>
          <cx:pt idx="2361">3.3495582141358669</cx:pt>
          <cx:pt idx="2362">3.3850584470072551</cx:pt>
          <cx:pt idx="2363">3.2842361207062636</cx:pt>
          <cx:pt idx="2364">3.2640500897666613</cx:pt>
          <cx:pt idx="2365">3.2414343355564275</cx:pt>
          <cx:pt idx="2366">3.2688006166275065</cx:pt>
          <cx:pt idx="2367">3.2270409206343009</cx:pt>
          <cx:pt idx="2368">3.0249916880288579</cx:pt>
          <cx:pt idx="2369">2.9651229355607671</cx:pt>
          <cx:pt idx="2370">2.9651229355607667</cx:pt>
          <cx:pt idx="2371">3.0842573949268433</cx:pt>
          <cx:pt idx="2372">3.046438605542527</cx:pt>
          <cx:pt idx="2373">3.0952686201181048</cx:pt>
          <cx:pt idx="2374">3.0569150044987108</cx:pt>
          <cx:pt idx="2375">3.0553861646909075</cx:pt>
          <cx:pt idx="2376">3.1134118476894979</cx:pt>
          <cx:pt idx="2377">3.1207579904219758</cx:pt>
          <cx:pt idx="2378">3.1610275009338467</cx:pt>
          <cx:pt idx="2379">3.1153856431632505</cx:pt>
          <cx:pt idx="2380">3.0519314727375049</cx:pt>
          <cx:pt idx="2381">2.87411313552363</cx:pt>
          <cx:pt idx="2382">2.4920927582635191</cx:pt>
          <cx:pt idx="2383">2.5546318307829945</cx:pt>
          <cx:pt idx="2384">2.5796146543051504</cx:pt>
          <cx:pt idx="2385">2.6004807247891688</cx:pt>
          <cx:pt idx="2386">2.6672618383439062</cx:pt>
          <cx:pt idx="2387">2.5901334345533646</cx:pt>
          <cx:pt idx="2388">2.665063620734804</cx:pt>
          <cx:pt idx="2389">2.7413776673693677</cx:pt>
          <cx:pt idx="2390">2.7699688216164584</cx:pt>
          <cx:pt idx="2391">2.6583202716502514</cx:pt>
          <cx:pt idx="2392">2.438123139721299</cx:pt>
          <cx:pt idx="2393">2.5071326821120348</cx:pt>
          <cx:pt idx="2394">2.5634797778466232</cx:pt>
          <cx:pt idx="2395">2.8047578623950176</cx:pt>
          <cx:pt idx="2396">2.5495097567963922</cx:pt>
          <cx:pt idx="2397">2.6457513110645907</cx:pt>
          <cx:pt idx="2398">2.5166114784235831</cx:pt>
          <cx:pt idx="2399">3.5355339059327378</cx:pt>
        </cx:lvl>
      </cx:numDim>
    </cx:data>
    <cx:data id="5">
      <cx:numDim type="val">
        <cx:f>Sheet2!$F$4919:$F$7318</cx:f>
        <cx:lvl ptCount="2400" formatCode="#,##0.00">
          <cx:pt idx="0">0.32111470018277427</cx:pt>
          <cx:pt idx="1">0.31317598328736385</cx:pt>
          <cx:pt idx="2">0.30838649423217551</cx:pt>
          <cx:pt idx="3">0.30522451410912788</cx:pt>
          <cx:pt idx="4">0.29524072693228132</cx:pt>
          <cx:pt idx="5">0.30804281470656592</cx:pt>
          <cx:pt idx="6">0.29731095813154068</cx:pt>
          <cx:pt idx="7">0.29783805397364843</cx:pt>
          <cx:pt idx="8">0.30110296244554757</cx:pt>
          <cx:pt idx="9">0.31693654519347947</cx:pt>
          <cx:pt idx="10">0.32019439260213728</cx:pt>
          <cx:pt idx="11">0.3260739108745041</cx:pt>
          <cx:pt idx="12">0.32914881039222066</cx:pt>
          <cx:pt idx="13">0.33037536627732206</cx:pt>
          <cx:pt idx="14">0.33221970630050468</cx:pt>
          <cx:pt idx="15">0.33347911338808328</cx:pt>
          <cx:pt idx="16">0.33362500914539717</cx:pt>
          <cx:pt idx="17">0.33362598038936297</cx:pt>
          <cx:pt idx="18">0.3356513818056967</cx:pt>
          <cx:pt idx="19">0.32676275905737984</cx:pt>
          <cx:pt idx="20">0.33172006251681135</cx:pt>
          <cx:pt idx="21">0.34255343853660508</cx:pt>
          <cx:pt idx="22">0.33475603306099166</cx:pt>
          <cx:pt idx="23">0.33130550979491263</cx:pt>
          <cx:pt idx="24">0.32976982278153799</cx:pt>
          <cx:pt idx="25">0.31395286913208403</cx:pt>
          <cx:pt idx="26">0.30915977650013016</cx:pt>
          <cx:pt idx="27">0.29723082022249675</cx:pt>
          <cx:pt idx="28">0.29748252580113954</cx:pt>
          <cx:pt idx="29">0.27871909853153254</cx:pt>
          <cx:pt idx="30">0.2712120456813058</cx:pt>
          <cx:pt idx="31">0.26890178458774228</cx:pt>
          <cx:pt idx="32">0.27903086934779864</cx:pt>
          <cx:pt idx="33">0.27568547827481049</cx:pt>
          <cx:pt idx="34">0.28020538224406683</cx:pt>
          <cx:pt idx="35">0.27449347200741431</cx:pt>
          <cx:pt idx="36">0.27479928608624238</cx:pt>
          <cx:pt idx="37">0.27444363992352516</cx:pt>
          <cx:pt idx="38">0.27126427266339059</cx:pt>
          <cx:pt idx="39">0.2566798382560796</cx:pt>
          <cx:pt idx="40">0.25602638910115799</cx:pt>
          <cx:pt idx="41">0.24642633130535613</cx:pt>
          <cx:pt idx="42">0.24346766262703617</cx:pt>
          <cx:pt idx="43">0.24752132114526462</cx:pt>
          <cx:pt idx="44">0.23576079596133523</cx:pt>
          <cx:pt idx="45">0.23449619181989695</cx:pt>
          <cx:pt idx="46">0.21683840237477411</cx:pt>
          <cx:pt idx="47">0.21457278713210476</cx:pt>
          <cx:pt idx="48">0.20630079624329045</cx:pt>
          <cx:pt idx="49">0.23123254107238575</cx:pt>
          <cx:pt idx="50">0.2236330498466515</cx:pt>
          <cx:pt idx="51">0.23262170752369535</cx:pt>
          <cx:pt idx="52">0.2473281107900179</cx:pt>
          <cx:pt idx="53">0.25079226853726971</cx:pt>
          <cx:pt idx="54">0.25307854807682073</cx:pt>
          <cx:pt idx="55">0.27310101169637557</cx:pt>
          <cx:pt idx="56">0.27256764433800668</cx:pt>
          <cx:pt idx="57">0.272600872794314</cx:pt>
          <cx:pt idx="58">0.27384397912856057</cx:pt>
          <cx:pt idx="59">0.27288991790989692</cx:pt>
          <cx:pt idx="60">0.27122208313687568</cx:pt>
          <cx:pt idx="61">0.26789031503523247</cx:pt>
          <cx:pt idx="62">0.27141595948665431</cx:pt>
          <cx:pt idx="63">0.27665763921360614</cx:pt>
          <cx:pt idx="64">0.28385923743353197</cx:pt>
          <cx:pt idx="65">0.28313227444506545</cx:pt>
          <cx:pt idx="66">0.28298310847734393</cx:pt>
          <cx:pt idx="67">0.28190054942617399</cx:pt>
          <cx:pt idx="68">0.28314025371739876</cx:pt>
          <cx:pt idx="69">0.28800186747111062</cx:pt>
          <cx:pt idx="70">0.27587209629962522</cx:pt>
          <cx:pt idx="71">0.29095693596967737</cx:pt>
          <cx:pt idx="72">0.29041116176075066</cx:pt>
          <cx:pt idx="73">0.275633320943178</cx:pt>
          <cx:pt idx="74">0.27485196760376779</cx:pt>
          <cx:pt idx="75">0.27509473036871757</cx:pt>
          <cx:pt idx="76">0.27675503878263741</cx:pt>
          <cx:pt idx="77">0.27532038225971711</cx:pt>
          <cx:pt idx="78">0.25820064760235445</cx:pt>
          <cx:pt idx="79">0.25900239109463319</cx:pt>
          <cx:pt idx="80">0.25706085807573581</cx:pt>
          <cx:pt idx="81">0.25561455435022223</cx:pt>
          <cx:pt idx="82">0.2493030113846583</cx:pt>
          <cx:pt idx="83">0.2411938416872044</cx:pt>
          <cx:pt idx="84">0.24056253555006718</cx:pt>
          <cx:pt idx="85">0.22928294437755514</cx:pt>
          <cx:pt idx="86">0.22420765530435435</cx:pt>
          <cx:pt idx="87">0.22414178504563417</cx:pt>
          <cx:pt idx="88">0.22420593685621976</cx:pt>
          <cx:pt idx="89">0.23840359272956532</cx:pt>
          <cx:pt idx="90">0.23909621584424029</cx:pt>
          <cx:pt idx="91">0.23694684066975222</cx:pt>
          <cx:pt idx="92">0.23780480879865606</cx:pt>
          <cx:pt idx="93">0.25500624298527386</cx:pt>
          <cx:pt idx="94">0.2508095885015032</cx:pt>
          <cx:pt idx="95">0.26026677444567853</cx:pt>
          <cx:pt idx="96">0.26638582475809991</cx:pt>
          <cx:pt idx="97">0.26023828489946843</cx:pt>
          <cx:pt idx="98">0.25790947513574564</cx:pt>
          <cx:pt idx="99">0.254579452942514</cx:pt>
          <cx:pt idx="100">0.25071990502802138</cx:pt>
          <cx:pt idx="101">0.23913653097151702</cx:pt>
          <cx:pt idx="102">0.2497307241115492</cx:pt>
          <cx:pt idx="103">0.2587811108349794</cx:pt>
          <cx:pt idx="104">0.26793166840767707</cx:pt>
          <cx:pt idx="105">0.26862958628350986</cx:pt>
          <cx:pt idx="106">0.2677163690572727</cx:pt>
          <cx:pt idx="107">0.26756873980056695</cx:pt>
          <cx:pt idx="108">0.26762239107898028</cx:pt>
          <cx:pt idx="109">0.26164813088208566</cx:pt>
          <cx:pt idx="110">0.26320528959576589</cx:pt>
          <cx:pt idx="111">0.25410499569692152</cx:pt>
          <cx:pt idx="112">0.25428613121354254</cx:pt>
          <cx:pt idx="113">0.25347506166251516</cx:pt>
          <cx:pt idx="114">0.25172529252553227</cx:pt>
          <cx:pt idx="115">0.26022253969662362</cx:pt>
          <cx:pt idx="116">0.26384126347653764</cx:pt>
          <cx:pt idx="117">0.27907385712930333</cx:pt>
          <cx:pt idx="118">0.27887470575964074</cx:pt>
          <cx:pt idx="119">0.25912683074139181</cx:pt>
          <cx:pt idx="120">0.25262092786882612</cx:pt>
          <cx:pt idx="121">0.24586630843409099</cx:pt>
          <cx:pt idx="122">0.24401836595592677</cx:pt>
          <cx:pt idx="123">0.23618666016144416</cx:pt>
          <cx:pt idx="124">0.24258924087073935</cx:pt>
          <cx:pt idx="125">0.23781028776755969</cx:pt>
          <cx:pt idx="126">0.2395449636312115</cx:pt>
          <cx:pt idx="127">0.24168858097838034</cx:pt>
          <cx:pt idx="128">0.27259155407025099</cx:pt>
          <cx:pt idx="129">0.27594504450314628</cx:pt>
          <cx:pt idx="130">0.27462680945897117</cx:pt>
          <cx:pt idx="131">0.28894668574301968</cx:pt>
          <cx:pt idx="132">0.27704883101464151</cx:pt>
          <cx:pt idx="133">0.26928801371278471</cx:pt>
          <cx:pt idx="134">0.25975564904848597</cx:pt>
          <cx:pt idx="135">0.25872878988177217</cx:pt>
          <cx:pt idx="136">0.2585244469887234</cx:pt>
          <cx:pt idx="137">0.25936665249571689</cx:pt>
          <cx:pt idx="138">0.27641423266548593</cx:pt>
          <cx:pt idx="139">0.28659200755351766</cx:pt>
          <cx:pt idx="140">0.28494582223357573</cx:pt>
          <cx:pt idx="141">0.2925931800608968</cx:pt>
          <cx:pt idx="142">0.30730689687034052</cx:pt>
          <cx:pt idx="143">0.31691373256362371</cx:pt>
          <cx:pt idx="144">0.32040314362991568</cx:pt>
          <cx:pt idx="145">0.32073434640209209</cx:pt>
          <cx:pt idx="146">0.3180668027335164</cx:pt>
          <cx:pt idx="147">0.30665718031367228</cx:pt>
          <cx:pt idx="148">0.3070253921415414</cx:pt>
          <cx:pt idx="149">0.30757414378159409</cx:pt>
          <cx:pt idx="150">0.30933092330123052</cx:pt>
          <cx:pt idx="151">0.31182288826832544</cx:pt>
          <cx:pt idx="152">0.31183043025634605</cx:pt>
          <cx:pt idx="153">0.32794576903545009</cx:pt>
          <cx:pt idx="154">0.32281170148481986</cx:pt>
          <cx:pt idx="155">0.32151868055140831</cx:pt>
          <cx:pt idx="156">0.31987863284561874</cx:pt>
          <cx:pt idx="157">0.32421033776810976</cx:pt>
          <cx:pt idx="158">0.30233851957870506</cx:pt>
          <cx:pt idx="159">0.29781616895755036</cx:pt>
          <cx:pt idx="160">0.29887034333153861</cx:pt>
          <cx:pt idx="161">0.28696210770531766</cx:pt>
          <cx:pt idx="162">0.28823200166720653</cx:pt>
          <cx:pt idx="163">0.28812320392695995</cx:pt>
          <cx:pt idx="164">0.28723972363822881</cx:pt>
          <cx:pt idx="165">0.2879055545785113</cx:pt>
          <cx:pt idx="166">0.28989530898179577</cx:pt>
          <cx:pt idx="167">0.29202296089337676</cx:pt>
          <cx:pt idx="168">0.28876204982204379</cx:pt>
          <cx:pt idx="169">0.28324366360458114</cx:pt>
          <cx:pt idx="170">0.28766129583955108</cx:pt>
          <cx:pt idx="171">0.28004079739209492</cx:pt>
          <cx:pt idx="172">0.28084895724193476</cx:pt>
          <cx:pt idx="173">0.28334385719354604</cx:pt>
          <cx:pt idx="174">0.26359960726341636</cx:pt>
          <cx:pt idx="175">0.26581407753978165</cx:pt>
          <cx:pt idx="176">0.26277095651492655</cx:pt>
          <cx:pt idx="177">0.27198565958762133</cx:pt>
          <cx:pt idx="178">0.27120474545933204</cx:pt>
          <cx:pt idx="179">0.2738028710572053</cx:pt>
          <cx:pt idx="180">0.27368719895011684</cx:pt>
          <cx:pt idx="181">0.27322276988229577</cx:pt>
          <cx:pt idx="182">0.27311575545662892</cx:pt>
          <cx:pt idx="183">0.27168578182736514</cx:pt>
          <cx:pt idx="184">0.2696706905266581</cx:pt>
          <cx:pt idx="185">0.28857958710880749</cx:pt>
          <cx:pt idx="186">0.28855805785570215</cx:pt>
          <cx:pt idx="187">0.27974901532494706</cx:pt>
          <cx:pt idx="188">0.27979364483260122</cx:pt>
          <cx:pt idx="189">0.27819267655057839</cx:pt>
          <cx:pt idx="190">0.27381458780441897</cx:pt>
          <cx:pt idx="191">0.2910388294691163</cx:pt>
          <cx:pt idx="192">0.29194551783313466</cx:pt>
          <cx:pt idx="193">0.29443392527096623</cx:pt>
          <cx:pt idx="194">0.30788858463961666</cx:pt>
          <cx:pt idx="195">0.30909750910294914</cx:pt>
          <cx:pt idx="196">0.30909750910294914</cx:pt>
          <cx:pt idx="197">0.30822200908986386</cx:pt>
          <cx:pt idx="198">0.30790128664518945</cx:pt>
          <cx:pt idx="199">0.32899466476304584</cx:pt>
          <cx:pt idx="200">0.33406553362304786</cx:pt>
          <cx:pt idx="201">0.33751365549537887</cx:pt>
          <cx:pt idx="202">0.32923937912523127</cx:pt>
          <cx:pt idx="203">0.33437324291054898</cx:pt>
          <cx:pt idx="204">0.33546683264692873</cx:pt>
          <cx:pt idx="205">0.32547253737788612</cx:pt>
          <cx:pt idx="206">0.32576149945207727</cx:pt>
          <cx:pt idx="207">0.32285938419906945</cx:pt>
          <cx:pt idx="208">0.32369368465324355</cx:pt>
          <cx:pt idx="209">0.31750216765334749</cx:pt>
          <cx:pt idx="210">0.31547146526736369</cx:pt>
          <cx:pt idx="211">0.32488065000271366</cx:pt>
          <cx:pt idx="212">0.32456075403096096</cx:pt>
          <cx:pt idx="213">0.33075151380403794</cx:pt>
          <cx:pt idx="214">0.35696410765023368</cx:pt>
          <cx:pt idx="215">0.38280619672985267</cx:pt>
          <cx:pt idx="216">0.41898564130668781</cx:pt>
          <cx:pt idx="217">0.46256499481192892</cx:pt>
          <cx:pt idx="218">0.49416989632121444</cx:pt>
          <cx:pt idx="219">0.53368925957524482</cx:pt>
          <cx:pt idx="220">0.55259840605169697</cx:pt>
          <cx:pt idx="221">0.5644040060882024</cx:pt>
          <cx:pt idx="222">0.57158440347546435</cx:pt>
          <cx:pt idx="223">0.56869991030820688</cx:pt>
          <cx:pt idx="224">0.55977323666098144</cx:pt>
          <cx:pt idx="225">0.56214568554318278</cx:pt>
          <cx:pt idx="226">0.56011715624423486</cx:pt>
          <cx:pt idx="227">0.56278815264258686</cx:pt>
          <cx:pt idx="228">0.52091905979677355</cx:pt>
          <cx:pt idx="229">0.53182154800668557</cx:pt>
          <cx:pt idx="230">0.50034809715514106</cx:pt>
          <cx:pt idx="231">0.50156300473210225</cx:pt>
          <cx:pt idx="232">0.5089413624456105</cx:pt>
          <cx:pt idx="233">0.50792921006694991</cx:pt>
          <cx:pt idx="234">0.50120493171602298</cx:pt>
          <cx:pt idx="235">0.47714935773595812</cx:pt>
          <cx:pt idx="236">0.44480511092701513</cx:pt>
          <cx:pt idx="237">0.42665834914395928</cx:pt>
          <cx:pt idx="238">0.41371253594771246</cx:pt>
          <cx:pt idx="239">0.39800521688054702</cx:pt>
          <cx:pt idx="240">0.3616161952785456</cx:pt>
          <cx:pt idx="241">0.25844081421988441</cx:pt>
          <cx:pt idx="242">0.17423376897719312</cx:pt>
          <cx:pt idx="243">0.16901346303176423</cx:pt>
          <cx:pt idx="244">0.16791291350359014</cx:pt>
          <cx:pt idx="245">0.16958216362471412</cx:pt>
          <cx:pt idx="246">0.17649536954446465</cx:pt>
          <cx:pt idx="247">0.18189311425098639</cx:pt>
          <cx:pt idx="248">0.18115058542387705</cx:pt>
          <cx:pt idx="249">0.17034013707204551</cx:pt>
          <cx:pt idx="250">0.17151210322410901</cx:pt>
          <cx:pt idx="251">0.17236252745950509</cx:pt>
          <cx:pt idx="252">0.17307895162490464</cx:pt>
          <cx:pt idx="253">0.17646936298190563</cx:pt>
          <cx:pt idx="254">0.17279638572533368</cx:pt>
          <cx:pt idx="255">0.1718083832659294</cx:pt>
          <cx:pt idx="256">0.17114982926089112</cx:pt>
          <cx:pt idx="257">0.17049540861274451</cx:pt>
          <cx:pt idx="258">0.24172240747916204</cx:pt>
          <cx:pt idx="259">0.29033588753718581</cx:pt>
          <cx:pt idx="260">0.34126073025862774</cx:pt>
          <cx:pt idx="261">0.35297053776043064</cx:pt>
          <cx:pt idx="262">0.38404633783040953</cx:pt>
          <cx:pt idx="263">0.4058253591323277</cx:pt>
          <cx:pt idx="264">0.42403233074124608</cx:pt>
          <cx:pt idx="265">0.44464190622961286</cx:pt>
          <cx:pt idx="266">0.44277735943630742</cx:pt>
          <cx:pt idx="267">0.4459244712551278</cx:pt>
          <cx:pt idx="268">0.44835529779061789</cx:pt>
          <cx:pt idx="269">0.46099586758914257</cx:pt>
          <cx:pt idx="270">0.46733703474884986</cx:pt>
          <cx:pt idx="271">0.47999740139668939</cx:pt>
          <cx:pt idx="272">0.47401024874445136</cx:pt>
          <cx:pt idx="273">0.46838703905665907</cx:pt>
          <cx:pt idx="274">0.45138721146478855</cx:pt>
          <cx:pt idx="275">0.43466234408906246</cx:pt>
          <cx:pt idx="276">0.43127599676879469</cx:pt>
          <cx:pt idx="277">0.4295303758584339</cx:pt>
          <cx:pt idx="278">0.41950377394622418</cx:pt>
          <cx:pt idx="279">0.39552192681169984</cx:pt>
          <cx:pt idx="280">0.38339606044182706</cx:pt>
          <cx:pt idx="281">0.36760824474949028</cx:pt>
          <cx:pt idx="282">0.36386684607195996</cx:pt>
          <cx:pt idx="283">0.35613598707533467</cx:pt>
          <cx:pt idx="284">0.3226613700662766</cx:pt>
          <cx:pt idx="285">0.28905033145322839</cx:pt>
          <cx:pt idx="286">0.26968027026222169</cx:pt>
          <cx:pt idx="287">0.2473305387121304</cx:pt>
          <cx:pt idx="288">0.26528506019902481</cx:pt>
          <cx:pt idx="289">0.26435468883493096</cx:pt>
          <cx:pt idx="290">0.26095076774391662</cx:pt>
          <cx:pt idx="291">0.25886042904022188</cx:pt>
          <cx:pt idx="292">0.26418931246307037</cx:pt>
          <cx:pt idx="293">0.26431978050733373</cx:pt>
          <cx:pt idx="294">0.26425345964190061</cx:pt>
          <cx:pt idx="295">0.26968972666464675</cx:pt>
          <cx:pt idx="296">0.26972008225711819</cx:pt>
          <cx:pt idx="297">0.27240377167563173</cx:pt>
          <cx:pt idx="298">0.2746467240754481</cx:pt>
          <cx:pt idx="299">0.27418701987251781</cx:pt>
          <cx:pt idx="300">0.28983174698301079</cx:pt>
          <cx:pt idx="301">0.29773386099230487</cx:pt>
          <cx:pt idx="302">0.30900863351125624</cx:pt>
          <cx:pt idx="303">0.31328066658906917</cx:pt>
          <cx:pt idx="304">0.318002994521213</cx:pt>
          <cx:pt idx="305">0.31803834946080761</cx:pt>
          <cx:pt idx="306">0.32647265175983037</cx:pt>
          <cx:pt idx="307">0.33328036476871581</cx:pt>
          <cx:pt idx="308">0.33173608649718778</cx:pt>
          <cx:pt idx="309">0.34220857155897061</cx:pt>
          <cx:pt idx="310">0.34176515947773212</cx:pt>
          <cx:pt idx="311">0.33563367795407562</cx:pt>
          <cx:pt idx="312">0.32822785826206596</cx:pt>
          <cx:pt idx="313">0.32995268929214772</cx:pt>
          <cx:pt idx="314">0.33871809879142611</cx:pt>
          <cx:pt idx="315">0.33765975820499783</cx:pt>
          <cx:pt idx="316">0.34560972864735179</cx:pt>
          <cx:pt idx="317">0.3345105348200294</cx:pt>
          <cx:pt idx="318">0.31905170130918936</cx:pt>
          <cx:pt idx="319">0.31833892566627181</cx:pt>
          <cx:pt idx="320">0.31793341313694717</cx:pt>
          <cx:pt idx="321">0.31851674926978696</cx:pt>
          <cx:pt idx="322">0.32810586263286945</cx:pt>
          <cx:pt idx="323">0.32639973699108848</cx:pt>
          <cx:pt idx="324">0.33996731138475644</cx:pt>
          <cx:pt idx="325">0.33231622389491144</cx:pt>
          <cx:pt idx="326">0.33343857667829502</cx:pt>
          <cx:pt idx="327">0.33114619301202347</cx:pt>
          <cx:pt idx="328">0.33054609447660266</cx:pt>
          <cx:pt idx="329">0.33092097979768031</cx:pt>
          <cx:pt idx="330">0.33079584093799758</cx:pt>
          <cx:pt idx="331">0.31849862280031871</cx:pt>
          <cx:pt idx="332">0.30791393913643644</cx:pt>
          <cx:pt idx="333">0.30126689254491906</cx:pt>
          <cx:pt idx="334">0.31128271120345186</cx:pt>
          <cx:pt idx="335">0.31199329189636027</cx:pt>
          <cx:pt idx="336">0.30573508479866141</cx:pt>
          <cx:pt idx="337">0.30923681525128932</cx:pt>
          <cx:pt idx="338">0.30829604438688596</cx:pt>
          <cx:pt idx="339">0.29833822267912691</cx:pt>
          <cx:pt idx="340">0.31184161832175539</cx:pt>
          <cx:pt idx="341">0.31605788759202935</cx:pt>
          <cx:pt idx="342">0.32073840874192378</cx:pt>
          <cx:pt idx="343">0.32211957485503584</cx:pt>
          <cx:pt idx="344">0.31078118041631858</cx:pt>
          <cx:pt idx="345">0.30747394972589986</cx:pt>
          <cx:pt idx="346">0.29171538628824933</cx:pt>
          <cx:pt idx="347">0.291589121035008</cx:pt>
          <cx:pt idx="348">0.31719934289416785</cx:pt>
          <cx:pt idx="349">0.32780131962419506</cx:pt>
          <cx:pt idx="350">0.3330347712802082</cx:pt>
          <cx:pt idx="351">0.35176849895782109</cx:pt>
          <cx:pt idx="352">0.34112318178848222</cx:pt>
          <cx:pt idx="353">0.3410298089307886</cx:pt>
          <cx:pt idx="354">0.33071841501520527</cx:pt>
          <cx:pt idx="355">0.34066619280097754</cx:pt>
          <cx:pt idx="356">0.33346374699801129</cx:pt>
          <cx:pt idx="357">0.33622150209718249</cx:pt>
          <cx:pt idx="358">0.34503077130876897</cx:pt>
          <cx:pt idx="359">0.35767654474500826</cx:pt>
          <cx:pt idx="360">0.34698138295341308</cx:pt>
          <cx:pt idx="361">0.34441922082196458</cx:pt>
          <cx:pt idx="362">0.34404115185372169</cx:pt>
          <cx:pt idx="363">0.35941672304171157</cx:pt>
          <cx:pt idx="364">0.35075476505026143</cx:pt>
          <cx:pt idx="365">0.3631925087664486</cx:pt>
          <cx:pt idx="366">0.36212244419092904</cx:pt>
          <cx:pt idx="367">0.35070751536434375</cx:pt>
          <cx:pt idx="368">0.36378526286651003</cx:pt>
          <cx:pt idx="369">0.36893815052960233</cx:pt>
          <cx:pt idx="370">0.38530116032610645</cx:pt>
          <cx:pt idx="371">0.38019903144500605</cx:pt>
          <cx:pt idx="372">0.3741304065556818</cx:pt>
          <cx:pt idx="373">0.36886721633720837</cx:pt>
          <cx:pt idx="374">0.36773561697661955</cx:pt>
          <cx:pt idx="375">0.39370479199436831</cx:pt>
          <cx:pt idx="376">0.39170049761797848</cx:pt>
          <cx:pt idx="377">0.3982885176717566</cx:pt>
          <cx:pt idx="378">0.38054466281800747</cx:pt>
          <cx:pt idx="379">0.37403802904392147</cx:pt>
          <cx:pt idx="380">0.36967371714602248</cx:pt>
          <cx:pt idx="381">0.35222358648261926</cx:pt>
          <cx:pt idx="382">0.3535501361540182</cx:pt>
          <cx:pt idx="383">0.35348646324418914</cx:pt>
          <cx:pt idx="384">0.35595019243406822</cx:pt>
          <cx:pt idx="385">0.37327348851996173</cx:pt>
          <cx:pt idx="386">0.37400431246381655</cx:pt>
          <cx:pt idx="387">0.37225213106644156</cx:pt>
          <cx:pt idx="388">0.36586271861594105</cx:pt>
          <cx:pt idx="389">0.35271735334997018</cx:pt>
          <cx:pt idx="390">0.353759932989748</cx:pt>
          <cx:pt idx="391">0.36447719867233691</cx:pt>
          <cx:pt idx="392">0.36425766711513974</cx:pt>
          <cx:pt idx="393">0.34555374243518977</cx:pt>
          <cx:pt idx="394">0.34291361270241882</cx:pt>
          <cx:pt idx="395">0.32674889184029132</cx:pt>
          <cx:pt idx="396">0.32685549078117804</cx:pt>
          <cx:pt idx="397">0.33354162131777276</cx:pt>
          <cx:pt idx="398">0.32618930064060903</cx:pt>
          <cx:pt idx="399">0.32849375591271496</cx:pt>
          <cx:pt idx="400">0.32160096879321781</cx:pt>
          <cx:pt idx="401">0.32136704212912526</cx:pt>
          <cx:pt idx="402">0.32471835475757282</cx:pt>
          <cx:pt idx="403">0.32357456310426569</cx:pt>
          <cx:pt idx="404">0.31883869224125666</cx:pt>
          <cx:pt idx="405">0.29416924203735617</cx:pt>
          <cx:pt idx="406">0.29755193509485023</cx:pt>
          <cx:pt idx="407">0.29419093439127247</cx:pt>
          <cx:pt idx="408">0.29331821673016245</cx:pt>
          <cx:pt idx="409">0.29845181402546245</cx:pt>
          <cx:pt idx="410">0.29961344545631696</cx:pt>
          <cx:pt idx="411">0.30024805411020933</cx:pt>
          <cx:pt idx="412">0.30133488709950101</cx:pt>
          <cx:pt idx="413">0.30686114693600586</cx:pt>
          <cx:pt idx="414">0.30088314790781945</cx:pt>
          <cx:pt idx="415">0.29490326032684672</cx:pt>
          <cx:pt idx="416">0.29766032301896433</cx:pt>
          <cx:pt idx="417">0.29645559437694291</cx:pt>
          <cx:pt idx="418">0.31131564764726083</cx:pt>
          <cx:pt idx="419">0.31219841004240434</cx:pt>
          <cx:pt idx="420">0.31073088731246318</cx:pt>
          <cx:pt idx="421">0.30538191029932116</cx:pt>
          <cx:pt idx="422">0.31036687969495469</cx:pt>
          <cx:pt idx="423">0.32316978417659581</cx:pt>
          <cx:pt idx="424">0.33518737736221543</cx:pt>
          <cx:pt idx="425">0.3353788045182961</cx:pt>
          <cx:pt idx="426">0.34516766250709618</cx:pt>
          <cx:pt idx="427">0.33450396599541549</cx:pt>
          <cx:pt idx="428">0.33528809113830615</cx:pt>
          <cx:pt idx="429">0.32720666842078178</cx:pt>
          <cx:pt idx="430">0.32171092215571973</cx:pt>
          <cx:pt idx="431">0.32182868402248038</cx:pt>
          <cx:pt idx="432">0.33790082682309791</cx:pt>
          <cx:pt idx="433">0.33857987176967708</cx:pt>
          <cx:pt idx="434">0.3478817639777872</cx:pt>
          <cx:pt idx="435">0.35868228112615796</cx:pt>
          <cx:pt idx="436">0.3541794949241216</cx:pt>
          <cx:pt idx="437">0.3550200862770953</cx:pt>
          <cx:pt idx="438">0.35439248586389954</cx:pt>
          <cx:pt idx="439">0.34130946994813371</cx:pt>
          <cx:pt idx="440">0.3413071404475338</cx:pt>
          <cx:pt idx="441">0.34304975727824416</cx:pt>
          <cx:pt idx="442">0.34093612492346681</cx:pt>
          <cx:pt idx="443">0.33236770660162196</cx:pt>
          <cx:pt idx="444">0.33186539564323581</cx:pt>
          <cx:pt idx="445">0.30678984046337315</cx:pt>
          <cx:pt idx="446">0.31658769563130906</cx:pt>
          <cx:pt idx="447">0.32229658916871534</cx:pt>
          <cx:pt idx="448">0.31298204625257642</cx:pt>
          <cx:pt idx="449">0.31983988466490682</cx:pt>
          <cx:pt idx="450">0.31949981399772809</cx:pt>
          <cx:pt idx="451">0.34484504245254138</cx:pt>
          <cx:pt idx="452">0.33641232353097267</cx:pt>
          <cx:pt idx="453">0.33012351736781959</cx:pt>
          <cx:pt idx="454">0.33572472375585533</cx:pt>
          <cx:pt idx="455">0.36216467674783925</cx:pt>
          <cx:pt idx="456">0.35125568398983054</cx:pt>
          <cx:pt idx="457">0.36071785197453743</cx:pt>
          <cx:pt idx="458">0.36193575875802064</cx:pt>
          <cx:pt idx="459">0.36823666251997761</cx:pt>
          <cx:pt idx="460">0.36189933396749441</cx:pt>
          <cx:pt idx="461">0.36216579098936141</cx:pt>
          <cx:pt idx="462">0.34697966078599701</cx:pt>
          <cx:pt idx="463">0.36595846404344423</cx:pt>
          <cx:pt idx="464">0.35788177966543661</cx:pt>
          <cx:pt idx="465">0.34310406019079953</cx:pt>
          <cx:pt idx="466">0.34537229007579251</cx:pt>
          <cx:pt idx="467">0.33622085346502523</cx:pt>
          <cx:pt idx="468">0.33585994333746633</cx:pt>
          <cx:pt idx="469">0.34979234914534701</cx:pt>
          <cx:pt idx="470">0.35767381300694445</cx:pt>
          <cx:pt idx="471">0.35984807122918044</cx:pt>
          <cx:pt idx="472">0.36437135087002448</cx:pt>
          <cx:pt idx="473">0.38170486380073132</cx:pt>
          <cx:pt idx="474">0.39695526291759614</cx:pt>
          <cx:pt idx="475">0.39325460739272156</cx:pt>
          <cx:pt idx="476">0.38259772100771777</cx:pt>
          <cx:pt idx="477">0.37941773349022989</cx:pt>
          <cx:pt idx="478">0.38391874248771507</cx:pt>
          <cx:pt idx="479">0.3781853333761967</cx:pt>
          <cx:pt idx="480">0.38547504451930703</cx:pt>
          <cx:pt idx="481">0.36294888265989106</cx:pt>
          <cx:pt idx="482">0.36175637301178154</cx:pt>
          <cx:pt idx="483">0.36500867090938283</cx:pt>
          <cx:pt idx="484">0.35234774931326912</cx:pt>
          <cx:pt idx="485">0.32682372610377741</cx:pt>
          <cx:pt idx="486">0.3362578220139833</cx:pt>
          <cx:pt idx="487">0.33194457816852635</cx:pt>
          <cx:pt idx="488">0.32869766245520221</cx:pt>
          <cx:pt idx="489">0.31964672350046314</cx:pt>
          <cx:pt idx="490">0.32679018447822855</cx:pt>
          <cx:pt idx="491">0.33168500941810852</cx:pt>
          <cx:pt idx="492">0.32627188835707166</cx:pt>
          <cx:pt idx="493">0.30106943477708015</cx:pt>
          <cx:pt idx="494">0.3044720792850264</cx:pt>
          <cx:pt idx="495">0.31090486294279135</cx:pt>
          <cx:pt idx="496">0.31857068246100007</cx:pt>
          <cx:pt idx="497">0.3171871007332322</cx:pt>
          <cx:pt idx="498">0.3163440374651722</cx:pt>
          <cx:pt idx="499">0.29616061650389369</cx:pt>
          <cx:pt idx="500">0.29087168057752499</cx:pt>
          <cx:pt idx="501">0.30204509294151638</cx:pt>
          <cx:pt idx="502">0.30241224746143575</cx:pt>
          <cx:pt idx="503">0.28943392132468709</cx:pt>
          <cx:pt idx="504">0.2761912880122574</cx:pt>
          <cx:pt idx="505">0.29124795740059056</cx:pt>
          <cx:pt idx="506">0.29495584138188241</cx:pt>
          <cx:pt idx="507">0.29047671690629395</cx:pt>
          <cx:pt idx="508">0.2904767169062939</cx:pt>
          <cx:pt idx="509">0.28752533526651547</cx:pt>
          <cx:pt idx="510">0.29667444465976173</cx:pt>
          <cx:pt idx="511">0.29248247298790386</cx:pt>
          <cx:pt idx="512">0.29818841949740188</cx:pt>
          <cx:pt idx="513">0.29627248819581148</cx:pt>
          <cx:pt idx="514">0.30377548680446215</cx:pt>
          <cx:pt idx="515">0.3064652626460635</cx:pt>
          <cx:pt idx="516">0.30113964810071442</cx:pt>
          <cx:pt idx="517">0.30850832191123323</cx:pt>
          <cx:pt idx="518">0.32753545932947176</cx:pt>
          <cx:pt idx="519">0.33604157802696549</cx:pt>
          <cx:pt idx="520">0.33891239670570705</cx:pt>
          <cx:pt idx="521">0.33358512306174087</cx:pt>
          <cx:pt idx="522">0.34804155298434802</cx:pt>
          <cx:pt idx="523">0.35318297461584269</cx:pt>
          <cx:pt idx="524">0.36411204427304261</cx:pt>
          <cx:pt idx="525">0.35756091237343746</cx:pt>
          <cx:pt idx="526">0.35194195465124084</cx:pt>
          <cx:pt idx="527">0.35062382560540012</cx:pt>
          <cx:pt idx="528">0.351361674000988</cx:pt>
          <cx:pt idx="529">0.35297206896032352</cx:pt>
          <cx:pt idx="530">0.34666876120338297</cx:pt>
          <cx:pt idx="531">0.33812927561007428</cx:pt>
          <cx:pt idx="532">0.3261282231710404</cx:pt>
          <cx:pt idx="533">0.32880942182111611</cx:pt>
          <cx:pt idx="534">0.33794733886767375</cx:pt>
          <cx:pt idx="535">0.32433770286656494</cx:pt>
          <cx:pt idx="536">0.31736981205909742</cx:pt>
          <cx:pt idx="537">0.32320332414321146</cx:pt>
          <cx:pt idx="538">0.32268643006943049</cx:pt>
          <cx:pt idx="539">0.32229664832033789</cx:pt>
          <cx:pt idx="540">0.32545389314736833</cx:pt>
          <cx:pt idx="541">0.33134773007877999</cx:pt>
          <cx:pt idx="542">0.3266910484165253</cx:pt>
          <cx:pt idx="543">0.32692055307291173</cx:pt>
          <cx:pt idx="544">0.31571272593660843</cx:pt>
          <cx:pt idx="545">0.30636173450252413</cx:pt>
          <cx:pt idx="546">0.30649798892630081</cx:pt>
          <cx:pt idx="547">0.30399299396091706</cx:pt>
          <cx:pt idx="548">0.30556957826937992</cx:pt>
          <cx:pt idx="549">0.30428793175832813</cx:pt>
          <cx:pt idx="550">0.2970174805212959</cx:pt>
          <cx:pt idx="551">0.30507238451108021</cx:pt>
          <cx:pt idx="552">0.294823745196862</cx:pt>
          <cx:pt idx="553">0.28657364391596835</cx:pt>
          <cx:pt idx="554">0.27771743145511019</cx:pt>
          <cx:pt idx="555">0.27792259404086822</cx:pt>
          <cx:pt idx="556">0.27836784687183436</cx:pt>
          <cx:pt idx="557">0.2922605303166998</cx:pt>
          <cx:pt idx="558">0.29331031721832673</cx:pt>
          <cx:pt idx="559">0.29457397871008945</cx:pt>
          <cx:pt idx="560">0.30248479728665056</cx:pt>
          <cx:pt idx="561">0.30427832689175954</cx:pt>
          <cx:pt idx="562">0.30549362976152722</cx:pt>
          <cx:pt idx="563">0.29711334317170085</cx:pt>
          <cx:pt idx="564">0.29204596985007331</cx:pt>
          <cx:pt idx="565">0.2938999910488605</cx:pt>
          <cx:pt idx="566">0.29653382996935457</cx:pt>
          <cx:pt idx="567">0.28211481849789083</cx:pt>
          <cx:pt idx="568">0.27456798827146561</cx:pt>
          <cx:pt idx="569">0.27404234148837692</cx:pt>
          <cx:pt idx="570">0.26192387292151875</cx:pt>
          <cx:pt idx="571">0.25834550687101604</cx:pt>
          <cx:pt idx="572">0.26501880773926706</cx:pt>
          <cx:pt idx="573">0.26640275370659239</cx:pt>
          <cx:pt idx="574">0.26747319711787398</cx:pt>
          <cx:pt idx="575">0.27832448564029544</cx:pt>
          <cx:pt idx="576">0.28626590805585145</cx:pt>
          <cx:pt idx="577">0.28489454897785876</cx:pt>
          <cx:pt idx="578">0.27018133919289633</cx:pt>
          <cx:pt idx="579">0.26351280417914053</cx:pt>
          <cx:pt idx="580">0.26525549272254395</cx:pt>
          <cx:pt idx="581">0.25899610732045208</cx:pt>
          <cx:pt idx="582">0.25457180908180538</cx:pt>
          <cx:pt idx="583">0.24995118261773291</cx:pt>
          <cx:pt idx="584">0.24693532501478352</cx:pt>
          <cx:pt idx="585">0.24833771579330019</cx:pt>
          <cx:pt idx="586">0.25009859572008153</cx:pt>
          <cx:pt idx="587">0.23743376229396887</cx:pt>
          <cx:pt idx="588">0.23522867106157858</cx:pt>
          <cx:pt idx="589">0.23140023261017234</cx:pt>
          <cx:pt idx="590">0.22468723298222237</cx:pt>
          <cx:pt idx="591">0.23662963492845246</cx:pt>
          <cx:pt idx="592">0.2371416796534937</cx:pt>
          <cx:pt idx="593">0.25392675512017249</cx:pt>
          <cx:pt idx="594">0.25428735534538377</cx:pt>
          <cx:pt idx="595">0.27042097619491567</cx:pt>
          <cx:pt idx="596">0.2669846877071485</cx:pt>
          <cx:pt idx="597">0.26542439867172973</cx:pt>
          <cx:pt idx="598">0.26580478966628523</cx:pt>
          <cx:pt idx="599">0.27911555293180734</cx:pt>
          <cx:pt idx="600">0.29677524888467488</cx:pt>
          <cx:pt idx="601">0.29412155367643594</cx:pt>
          <cx:pt idx="602">0.31549149580920127</cx:pt>
          <cx:pt idx="603">0.35465468945540329</cx:pt>
          <cx:pt idx="604">0.39493893633904087</cx:pt>
          <cx:pt idx="605">0.42014724874322051</cx:pt>
          <cx:pt idx="606">0.42128556983212456</cx:pt>
          <cx:pt idx="607">0.45559765840171756</cx:pt>
          <cx:pt idx="608">0.47261498918673661</cx:pt>
          <cx:pt idx="609">0.49714033023296161</cx:pt>
          <cx:pt idx="610">0.51383466806677036</cx:pt>
          <cx:pt idx="611">0.52985859412932801</cx:pt>
          <cx:pt idx="612">0.54825236534009736</cx:pt>
          <cx:pt idx="613">0.5503892144778969</cx:pt>
          <cx:pt idx="614">0.54779621038680892</cx:pt>
          <cx:pt idx="615">0.56338340924438923</cx:pt>
          <cx:pt idx="616">0.54859208459192055</cx:pt>
          <cx:pt idx="617">0.54142763434985297</cx:pt>
          <cx:pt idx="618">0.53151759531704312</cx:pt>
          <cx:pt idx="619">0.51109299772526606</cx:pt>
          <cx:pt idx="620">0.52008757200071898</cx:pt>
          <cx:pt idx="621">0.5213097229604754</cx:pt>
          <cx:pt idx="622">0.49552503300856432</cx:pt>
          <cx:pt idx="623">0.49686104721957869</cx:pt>
          <cx:pt idx="624">0.4904223296313765</cx:pt>
          <cx:pt idx="625">0.43478630216903069</cx:pt>
          <cx:pt idx="626">0.41990719435129398</cx:pt>
          <cx:pt idx="627">0.40234328565804345</cx:pt>
          <cx:pt idx="628">0.36109466886512542</cx:pt>
          <cx:pt idx="629">0.2502542848559251</cx:pt>
          <cx:pt idx="630">0.24134553303237002</cx:pt>
          <cx:pt idx="631">0.17996989386698684</cx:pt>
          <cx:pt idx="632">0.17087852936393166</cx:pt>
          <cx:pt idx="633">0.1747373986077406</cx:pt>
          <cx:pt idx="634">0.17761777629318282</cx:pt>
          <cx:pt idx="635">0.17905333073733201</cx:pt>
          <cx:pt idx="636">0.1689787862552084</cx:pt>
          <cx:pt idx="637">0.1694513082652967</cx:pt>
          <cx:pt idx="638">0.17541995590960582</cx:pt>
          <cx:pt idx="639">0.18088581227474379</cx:pt>
          <cx:pt idx="640">0.18088347077413308</cx:pt>
          <cx:pt idx="641">0.18448812349123767</cx:pt>
          <cx:pt idx="642">0.172484514867141</cx:pt>
          <cx:pt idx="643">0.17433912311978644</cx:pt>
          <cx:pt idx="644">0.18026038930290933</cx:pt>
          <cx:pt idx="645">0.17729075189757981</cx:pt>
          <cx:pt idx="646">0.1709413742896039</cx:pt>
          <cx:pt idx="647">0.18949963141373413</cx:pt>
          <cx:pt idx="648">0.23513723966153791</cx:pt>
          <cx:pt idx="649">0.26172718228695668</cx:pt>
          <cx:pt idx="650">0.35476590518708206</cx:pt>
          <cx:pt idx="651">0.40903717639368137</cx:pt>
          <cx:pt idx="652">0.44437628196311441</cx:pt>
          <cx:pt idx="653">0.48092496921297928</cx:pt>
          <cx:pt idx="654">0.53957440662383682</cx:pt>
          <cx:pt idx="655">0.54354064125381973</cx:pt>
          <cx:pt idx="656">0.54444953263236373</cx:pt>
          <cx:pt idx="657">0.54837599009184179</cx:pt>
          <cx:pt idx="658">0.55413129525864591</cx:pt>
          <cx:pt idx="659">0.55114811578115153</cx:pt>
          <cx:pt idx="660">0.55759500226512249</cx:pt>
          <cx:pt idx="661">0.5537560644017836</cx:pt>
          <cx:pt idx="662">0.541816511387056</cx:pt>
          <cx:pt idx="663">0.5409671951992201</cx:pt>
          <cx:pt idx="664">0.53982389798545483</cx:pt>
          <cx:pt idx="665">0.53243354635340079</cx:pt>
          <cx:pt idx="666">0.51934474234093764</cx:pt>
          <cx:pt idx="667">0.49849819749695368</cx:pt>
          <cx:pt idx="668">0.4947489227218822</cx:pt>
          <cx:pt idx="669">0.49884529636061348</cx:pt>
          <cx:pt idx="670">0.48632675262797131</cx:pt>
          <cx:pt idx="671">0.47536478562623879</cx:pt>
          <cx:pt idx="672">0.45608629445470594</cx:pt>
          <cx:pt idx="673">0.42695772084743305</cx:pt>
          <cx:pt idx="674">0.37715823070891175</cx:pt>
          <cx:pt idx="675">0.35581452312376782</cx:pt>
          <cx:pt idx="676">0.31554611016143885</cx:pt>
          <cx:pt idx="677">0.32065856658554254</cx:pt>
          <cx:pt idx="678">0.3233379360508632</cx:pt>
          <cx:pt idx="679">0.32481695586373605</cx:pt>
          <cx:pt idx="680">0.31077554079674102</cx:pt>
          <cx:pt idx="681">0.30462120522406455</cx:pt>
          <cx:pt idx="682">0.30968080051193603</cx:pt>
          <cx:pt idx="683">0.30865459827088504</cx:pt>
          <cx:pt idx="684">0.28146023128568631</cx:pt>
          <cx:pt idx="685">0.29873017263194385</cx:pt>
          <cx:pt idx="686">0.31293418665061884</cx:pt>
          <cx:pt idx="687">0.3144746013104795</cx:pt>
          <cx:pt idx="688">0.30405623242780655</cx:pt>
          <cx:pt idx="689">0.30459056837569792</cx:pt>
          <cx:pt idx="690">0.29604600570307116</cx:pt>
          <cx:pt idx="691">0.30193149607594161</cx:pt>
          <cx:pt idx="692">0.29836614404190043</cx:pt>
          <cx:pt idx="693">0.29783508820047039</cx:pt>
          <cx:pt idx="694">0.32279180187351414</cx:pt>
          <cx:pt idx="695">0.31587246588372647</cx:pt>
          <cx:pt idx="696">0.31309004013925901</cx:pt>
          <cx:pt idx="697">0.32432050446439531</cx:pt>
          <cx:pt idx="698">0.32109688110012369</cx:pt>
          <cx:pt idx="699">0.31413047734904764</cx:pt>
          <cx:pt idx="700">0.3258553237489254</cx:pt>
          <cx:pt idx="701">0.33783802292601212</cx:pt>
          <cx:pt idx="702">0.3525183835356685</cx:pt>
          <cx:pt idx="703">0.34758580055737748</cx:pt>
          <cx:pt idx="704">0.34674142252922313</cx:pt>
          <cx:pt idx="705">0.34842123047550239</cx:pt>
          <cx:pt idx="706">0.34179703662089411</cx:pt>
          <cx:pt idx="707">0.32870643423911372</cx:pt>
          <cx:pt idx="708">0.32551010126386853</cx:pt>
          <cx:pt idx="709">0.32021061517658594</cx:pt>
          <cx:pt idx="710">0.32635459307414094</cx:pt>
          <cx:pt idx="711">0.33254686596561867</cx:pt>
          <cx:pt idx="712">0.32191814274313424</cx:pt>
          <cx:pt idx="713">0.32270315803963129</cx:pt>
          <cx:pt idx="714">0.31430162875489392</cx:pt>
          <cx:pt idx="715">0.30432171944929293</cx:pt>
          <cx:pt idx="716">0.30387791028036987</cx:pt>
          <cx:pt idx="717">0.30383705098036018</cx:pt>
          <cx:pt idx="718">0.30423806355459576</cx:pt>
          <cx:pt idx="719">0.3101978676750628</cx:pt>
          <cx:pt idx="720">0.31858632096857437</cx:pt>
          <cx:pt idx="721">0.31884626725650178</cx:pt>
          <cx:pt idx="722">0.32182586436376687</cx:pt>
          <cx:pt idx="723">0.32150848305454943</cx:pt>
          <cx:pt idx="724">0.30778557234807424</cx:pt>
          <cx:pt idx="725">0.31100275765118518</cx:pt>
          <cx:pt idx="726">0.30949462305925191</cx:pt>
          <cx:pt idx="727">0.2941468450646138</cx:pt>
          <cx:pt idx="728">0.29493812848323647</cx:pt>
          <cx:pt idx="729">0.29205123939515337</cx:pt>
          <cx:pt idx="730">0.26590026509038417</cx:pt>
          <cx:pt idx="731">0.26592009296338609</cx:pt>
          <cx:pt idx="732">0.25173204955278772</cx:pt>
          <cx:pt idx="733">0.24836607651945242</cx:pt>
          <cx:pt idx="734">0.24836614900020917</cx:pt>
          <cx:pt idx="735">0.24120272917797045</cx:pt>
          <cx:pt idx="736">0.24196425482715314</cx:pt>
          <cx:pt idx="737">0.24348945184479906</cx:pt>
          <cx:pt idx="738">0.24392197280154707</cx:pt>
          <cx:pt idx="739">0.2761234501742007</cx:pt>
          <cx:pt idx="740">0.27262848773276649</cx:pt>
          <cx:pt idx="741">0.27233678307262893</cx:pt>
          <cx:pt idx="742">0.27859600259961825</cx:pt>
          <cx:pt idx="743">0.27826172528636062</cx:pt>
          <cx:pt idx="744">0.27597559536659771</cx:pt>
          <cx:pt idx="745">0.27752648411930175</cx:pt>
          <cx:pt idx="746">0.27315687059688498</cx:pt>
          <cx:pt idx="747">0.29402953173803548</cx:pt>
          <cx:pt idx="748">0.2936798850791727</cx:pt>
          <cx:pt idx="749">0.28313126921976811</cx:pt>
          <cx:pt idx="750">0.27734468777563404</cx:pt>
          <cx:pt idx="751">0.27489009224754668</cx:pt>
          <cx:pt idx="752">0.28739760824533267</cx:pt>
          <cx:pt idx="753">0.28902750443564612</cx:pt>
          <cx:pt idx="754">0.29322246157332199</cx:pt>
          <cx:pt idx="755">0.29160139867210028</cx:pt>
          <cx:pt idx="756">0.29385482699104337</cx:pt>
          <cx:pt idx="757">0.29245273430203689</cx:pt>
          <cx:pt idx="758">0.28399032702698879</cx:pt>
          <cx:pt idx="759">0.28320365486101967</cx:pt>
          <cx:pt idx="760">0.28369184145714854</cx:pt>
          <cx:pt idx="761">0.28200800091249623</cx:pt>
          <cx:pt idx="762">0.28398002376315507</cx:pt>
          <cx:pt idx="763">0.29192181984592858</cx:pt>
          <cx:pt idx="764">0.29354782796335316</cx:pt>
          <cx:pt idx="765">0.29349972947533698</cx:pt>
          <cx:pt idx="766">0.2926516102700788</cx:pt>
          <cx:pt idx="767">0.29231484257872614</cx:pt>
          <cx:pt idx="768">0.28984175589626082</cx:pt>
          <cx:pt idx="769">0.2795836368816571</cx:pt>
          <cx:pt idx="770">0.27590149257659702</cx:pt>
          <cx:pt idx="771">0.27442704536369134</cx:pt>
          <cx:pt idx="772">0.26212700088783736</cx:pt>
          <cx:pt idx="773">0.27206598772779328</cx:pt>
          <cx:pt idx="774">0.27286563428425503</cx:pt>
          <cx:pt idx="775">0.26546244212844033</cx:pt>
          <cx:pt idx="776">0.2689942208198482</cx:pt>
          <cx:pt idx="777">0.24733236067001874</cx:pt>
          <cx:pt idx="778">0.2624351309014985</cx:pt>
          <cx:pt idx="779">0.26198518727904041</cx:pt>
          <cx:pt idx="780">0.25859292872311929</cx:pt>
          <cx:pt idx="781">0.25754831286146979</cx:pt>
          <cx:pt idx="782">0.26939512357808965</cx:pt>
          <cx:pt idx="783">0.27347232830726642</cx:pt>
          <cx:pt idx="784">0.27793976993921354</cx:pt>
          <cx:pt idx="785">0.27808234710782687</cx:pt>
          <cx:pt idx="786">0.27835388460935812</cx:pt>
          <cx:pt idx="787">0.27123005266996014</cx:pt>
          <cx:pt idx="788">0.29858793045927934</cx:pt>
          <cx:pt idx="789">0.29887062385956908</cx:pt>
          <cx:pt idx="790">0.3024094513910684</cx:pt>
          <cx:pt idx="791">0.30258647874239081</cx:pt>
          <cx:pt idx="792">0.30224131859025172</cx:pt>
          <cx:pt idx="793">0.30145597225753179</cx:pt>
          <cx:pt idx="794">0.29986027827632</cx:pt>
          <cx:pt idx="795">0.29977934396181588</cx:pt>
          <cx:pt idx="796">0.2982177777166633</cx:pt>
          <cx:pt idx="797">0.29569650527032154</cx:pt>
          <cx:pt idx="798">0.30122982066060627</cx:pt>
          <cx:pt idx="799">0.29034758345090822</cx:pt>
          <cx:pt idx="800">0.29122064051912194</cx:pt>
          <cx:pt idx="801">0.27729318989797269</cx:pt>
          <cx:pt idx="802">0.28125927467480538</cx:pt>
          <cx:pt idx="803">0.27094425287136886</cx:pt>
          <cx:pt idx="804">0.27290997217212171</cx:pt>
          <cx:pt idx="805">0.30372575946902469</cx:pt>
          <cx:pt idx="806">0.30207405115986435</cx:pt>
          <cx:pt idx="807">0.31647621195767228</cx:pt>
          <cx:pt idx="808">0.31271905566897928</cx:pt>
          <cx:pt idx="809">0.30984037855624436</cx:pt>
          <cx:pt idx="810">0.31133904767302906</cx:pt>
          <cx:pt idx="811">0.31077333044288785</cx:pt>
          <cx:pt idx="812">0.28839399283601291</cx:pt>
          <cx:pt idx="813">0.28654381551918195</cx:pt>
          <cx:pt idx="814">0.27785270845862808</cx:pt>
          <cx:pt idx="815">0.27803489173225243</cx:pt>
          <cx:pt idx="816">0.27597708001433435</cx:pt>
          <cx:pt idx="817">0.27801921553762915</cx:pt>
          <cx:pt idx="818">0.25096900643032721</cx:pt>
          <cx:pt idx="819">0.24952747042691237</cx:pt>
          <cx:pt idx="820">0.24308939251543002</cx:pt>
          <cx:pt idx="821">0.26975957541297968</cx:pt>
          <cx:pt idx="822">0.28336652376896482</cx:pt>
          <cx:pt idx="823">0.2942741785070801</cx:pt>
          <cx:pt idx="824">0.31097092836030021</cx:pt>
          <cx:pt idx="825">0.31815418443457383</cx:pt>
          <cx:pt idx="826">0.32060338169985325</cx:pt>
          <cx:pt idx="827">0.32575046538094804</cx:pt>
          <cx:pt idx="828">0.32079313393864478</cx:pt>
          <cx:pt idx="829">0.32205484180092275</cx:pt>
          <cx:pt idx="830">0.32261225333625337</cx:pt>
          <cx:pt idx="831">0.33552039237929715</cx:pt>
          <cx:pt idx="832">0.33327022425969222</cx:pt>
          <cx:pt idx="833">0.34933691681268048</cx:pt>
          <cx:pt idx="834">0.3459866084099964</cx:pt>
          <cx:pt idx="835">0.32227726488386133</cx:pt>
          <cx:pt idx="836">0.32949617949187832</cx:pt>
          <cx:pt idx="837">0.3178649197595495</cx:pt>
          <cx:pt idx="838">0.30952934644170649</cx:pt>
          <cx:pt idx="839">0.31142454963410687</cx:pt>
          <cx:pt idx="840">0.30956584817469768</cx:pt>
          <cx:pt idx="841">0.30872125511135895</cx:pt>
          <cx:pt idx="842">0.31847737691719669</cx:pt>
          <cx:pt idx="843">0.31987881906724486</cx:pt>
          <cx:pt idx="844">0.31974011769267496</cx:pt>
          <cx:pt idx="845">0.32156492479332588</cx:pt>
          <cx:pt idx="846">0.32921174889302207</cx:pt>
          <cx:pt idx="847">0.34026259539343345</cx:pt>
          <cx:pt idx="848">0.34045225487355457</cx:pt>
          <cx:pt idx="849">0.34467610547077465</cx:pt>
          <cx:pt idx="850">0.34458085928201987</cx:pt>
          <cx:pt idx="851">0.32227545292020671</cx:pt>
          <cx:pt idx="852">0.31340260037294165</cx:pt>
          <cx:pt idx="853">0.29533344353656354</cx:pt>
          <cx:pt idx="854">0.28440307839082124</cx:pt>
          <cx:pt idx="855">0.27716429430293504</cx:pt>
          <cx:pt idx="856">0.29341902080330834</cx:pt>
          <cx:pt idx="857">0.29145726812054112</cx:pt>
          <cx:pt idx="858">0.29215251428705657</cx:pt>
          <cx:pt idx="859">0.30085637989753838</cx:pt>
          <cx:pt idx="860">0.30245586048391931</cx:pt>
          <cx:pt idx="861">0.28438825515846161</cx:pt>
          <cx:pt idx="862">0.28609451651233192</cx:pt>
          <cx:pt idx="863">0.26434342303228175</cx:pt>
          <cx:pt idx="864">0.28014695680266233</cx:pt>
          <cx:pt idx="865">0.28077852087168487</cx:pt>
          <cx:pt idx="866">0.27153144630544623</cx:pt>
          <cx:pt idx="867">0.27613389356650525</cx:pt>
          <cx:pt idx="868">0.2918424941041764</cx:pt>
          <cx:pt idx="869">0.29130808690652354</cx:pt>
          <cx:pt idx="870">0.29130975082454175</cx:pt>
          <cx:pt idx="871">0.29123462436509479</cx:pt>
          <cx:pt idx="872">0.31308149132440499</cx:pt>
          <cx:pt idx="873">0.31707827993864585</cx:pt>
          <cx:pt idx="874">0.32024872534994586</cx:pt>
          <cx:pt idx="875">0.31883164735477199</cx:pt>
          <cx:pt idx="876">0.31870618897831299</cx:pt>
          <cx:pt idx="877">0.3058401252360875</cx:pt>
          <cx:pt idx="878">0.30926874755929579</cx:pt>
          <cx:pt idx="879">0.30335628796268971</cx:pt>
          <cx:pt idx="880">0.30600676413148215</cx:pt>
          <cx:pt idx="881">0.31049884144572193</cx:pt>
          <cx:pt idx="882">0.31009687211741011</cx:pt>
          <cx:pt idx="883">0.31033656843792007</cx:pt>
          <cx:pt idx="884">0.30385276530598782</cx:pt>
          <cx:pt idx="885">0.30649051082384376</cx:pt>
          <cx:pt idx="886">0.31213382491681235</cx:pt>
          <cx:pt idx="887">0.3179696808637546</cx:pt>
          <cx:pt idx="888">0.31817870918289815</cx:pt>
          <cx:pt idx="889">0.31521577387173255</cx:pt>
          <cx:pt idx="890">0.32226143547545144</cx:pt>
          <cx:pt idx="891">0.34894789200095661</cx:pt>
          <cx:pt idx="892">0.3493485612469801</cx:pt>
          <cx:pt idx="893">0.34912556675123829</cx:pt>
          <cx:pt idx="894">0.34060658485553363</cx:pt>
          <cx:pt idx="895">0.3417400270547658</cx:pt>
          <cx:pt idx="896">0.34389980392747493</cx:pt>
          <cx:pt idx="897">0.34480109169530665</cx:pt>
          <cx:pt idx="898">0.33404758829661735</cx:pt>
          <cx:pt idx="899">0.33338546151106452</cx:pt>
          <cx:pt idx="900">0.3395621688940117</cx:pt>
          <cx:pt idx="901">0.33988721777717112</cx:pt>
          <cx:pt idx="902">0.31520895207440763</cx:pt>
          <cx:pt idx="903">0.30449639525507544</cx:pt>
          <cx:pt idx="904">0.29785312932667884</cx:pt>
          <cx:pt idx="905">0.32055798858772522</cx:pt>
          <cx:pt idx="906">0.3201773739315526</cx:pt>
          <cx:pt idx="907">0.32970149165897256</cx:pt>
          <cx:pt idx="908">0.32585477264469603</cx:pt>
          <cx:pt idx="909">0.32868928148585752</cx:pt>
          <cx:pt idx="910">0.33820860690066229</cx:pt>
          <cx:pt idx="911">0.33429699974375987</cx:pt>
          <cx:pt idx="912">0.3452362593296045</cx:pt>
          <cx:pt idx="913">0.34663950391364384</cx:pt>
          <cx:pt idx="914">0.34544074324526691</cx:pt>
          <cx:pt idx="915">0.33656265068452396</cx:pt>
          <cx:pt idx="916">0.32237639112609195</cx:pt>
          <cx:pt idx="917">0.31968529337824236</cx:pt>
          <cx:pt idx="918">0.34956112366284819</cx:pt>
          <cx:pt idx="919">0.34279105139618382</cx:pt>
          <cx:pt idx="920">0.33541018730710542</cx:pt>
          <cx:pt idx="921">0.30977295524135084</cx:pt>
          <cx:pt idx="922">0.30987020783454056</cx:pt>
          <cx:pt idx="923">0.30936013702691045</cx:pt>
          <cx:pt idx="924">0.30941699128348304</cx:pt>
          <cx:pt idx="925">0.30847421732098801</cx:pt>
          <cx:pt idx="926">0.2992565477669939</cx:pt>
          <cx:pt idx="927">0.2950345402061551</cx:pt>
          <cx:pt idx="928">0.2961041790787437</cx:pt>
          <cx:pt idx="929">0.29630632611043384</cx:pt>
          <cx:pt idx="930">0.29234997897148862</cx:pt>
          <cx:pt idx="931">0.29519174638012635</cx:pt>
          <cx:pt idx="932">0.3157040894186865</cx:pt>
          <cx:pt idx="933">0.31574110100769581</cx:pt>
          <cx:pt idx="934">0.32665807276806663</cx:pt>
          <cx:pt idx="935">0.30814750880032421</cx:pt>
          <cx:pt idx="936">0.30116526810345079</cx:pt>
          <cx:pt idx="937">0.29420704921372864</cx:pt>
          <cx:pt idx="938">0.29434925401786066</cx:pt>
          <cx:pt idx="939">0.29699672702012481</cx:pt>
          <cx:pt idx="940">0.29650405260477464</cx:pt>
          <cx:pt idx="941">0.29578034284365823</cx:pt>
          <cx:pt idx="942">0.28519643717098186</cx:pt>
          <cx:pt idx="943">0.29088213025088744</cx:pt>
          <cx:pt idx="944">0.29335303045180883</cx:pt>
          <cx:pt idx="945">0.28859355865010877</cx:pt>
          <cx:pt idx="946">0.28250963993883804</cx:pt>
          <cx:pt idx="947">0.29692863161541672</cx:pt>
          <cx:pt idx="948">0.28426566126579406</cx:pt>
          <cx:pt idx="949">0.28650075073084247</cx:pt>
          <cx:pt idx="950">0.28730051645968874</cx:pt>
          <cx:pt idx="951">0.28765897226828097</cx:pt>
          <cx:pt idx="952">0.29394352766207993</cx:pt>
          <cx:pt idx="953">0.30000947166741671</cx:pt>
          <cx:pt idx="954">0.30170649233142743</cx:pt>
          <cx:pt idx="955">0.29937478995140998</cx:pt>
          <cx:pt idx="956">0.29704443742355596</cx:pt>
          <cx:pt idx="957">0.2925701844424865</cx:pt>
          <cx:pt idx="958">0.29595929408405125</cx:pt>
          <cx:pt idx="959">0.29944721144291847</cx:pt>
          <cx:pt idx="960">0.29833414808700398</cx:pt>
          <cx:pt idx="961">0.29751260070287383</cx:pt>
          <cx:pt idx="962">0.28367803334074998</cx:pt>
          <cx:pt idx="963">0.28520877164405006</cx:pt>
          <cx:pt idx="964">0.27409026798187142</cx:pt>
          <cx:pt idx="965">0.2700255882398015</cx:pt>
          <cx:pt idx="966">0.27035858953548658</cx:pt>
          <cx:pt idx="967">0.26187786022891196</cx:pt>
          <cx:pt idx="968">0.26851233389912382</cx:pt>
          <cx:pt idx="969">0.25953693322777099</cx:pt>
          <cx:pt idx="970">0.27545318418792231</cx:pt>
          <cx:pt idx="971">0.27674341904807837</cx:pt>
          <cx:pt idx="972">0.27632275547066953</cx:pt>
          <cx:pt idx="973">0.27655806491810481</cx:pt>
          <cx:pt idx="974">0.27447284599803151</cx:pt>
          <cx:pt idx="975">0.27446193288560328</cx:pt>
          <cx:pt idx="976">0.28579670197079066</cx:pt>
          <cx:pt idx="977">0.26728703883816918</cx:pt>
          <cx:pt idx="978">0.25461888798681093</cx:pt>
          <cx:pt idx="979">0.24754870951664693</cx:pt>
          <cx:pt idx="980">0.25560499921829838</cx:pt>
          <cx:pt idx="981">0.25281301695790148</cx:pt>
          <cx:pt idx="982">0.25359052056628256</cx:pt>
          <cx:pt idx="983">0.26574558753228694</cx:pt>
          <cx:pt idx="984">0.26032316311960702</cx:pt>
          <cx:pt idx="985">0.26945992471787189</cx:pt>
          <cx:pt idx="986">0.28146865035870788</cx:pt>
          <cx:pt idx="987">0.28487936749280834</cx:pt>
          <cx:pt idx="988">0.31373617134328458</cx:pt>
          <cx:pt idx="989">0.31604624306359885</cx:pt>
          <cx:pt idx="990">0.31885066417232172</cx:pt>
          <cx:pt idx="991">0.31863608182394071</cx:pt>
          <cx:pt idx="992">0.31677664114568388</cx:pt>
          <cx:pt idx="993">0.32273772597860018</cx:pt>
          <cx:pt idx="994">0.32757914044595471</cx:pt>
          <cx:pt idx="995">0.33235476083316506</cx:pt>
          <cx:pt idx="996">0.33506485382934281</cx:pt>
          <cx:pt idx="997">0.33544290737533428</cx:pt>
          <cx:pt idx="998">0.32813283812129596</cx:pt>
          <cx:pt idx="999">0.33021658938905396</cx:pt>
          <cx:pt idx="1000">0.30862063649632804</cx:pt>
          <cx:pt idx="1001">0.30807379733489498</cx:pt>
          <cx:pt idx="1002">0.3077259039261393</cx:pt>
          <cx:pt idx="1003">0.30190295427617897</cx:pt>
          <cx:pt idx="1004">0.3018191812635812</cx:pt>
          <cx:pt idx="1005">0.32033334633540139</cx:pt>
          <cx:pt idx="1006">0.30775922887352752</cx:pt>
          <cx:pt idx="1007">0.30913189345291225</cx:pt>
          <cx:pt idx="1008">0.32252123922259213</cx:pt>
          <cx:pt idx="1009">0.32314616854079548</cx:pt>
          <cx:pt idx="1010">0.30794865888583395</cx:pt>
          <cx:pt idx="1011">0.30547358928424334</cx:pt>
          <cx:pt idx="1012">0.32025457191143242</cx:pt>
          <cx:pt idx="1013">0.31103996553397834</cx:pt>
          <cx:pt idx="1014">0.30831322307429126</cx:pt>
          <cx:pt idx="1015">0.30243382779310235</cx:pt>
          <cx:pt idx="1016">0.29096485590834675</cx:pt>
          <cx:pt idx="1017">0.30508530374901771</cx:pt>
          <cx:pt idx="1018">0.28740096105260965</cx:pt>
          <cx:pt idx="1019">0.28129012950677657</cx:pt>
          <cx:pt idx="1020">0.28225247757080552</cx:pt>
          <cx:pt idx="1021">0.29283948095240048</cx:pt>
          <cx:pt idx="1022">0.30639224429772643</cx:pt>
          <cx:pt idx="1023">0.28881009758976556</cx:pt>
          <cx:pt idx="1024">0.28973412354937811</cx:pt>
          <cx:pt idx="1025">0.28815629961853556</cx:pt>
          <cx:pt idx="1026">0.2941322210365202</cx:pt>
          <cx:pt idx="1027">0.29414990136147962</cx:pt>
          <cx:pt idx="1028">0.29531034246637788</cx:pt>
          <cx:pt idx="1029">0.29584406011653164</cx:pt>
          <cx:pt idx="1030">0.29839334917933963</cx:pt>
          <cx:pt idx="1031">0.30659925929347287</cx:pt>
          <cx:pt idx="1032">0.32058298060052182</cx:pt>
          <cx:pt idx="1033">0.32085134405736349</cx:pt>
          <cx:pt idx="1034">0.32214725198307748</cx:pt>
          <cx:pt idx="1035">0.30708196976913182</cx:pt>
          <cx:pt idx="1036">0.30956885569056253</cx:pt>
          <cx:pt idx="1037">0.30853576591327952</cx:pt>
          <cx:pt idx="1038">0.29111131157411008</cx:pt>
          <cx:pt idx="1039">0.29924467006096656</cx:pt>
          <cx:pt idx="1040">0.30981968406761845</cx:pt>
          <cx:pt idx="1041">0.34201094949560007</cx:pt>
          <cx:pt idx="1042">0.36097596299413065</cx:pt>
          <cx:pt idx="1043">0.38797129720144963</cx:pt>
          <cx:pt idx="1044">0.42772737209978118</cx:pt>
          <cx:pt idx="1045">0.44323063353471198</cx:pt>
          <cx:pt idx="1046">0.47253408039669886</cx:pt>
          <cx:pt idx="1047">0.47202916959588187</cx:pt>
          <cx:pt idx="1048">0.48641918818203206</cx:pt>
          <cx:pt idx="1049">0.50434514352314341</cx:pt>
          <cx:pt idx="1050">0.5202590800812269</cx:pt>
          <cx:pt idx="1051">0.5283743784847551</cx:pt>
          <cx:pt idx="1052">0.54750981486977035</cx:pt>
          <cx:pt idx="1053">0.54958876673351575</cx:pt>
          <cx:pt idx="1054">0.55899185622836944</cx:pt>
          <cx:pt idx="1055">0.56219297323144835</cx:pt>
          <cx:pt idx="1056">0.55958068634536862</cx:pt>
          <cx:pt idx="1057">0.55736176196081033</cx:pt>
          <cx:pt idx="1058">0.54939333342250007</cx:pt>
          <cx:pt idx="1059">0.54790102025015941</cx:pt>
          <cx:pt idx="1060">0.54784460918202771</cx:pt>
          <cx:pt idx="1061">0.5221085689753151</cx:pt>
          <cx:pt idx="1062">0.48280150225622559</cx:pt>
          <cx:pt idx="1063">0.45982520431459734</cx:pt>
          <cx:pt idx="1064">0.42943678322099149</cx:pt>
          <cx:pt idx="1065">0.40329417647952975</cx:pt>
          <cx:pt idx="1066">0.35678966649540483</cx:pt>
          <cx:pt idx="1067">0.32316370138760653</cx:pt>
          <cx:pt idx="1068">0.28221507930091699</cx:pt>
          <cx:pt idx="1069">0.14694546498333716</cx:pt>
          <cx:pt idx="1070">0.11579672333666011</cx:pt>
          <cx:pt idx="1071">0.1211492690858663</cx:pt>
          <cx:pt idx="1072">0.12159090746773253</cx:pt>
          <cx:pt idx="1073">0.13992829467139395</cx:pt>
          <cx:pt idx="1074">0.14102877744958928</cx:pt>
          <cx:pt idx="1075">0.15315835619523607</cx:pt>
          <cx:pt idx="1076">0.16131708980082837</cx:pt>
          <cx:pt idx="1077">0.16264831298746443</cx:pt>
          <cx:pt idx="1078">0.16212974706283056</cx:pt>
          <cx:pt idx="1079">0.16291470009402984</cx:pt>
          <cx:pt idx="1080">0.16683086654476259</cx:pt>
          <cx:pt idx="1081">0.16591459560401645</cx:pt>
          <cx:pt idx="1082">0.16870813245843394</cx:pt>
          <cx:pt idx="1083">0.18066521910105279</cx:pt>
          <cx:pt idx="1084">0.18141224812480186</cx:pt>
          <cx:pt idx="1085">0.34178700340390999</cx:pt>
          <cx:pt idx="1086">0.42258321578841712</cx:pt>
          <cx:pt idx="1087">0.4608472917875383</cx:pt>
          <cx:pt idx="1088">0.49855935379568328</cx:pt>
          <cx:pt idx="1089">0.51216689905936363</cx:pt>
          <cx:pt idx="1090">0.54918366045144862</cx:pt>
          <cx:pt idx="1091">0.60465027706501717</cx:pt>
          <cx:pt idx="1092">0.63028766298954164</cx:pt>
          <cx:pt idx="1093">0.65110032380164384</cx:pt>
          <cx:pt idx="1094">0.68296128653894528</cx:pt>
          <cx:pt idx="1095">0.6997388532288229</cx:pt>
          <cx:pt idx="1096">0.73073140820090066</cx:pt>
          <cx:pt idx="1097">0.72432322090350132</cx:pt>
          <cx:pt idx="1098">0.72610364413605766</cx:pt>
          <cx:pt idx="1099">0.71903847646358132</cx:pt>
          <cx:pt idx="1100">0.70971318046710252</cx:pt>
          <cx:pt idx="1101">0.69424839084428125</cx:pt>
          <cx:pt idx="1102">0.69070675848929097</cx:pt>
          <cx:pt idx="1103">0.68855542214549381</cx:pt>
          <cx:pt idx="1104">0.66785798560743981</cx:pt>
          <cx:pt idx="1105">0.63367770382565758</cx:pt>
          <cx:pt idx="1106">0.63010787512074218</cx:pt>
          <cx:pt idx="1107">0.60913257844165081</cx:pt>
          <cx:pt idx="1108">0.5877486485520933</cx:pt>
          <cx:pt idx="1109">0.55615473417012351</cx:pt>
          <cx:pt idx="1110">0.51223673758838739</cx:pt>
          <cx:pt idx="1111">0.48716283835041402</cx:pt>
          <cx:pt idx="1112">0.42891058687052147</cx:pt>
          <cx:pt idx="1113">0.33605801445370004</cx:pt>
          <cx:pt idx="1114">0.29270104913112832</cx:pt>
          <cx:pt idx="1115">0.28214188950374247</cx:pt>
          <cx:pt idx="1116">0.28122025698776548</cx:pt>
          <cx:pt idx="1117">0.28180585137600289</cx:pt>
          <cx:pt idx="1118">0.29051312214260006</cx:pt>
          <cx:pt idx="1119">0.30419273041602807</cx:pt>
          <cx:pt idx="1120">0.31485287884907126</cx:pt>
          <cx:pt idx="1121">0.32554902313784273</cx:pt>
          <cx:pt idx="1122">0.32393347746926215</cx:pt>
          <cx:pt idx="1123">0.32770160473067161</cx:pt>
          <cx:pt idx="1124">0.32204261367462433</cx:pt>
          <cx:pt idx="1125">0.31926886955286699</cx:pt>
          <cx:pt idx="1126">0.30635554119451774</cx:pt>
          <cx:pt idx="1127">0.31932777968187276</cx:pt>
          <cx:pt idx="1128">0.31866086861718496</cx:pt>
          <cx:pt idx="1129">0.3206081780388374</cx:pt>
          <cx:pt idx="1130">0.33491370451887764</cx:pt>
          <cx:pt idx="1131">0.34300304559444034</cx:pt>
          <cx:pt idx="1132">0.34092895564744363</cx:pt>
          <cx:pt idx="1133">0.34481185258974256</cx:pt>
          <cx:pt idx="1134">0.34007821807390354</cx:pt>
          <cx:pt idx="1135">0.3384037224727855</cx:pt>
          <cx:pt idx="1136">0.33808272006523937</cx:pt>
          <cx:pt idx="1137">0.33911144221177802</cx:pt>
          <cx:pt idx="1138">0.33545490739775052</cx:pt>
          <cx:pt idx="1139">0.34316457303796966</cx:pt>
          <cx:pt idx="1140">0.35539027322426836</cx:pt>
          <cx:pt idx="1141">0.35472348091020162</cx:pt>
          <cx:pt idx="1142">0.35365305542906939</cx:pt>
          <cx:pt idx="1143">0.35319199213402874</cx:pt>
          <cx:pt idx="1144">0.34691418055812584</cx:pt>
          <cx:pt idx="1145">0.35923636401025838</cx:pt>
          <cx:pt idx="1146">0.35527142250929256</cx:pt>
          <cx:pt idx="1147">0.36096972992018983</cx:pt>
          <cx:pt idx="1148">0.36031892344367999</cx:pt>
          <cx:pt idx="1149">0.35049590933638519</cx:pt>
          <cx:pt idx="1150">0.34980631584206073</cx:pt>
          <cx:pt idx="1151">0.33964674707346931</cx:pt>
          <cx:pt idx="1152">0.33893252692990927</cx:pt>
          <cx:pt idx="1153">0.34033620323500896</cx:pt>
          <cx:pt idx="1154">0.33609451644216559</cx:pt>
          <cx:pt idx="1155">0.34547393553275546</cx:pt>
          <cx:pt idx="1156">0.34063466668318082</cx:pt>
          <cx:pt idx="1157">0.35436994530876692</cx:pt>
          <cx:pt idx="1158">0.37773056952976825</cx:pt>
          <cx:pt idx="1159">0.37652158567348271</cx:pt>
          <cx:pt idx="1160">0.37645733499454065</cx:pt>
          <cx:pt idx="1161">0.38432644460428717</cx:pt>
          <cx:pt idx="1162">0.38566264915747689</cx:pt>
          <cx:pt idx="1163">0.37580417480915207</cx:pt>
          <cx:pt idx="1164">0.38156120873884314</cx:pt>
          <cx:pt idx="1165">0.39082435738526516</cx:pt>
          <cx:pt idx="1166">0.39193980692226649</cx:pt>
          <cx:pt idx="1167">0.38951835367052695</cx:pt>
          <cx:pt idx="1168">0.39416646832743346</cx:pt>
          <cx:pt idx="1169">0.38950443872192447</cx:pt>
          <cx:pt idx="1170">0.37712537026333731</cx:pt>
          <cx:pt idx="1171">0.37963579530855812</cx:pt>
          <cx:pt idx="1172">0.38454620056497163</cx:pt>
          <cx:pt idx="1173">0.38637617849011147</cx:pt>
          <cx:pt idx="1174">0.38307136256794205</cx:pt>
          <cx:pt idx="1175">0.37287759977541052</cx:pt>
          <cx:pt idx="1176">0.38379587120961045</cx:pt>
          <cx:pt idx="1177">0.38022667305770019</cx:pt>
          <cx:pt idx="1178">0.37486461404813548</cx:pt>
          <cx:pt idx="1179">0.3692561797637211</cx:pt>
          <cx:pt idx="1180">0.36237256588849243</cx:pt>
          <cx:pt idx="1181">0.34671547659383228</cx:pt>
          <cx:pt idx="1182">0.35374492190464696</cx:pt>
          <cx:pt idx="1183">0.34494144881617889</cx:pt>
          <cx:pt idx="1184">0.34750448270867529</cx:pt>
          <cx:pt idx="1185">0.33989484946320525</cx:pt>
          <cx:pt idx="1186">0.33882120057633341</cx:pt>
          <cx:pt idx="1187">0.31648552859944984</cx:pt>
          <cx:pt idx="1188">0.29056922468012386</cx:pt>
          <cx:pt idx="1189">0.30247971350137565</cx:pt>
          <cx:pt idx="1190">0.29474687770452584</cx:pt>
          <cx:pt idx="1191">0.29330606018634425</cx:pt>
          <cx:pt idx="1192">0.29343415327114514</cx:pt>
          <cx:pt idx="1193">0.32411350578361053</cx:pt>
          <cx:pt idx="1194">0.34286401815332435</cx:pt>
          <cx:pt idx="1195">0.33587348916199189</cx:pt>
          <cx:pt idx="1196">0.34229334861959626</cx:pt>
          <cx:pt idx="1197">0.34452000863522408</cx:pt>
          <cx:pt idx="1198">0.34308607726103818</cx:pt>
          <cx:pt idx="1199">0.3449493769342365</cx:pt>
          <cx:pt idx="1200">0.36060931106752148</cx:pt>
          <cx:pt idx="1201">0.35761792240770568</cx:pt>
          <cx:pt idx="1202">0.35644562984274142</cx:pt>
          <cx:pt idx="1203">0.35366611039802071</cx:pt>
          <cx:pt idx="1204">0.35315978618562893</cx:pt>
          <cx:pt idx="1205">0.35084186119626831</cx:pt>
          <cx:pt idx="1206">0.33863676220614491</cx:pt>
          <cx:pt idx="1207">0.341219148157626</cx:pt>
          <cx:pt idx="1208">0.35329080871542579</cx:pt>
          <cx:pt idx="1209">0.35296491606301994</cx:pt>
          <cx:pt idx="1210">0.35035542135470671</cx:pt>
          <cx:pt idx="1211">0.37511287776734087</cx:pt>
          <cx:pt idx="1212">0.38620546151856389</cx:pt>
          <cx:pt idx="1213">0.3963688490128226</cx:pt>
          <cx:pt idx="1214">0.39176292533625678</cx:pt>
          <cx:pt idx="1215">0.39202493431219249</cx:pt>
          <cx:pt idx="1216">0.38402270938419836</cx:pt>
          <cx:pt idx="1217">0.39137143435403127</cx:pt>
          <cx:pt idx="1218">0.38941888276577774</cx:pt>
          <cx:pt idx="1219">0.38286706236755519</cx:pt>
          <cx:pt idx="1220">0.3839536125391132</cx:pt>
          <cx:pt idx="1221">0.38663310630260844</cx:pt>
          <cx:pt idx="1222">0.38645527787079748</cx:pt>
          <cx:pt idx="1223">0.37149878338969983</cx:pt>
          <cx:pt idx="1224">0.3609836026746478</cx:pt>
          <cx:pt idx="1225">0.35871173830493752</cx:pt>
          <cx:pt idx="1226">0.36977503142302576</cx:pt>
          <cx:pt idx="1227">0.36412915274726654</cx:pt>
          <cx:pt idx="1228">0.36123794169886414</cx:pt>
          <cx:pt idx="1229">0.36190079031331129</cx:pt>
          <cx:pt idx="1230">0.35561425506572536</cx:pt>
          <cx:pt idx="1231">0.3526628719549364</cx:pt>
          <cx:pt idx="1232">0.34623193942781361</cx:pt>
          <cx:pt idx="1233">0.393827138545436</cx:pt>
          <cx:pt idx="1234">0.42315901146007096</cx:pt>
          <cx:pt idx="1235">0.44351391296195741</cx:pt>
          <cx:pt idx="1236">0.47572783066575902</cx:pt>
          <cx:pt idx="1237">0.49255658858288642</cx:pt>
          <cx:pt idx="1238">0.51138280103096001</cx:pt>
          <cx:pt idx="1239">0.51612809546200911</cx:pt>
          <cx:pt idx="1240">0.5283341944769967</cx:pt>
          <cx:pt idx="1241">0.52753639840612065</cx:pt>
          <cx:pt idx="1242">0.51589081117686075</cx:pt>
          <cx:pt idx="1243">0.49640900265563415</cx:pt>
          <cx:pt idx="1244">0.50003809078137351</cx:pt>
          <cx:pt idx="1245">0.51110590103663844</cx:pt>
          <cx:pt idx="1246">0.51486760018363276</cx:pt>
          <cx:pt idx="1247">0.51784049513865182</cx:pt>
          <cx:pt idx="1248">0.51676473178934645</cx:pt>
          <cx:pt idx="1249">0.51247036150027736</cx:pt>
          <cx:pt idx="1250">0.52108744440600963</cx:pt>
          <cx:pt idx="1251">0.528901850990384</cx:pt>
          <cx:pt idx="1252">0.51319038749410495</cx:pt>
          <cx:pt idx="1253">0.48005154113760484</cx:pt>
          <cx:pt idx="1254">0.42926798705048425</cx:pt>
          <cx:pt idx="1255">0.41118963507068362</cx:pt>
          <cx:pt idx="1256">0.41766742837692</cx:pt>
          <cx:pt idx="1257">0.38483344565875816</cx:pt>
          <cx:pt idx="1258">0.3422331109941753</cx:pt>
          <cx:pt idx="1259">0.32859834460009957</cx:pt>
          <cx:pt idx="1260">0.31699427165915145</cx:pt>
          <cx:pt idx="1261">0.24310844184091895</cx:pt>
          <cx:pt idx="1262">0.19317941182722528</cx:pt>
          <cx:pt idx="1263">0.1924615364921555</cx:pt>
          <cx:pt idx="1264">0.19413768615713808</cx:pt>
          <cx:pt idx="1265">0.20510649361242711</cx:pt>
          <cx:pt idx="1266">0.20418738633515027</cx:pt>
          <cx:pt idx="1267">0.20580707908979951</cx:pt>
          <cx:pt idx="1268">0.21060632565355489</cx:pt>
          <cx:pt idx="1269">0.20798061019343725</cx:pt>
          <cx:pt idx="1270">0.21182029211240835</cx:pt>
          <cx:pt idx="1271">0.20916637769057672</cx:pt>
          <cx:pt idx="1272">0.20880970990228187</cx:pt>
          <cx:pt idx="1273">0.21179069651555071</cx:pt>
          <cx:pt idx="1274">0.21233090585022191</cx:pt>
          <cx:pt idx="1275">0.20799483568403021</cx:pt>
          <cx:pt idx="1276">0.20797125693288174</cx:pt>
          <cx:pt idx="1277">0.21926817509530441</cx:pt>
          <cx:pt idx="1278">0.27814254785788073</cx:pt>
          <cx:pt idx="1279">0.34401380712413304</cx:pt>
          <cx:pt idx="1280">0.38839812360554532</cx:pt>
          <cx:pt idx="1281">0.3877606548401476</cx:pt>
          <cx:pt idx="1282">0.42426387274553667</cx:pt>
          <cx:pt idx="1283">0.45935500846461047</cx:pt>
          <cx:pt idx="1284">0.47874666167424734</cx:pt>
          <cx:pt idx="1285">0.49980935147695871</cx:pt>
          <cx:pt idx="1286">0.5349433476731853</cx:pt>
          <cx:pt idx="1287">0.53686931756667067</cx:pt>
          <cx:pt idx="1288">0.55334835495146684</cx:pt>
          <cx:pt idx="1289">0.55172721012973802</cx:pt>
          <cx:pt idx="1290">0.55785644894098307</cx:pt>
          <cx:pt idx="1291">0.55104947452702246</cx:pt>
          <cx:pt idx="1292">0.55770762563511134</cx:pt>
          <cx:pt idx="1293">0.55198570106892486</cx:pt>
          <cx:pt idx="1294">0.54318289735415626</cx:pt>
          <cx:pt idx="1295">0.51975220863561544</cx:pt>
          <cx:pt idx="1296">0.51064574646502692</cx:pt>
          <cx:pt idx="1297">0.50804030364037578</cx:pt>
          <cx:pt idx="1298">0.50631252378220204</cx:pt>
          <cx:pt idx="1299">0.49158146367529854</cx:pt>
          <cx:pt idx="1300">0.4629676251503495</cx:pt>
          <cx:pt idx="1301">0.453557063876246</cx:pt>
          <cx:pt idx="1302">0.43835066022287861</cx:pt>
          <cx:pt idx="1303">0.39586462226558583</cx:pt>
          <cx:pt idx="1304">0.3693206783558089</cx:pt>
          <cx:pt idx="1305">0.31531026217829117</cx:pt>
          <cx:pt idx="1306">0.28834212730952624</cx:pt>
          <cx:pt idx="1307">0.27901937015239281</cx:pt>
          <cx:pt idx="1308">0.28194699243101035</cx:pt>
          <cx:pt idx="1309">0.27942652737073437</cx:pt>
          <cx:pt idx="1310">0.28472700817904667</cx:pt>
          <cx:pt idx="1311">0.27326819556279697</cx:pt>
          <cx:pt idx="1312">0.29621874802865544</cx:pt>
          <cx:pt idx="1313">0.30403770469185309</cx:pt>
          <cx:pt idx="1314">0.30617687171400043</cx:pt>
          <cx:pt idx="1315">0.30834543529737402</cx:pt>
          <cx:pt idx="1316">0.30415089661399969</cx:pt>
          <cx:pt idx="1317">0.31055276334355381</cx:pt>
          <cx:pt idx="1318">0.30696222174359472</cx:pt>
          <cx:pt idx="1319">0.33581220722616939</cx:pt>
          <cx:pt idx="1320">0.33660593178892018</cx:pt>
          <cx:pt idx="1321">0.32459985135895442</cx:pt>
          <cx:pt idx="1322">0.32549815701670876</cx:pt>
          <cx:pt idx="1323">0.31891199452284741</cx:pt>
          <cx:pt idx="1324">0.3341247915092353</cx:pt>
          <cx:pt idx="1325">0.34340446772145466</cx:pt>
          <cx:pt idx="1326">0.34222712539969286</cx:pt>
          <cx:pt idx="1327">0.34689752725441575</cx:pt>
          <cx:pt idx="1328">0.35521481282830841</cx:pt>
          <cx:pt idx="1329">0.35371648906402497</cx:pt>
          <cx:pt idx="1330">0.35644614452247952</cx:pt>
          <cx:pt idx="1331">0.35253131019138156</cx:pt>
          <cx:pt idx="1332">0.35011282484762757</cx:pt>
          <cx:pt idx="1333">0.34998283868356</cx:pt>
          <cx:pt idx="1334">0.35087687034252663</cx:pt>
          <cx:pt idx="1335">0.35255297615444775</cx:pt>
          <cx:pt idx="1336">0.34687059871285769</cx:pt>
          <cx:pt idx="1337">0.34507900417095305</cx:pt>
          <cx:pt idx="1338">0.34416339475125551</cx:pt>
          <cx:pt idx="1339">0.35268310136280506</cx:pt>
          <cx:pt idx="1340">0.35015098402826861</cx:pt>
          <cx:pt idx="1341">0.35378100091410769</cx:pt>
          <cx:pt idx="1342">0.32964564888359038</cx:pt>
          <cx:pt idx="1343">0.33980705997925997</cx:pt>
          <cx:pt idx="1344">0.33534940305535699</cx:pt>
          <cx:pt idx="1345">0.33193986585518337</cx:pt>
          <cx:pt idx="1346">0.32038917784380017</cx:pt>
          <cx:pt idx="1347">0.31389241658958861</cx:pt>
          <cx:pt idx="1348">0.31628505558083869</cx:pt>
          <cx:pt idx="1349">0.29838842897600071</cx:pt>
          <cx:pt idx="1350">0.2983254585853129</cx:pt>
          <cx:pt idx="1351">0.29192388166570449</cx:pt>
          <cx:pt idx="1352">0.32032154189208345</cx:pt>
          <cx:pt idx="1353">0.33331122758032034</cx:pt>
          <cx:pt idx="1354">0.33491851197727535</cx:pt>
          <cx:pt idx="1355">0.31907255332765239</cx:pt>
          <cx:pt idx="1356">0.32151789960951715</cx:pt>
          <cx:pt idx="1357">0.31664185533830619</cx:pt>
          <cx:pt idx="1358">0.31312654732716316</cx:pt>
          <cx:pt idx="1359">0.31499494216039181</cx:pt>
          <cx:pt idx="1360">0.31420633906971346</cx:pt>
          <cx:pt idx="1361">0.31750867375717495</cx:pt>
          <cx:pt idx="1362">0.31754571981759849</cx:pt>
          <cx:pt idx="1363">0.32751706351856019</cx:pt>
          <cx:pt idx="1364">0.32907331024167369</cx:pt>
          <cx:pt idx="1365">0.3293165335132423</cx:pt>
          <cx:pt idx="1366">0.32701894566799405</cx:pt>
          <cx:pt idx="1367">0.32609695310656583</cx:pt>
          <cx:pt idx="1368">0.34419594507646351</cx:pt>
          <cx:pt idx="1369">0.33878570577394951</cx:pt>
          <cx:pt idx="1370">0.35543180034238592</cx:pt>
          <cx:pt idx="1371">0.34816001855191664</cx:pt>
          <cx:pt idx="1372">0.35776845721600042</cx:pt>
          <cx:pt idx="1373">0.34281267916335334</cx:pt>
          <cx:pt idx="1374">0.35351790324745169</cx:pt>
          <cx:pt idx="1375">0.36565062326816039</cx:pt>
          <cx:pt idx="1376">0.38571423081559741</cx:pt>
          <cx:pt idx="1377">0.38590750749507036</cx:pt>
          <cx:pt idx="1378">0.39002234354666737</cx:pt>
          <cx:pt idx="1379">0.40207587501730874</cx:pt>
          <cx:pt idx="1380">0.40112233683129295</cx:pt>
          <cx:pt idx="1381">0.40141146279674705</cx:pt>
          <cx:pt idx="1382">0.3912386881103701</cx:pt>
          <cx:pt idx="1383">0.38187028263308898</cx:pt>
          <cx:pt idx="1384">0.36170036048856452</cx:pt>
          <cx:pt idx="1385">0.36043658599799511</cx:pt>
          <cx:pt idx="1386">0.35751942788810925</cx:pt>
          <cx:pt idx="1387">0.34921931513828991</cx:pt>
          <cx:pt idx="1388">0.3600130839720011</cx:pt>
          <cx:pt idx="1389">0.35747405146657441</cx:pt>
          <cx:pt idx="1390">0.37020922863940336</cx:pt>
          <cx:pt idx="1391">0.36766734584255834</cx:pt>
          <cx:pt idx="1392">0.3654803133836983</cx:pt>
          <cx:pt idx="1393">0.35484256699975841</cx:pt>
          <cx:pt idx="1394">0.35266439568774938</cx:pt>
          <cx:pt idx="1395">0.35144306185765189</cx:pt>
          <cx:pt idx="1396">0.35040770519852044</cx:pt>
          <cx:pt idx="1397">0.35142892875075465</cx:pt>
          <cx:pt idx="1398">0.34194080975304147</cx:pt>
          <cx:pt idx="1399">0.34254318909968662</cx:pt>
          <cx:pt idx="1400">0.32671759260081662</cx:pt>
          <cx:pt idx="1401">0.32399889406178994</cx:pt>
          <cx:pt idx="1402">0.31705205727332525</cx:pt>
          <cx:pt idx="1403">0.32053193976759609</cx:pt>
          <cx:pt idx="1404">0.31371853062571853</cx:pt>
          <cx:pt idx="1405">0.29692659437330921</cx:pt>
          <cx:pt idx="1406">0.2544123932137291</cx:pt>
          <cx:pt idx="1407">0.25620089896957299</cx:pt>
          <cx:pt idx="1408">0.2549634604351953</cx:pt>
          <cx:pt idx="1409">0.24028992202070737</cx:pt>
          <cx:pt idx="1410">0.24398280415520285</cx:pt>
          <cx:pt idx="1411">0.24219291708527652</cx:pt>
          <cx:pt idx="1412">0.23328937538014002</cx:pt>
          <cx:pt idx="1413">0.23132663050703442</cx:pt>
          <cx:pt idx="1414">0.23879884109164612</cx:pt>
          <cx:pt idx="1415">0.24640690303669549</cx:pt>
          <cx:pt idx="1416">0.24831292607136005</cx:pt>
          <cx:pt idx="1417">0.25407324757312016</cx:pt>
          <cx:pt idx="1418">0.25545117065566908</cx:pt>
          <cx:pt idx="1419">0.27332103604432373</cx:pt>
          <cx:pt idx="1420">0.26080071162049312</cx:pt>
          <cx:pt idx="1421">0.26065586274068536</cx:pt>
          <cx:pt idx="1422">0.27567490906072289</cx:pt>
          <cx:pt idx="1423">0.27841665157854195</cx:pt>
          <cx:pt idx="1424">0.29414603395203653</cx:pt>
          <cx:pt idx="1425">0.31408515546721139</cx:pt>
          <cx:pt idx="1426">0.3143915211037927</cx:pt>
          <cx:pt idx="1427">0.31400069715258627</cx:pt>
          <cx:pt idx="1428">0.31641453650321344</cx:pt>
          <cx:pt idx="1429">0.31463090857245224</cx:pt>
          <cx:pt idx="1430">0.33854151625942841</cx:pt>
          <cx:pt idx="1431">0.34201486584995</cx:pt>
          <cx:pt idx="1432">0.33934042316489299</cx:pt>
          <cx:pt idx="1433">0.3402908325340922</cx:pt>
          <cx:pt idx="1434">0.34858202022877743</cx:pt>
          <cx:pt idx="1435">0.34626610334105673</cx:pt>
          <cx:pt idx="1436">0.35877768110419023</cx:pt>
          <cx:pt idx="1437">0.35813879164464013</cx:pt>
          <cx:pt idx="1438">0.3595968918382737</cx:pt>
          <cx:pt idx="1439">0.35958151329394528</cx:pt>
          <cx:pt idx="1440">0.35988167023350798</cx:pt>
          <cx:pt idx="1441">0.36093680622773483</cx:pt>
          <cx:pt idx="1442">0.36456162288777344</cx:pt>
          <cx:pt idx="1443">0.36516669575168587</cx:pt>
          <cx:pt idx="1444">0.36013391171198433</cx:pt>
          <cx:pt idx="1445">0.36924528095168629</cx:pt>
          <cx:pt idx="1446">0.37146038990067365</cx:pt>
          <cx:pt idx="1447">0.36799103916490633</cx:pt>
          <cx:pt idx="1448">0.35127027800027066</cx:pt>
          <cx:pt idx="1449">0.3573697856713407</cx:pt>
          <cx:pt idx="1450">0.36075862445039591</cx:pt>
          <cx:pt idx="1451">0.35992954598310012</cx:pt>
          <cx:pt idx="1452">0.35648715377916579</cx:pt>
          <cx:pt idx="1453">0.37043365364921543</cx:pt>
          <cx:pt idx="1454">0.35714777794824443</cx:pt>
          <cx:pt idx="1455">0.33655384921582082</cx:pt>
          <cx:pt idx="1456">0.33681045110954033</cx:pt>
          <cx:pt idx="1457">0.33927719506272713</cx:pt>
          <cx:pt idx="1458">0.33296111796344419</cx:pt>
          <cx:pt idx="1459">0.33310724040707756</cx:pt>
          <cx:pt idx="1460">0.30350688450627911</cx:pt>
          <cx:pt idx="1461">0.30838671583722627</cx:pt>
          <cx:pt idx="1462">0.30607639854345048</cx:pt>
          <cx:pt idx="1463">0.30041722562670997</cx:pt>
          <cx:pt idx="1464">0.30651264018937691</cx:pt>
          <cx:pt idx="1465">0.31495044531935334</cx:pt>
          <cx:pt idx="1466">0.30419993514534882</cx:pt>
          <cx:pt idx="1467">0.30430506886288555</cx:pt>
          <cx:pt idx="1468">0.29917893203250423</cx:pt>
          <cx:pt idx="1469">0.30009670484862194</cx:pt>
          <cx:pt idx="1470">0.2952771826162483</cx:pt>
          <cx:pt idx="1471">0.29436251838674388</cx:pt>
          <cx:pt idx="1472">0.30257661865728586</cx:pt>
          <cx:pt idx="1473">0.3133103409645171</cx:pt>
          <cx:pt idx="1474">0.31405917262632738</cx:pt>
          <cx:pt idx="1475">0.29906835648212077</cx:pt>
          <cx:pt idx="1476">0.30118025093689454</cx:pt>
          <cx:pt idx="1477">0.30050818176653071</cx:pt>
          <cx:pt idx="1478">0.30068864950164997</cx:pt>
          <cx:pt idx="1479">0.27663536349493673</cx:pt>
          <cx:pt idx="1480">0.27788541411642742</cx:pt>
          <cx:pt idx="1481">0.27649309168671882</cx:pt>
          <cx:pt idx="1482">0.26928030641447037</cx:pt>
          <cx:pt idx="1483">0.25077350752772226</cx:pt>
          <cx:pt idx="1484">0.25410417189041107</cx:pt>
          <cx:pt idx="1485">0.26245276282232227</cx:pt>
          <cx:pt idx="1486">0.2946012118896647</cx:pt>
          <cx:pt idx="1487">0.29244019680481903</cx:pt>
          <cx:pt idx="1488">0.29394855458734137</cx:pt>
          <cx:pt idx="1489">0.30398629817551892</cx:pt>
          <cx:pt idx="1490">0.30573115342510271</cx:pt>
          <cx:pt idx="1491">0.29520511017032169</cx:pt>
          <cx:pt idx="1492">0.29729687492125584</cx:pt>
          <cx:pt idx="1493">0.29813138445705767</cx:pt>
          <cx:pt idx="1494">0.30284988118635842</cx:pt>
          <cx:pt idx="1495">0.29480980600765638</cx:pt>
          <cx:pt idx="1496">0.29085348614028594</cx:pt>
          <cx:pt idx="1497">0.29083062097515422</cx:pt>
          <cx:pt idx="1498">0.28917417027500902</cx:pt>
          <cx:pt idx="1499">0.29490389767386216</cx:pt>
          <cx:pt idx="1500">0.29502319493627999</cx:pt>
          <cx:pt idx="1501">0.29463726725155537</cx:pt>
          <cx:pt idx="1502">0.28108443230114366</cx:pt>
          <cx:pt idx="1503">0.26901303684582101</cx:pt>
          <cx:pt idx="1504">0.27276951577242858</cx:pt>
          <cx:pt idx="1505">0.27302450873677636</cx:pt>
          <cx:pt idx="1506">0.27460064932100436</cx:pt>
          <cx:pt idx="1507">0.27462882511143755</cx:pt>
          <cx:pt idx="1508">0.27481724331913948</cx:pt>
          <cx:pt idx="1509">0.27090689785574867</cx:pt>
          <cx:pt idx="1510">0.26278053937247958</cx:pt>
          <cx:pt idx="1511">0.26766158743377211</cx:pt>
          <cx:pt idx="1512">0.26959166373163651</cx:pt>
          <cx:pt idx="1513">0.27122316330563651</cx:pt>
          <cx:pt idx="1514">0.30082754299603343</cx:pt>
          <cx:pt idx="1515">0.29604464006888948</cx:pt>
          <cx:pt idx="1516">0.26942315223896951</cx:pt>
          <cx:pt idx="1517">0.2676131082739005</cx:pt>
          <cx:pt idx="1518">0.27056909693741804</cx:pt>
          <cx:pt idx="1519">0.26937610436646525</cx:pt>
          <cx:pt idx="1520">0.26755452392569556</cx:pt>
          <cx:pt idx="1521">0.28039324627643319</cx:pt>
          <cx:pt idx="1522">0.27790695664518711</cx:pt>
          <cx:pt idx="1523">0.2759878879185575</cx:pt>
          <cx:pt idx="1524">0.25849207984551575</cx:pt>
          <cx:pt idx="1525">0.2632405625860364</cx:pt>
          <cx:pt idx="1526">0.27020618028337606</cx:pt>
          <cx:pt idx="1527">0.27302800782734205</cx:pt>
          <cx:pt idx="1528">0.27609472501641752</cx:pt>
          <cx:pt idx="1529">0.26675988205109569</cx:pt>
          <cx:pt idx="1530">0.27111145317772162</cx:pt>
          <cx:pt idx="1531">0.27111145317772162</cx:pt>
          <cx:pt idx="1532">0.28630985043349688</cx:pt>
          <cx:pt idx="1533">0.28627237266751482</cx:pt>
          <cx:pt idx="1534">0.28484936079982393</cx:pt>
          <cx:pt idx="1535">0.27930920997334718</cx:pt>
          <cx:pt idx="1536">0.27657228176688081</cx:pt>
          <cx:pt idx="1537">0.28400390471292658</cx:pt>
          <cx:pt idx="1538">0.28395729785815521</cx:pt>
          <cx:pt idx="1539">0.2868458010029975</cx:pt>
          <cx:pt idx="1540">0.28834340629473459</cx:pt>
          <cx:pt idx="1541">0.28415573402203081</cx:pt>
          <cx:pt idx="1542">0.28463914456434319</cx:pt>
          <cx:pt idx="1543">0.2810156060313132</cx:pt>
          <cx:pt idx="1544">0.25055286540932825</cx:pt>
          <cx:pt idx="1545">0.25940736455982433</cx:pt>
          <cx:pt idx="1546">0.25805590402224321</cx:pt>
          <cx:pt idx="1547">0.26061665763540848</cx:pt>
          <cx:pt idx="1548">0.2551809505588235</cx:pt>
          <cx:pt idx="1549">0.24709088522579489</cx:pt>
          <cx:pt idx="1550">0.24536749332615437</cx:pt>
          <cx:pt idx="1551">0.24710832423472168</cx:pt>
          <cx:pt idx="1552">0.24721142820085479</cx:pt>
          <cx:pt idx="1553">0.25651336286765553</cx:pt>
          <cx:pt idx="1554">0.25125349114486206</cx:pt>
          <cx:pt idx="1555">0.25215140453534263</cx:pt>
          <cx:pt idx="1556">0.25217163288859668</cx:pt>
          <cx:pt idx="1557">0.26074947822955741</cx:pt>
          <cx:pt idx="1558">0.2584340607149459</cx:pt>
          <cx:pt idx="1559">0.25887206963746651</cx:pt>
          <cx:pt idx="1560">0.26678963696906294</cx:pt>
          <cx:pt idx="1561">0.28099153035706992</cx:pt>
          <cx:pt idx="1562">0.25668796058454285</cx:pt>
          <cx:pt idx="1563">0.25923196288834871</cx:pt>
          <cx:pt idx="1564">0.25938235912481639</cx:pt>
          <cx:pt idx="1565">0.25601864577805067</cx:pt>
          <cx:pt idx="1566">0.24678176310934793</cx:pt>
          <cx:pt idx="1567">0.23666834821465332</cx:pt>
          <cx:pt idx="1568">0.23681449982400962</cx:pt>
          <cx:pt idx="1569">0.23179294805186734</cx:pt>
          <cx:pt idx="1570">0.23794030139627537</cx:pt>
          <cx:pt idx="1571">0.25256989157343157</cx:pt>
          <cx:pt idx="1572">0.25577020844523524</cx:pt>
          <cx:pt idx="1573">0.25525643570727863</cx:pt>
          <cx:pt idx="1574">0.27050574806114575</cx:pt>
          <cx:pt idx="1575">0.26497558425761325</cx:pt>
          <cx:pt idx="1576">0.26886158243828567</cx:pt>
          <cx:pt idx="1577">0.26415184246945095</cx:pt>
          <cx:pt idx="1578">0.26849219266341662</cx:pt>
          <cx:pt idx="1579">0.27706216448746213</cx:pt>
          <cx:pt idx="1580">0.27776301425840022</cx:pt>
          <cx:pt idx="1581">0.28151086051535501</cx:pt>
          <cx:pt idx="1582">0.28185501636777666</cx:pt>
          <cx:pt idx="1583">0.28646266567032336</cx:pt>
          <cx:pt idx="1584">0.28644826447874844</cx:pt>
          <cx:pt idx="1585">0.29563033874617539</cx:pt>
          <cx:pt idx="1586">0.29351306559923923</cx:pt>
          <cx:pt idx="1587">0.28187805294564594</cx:pt>
          <cx:pt idx="1588">0.28950216273110652</cx:pt>
          <cx:pt idx="1589">0.28756431300912855</cx:pt>
          <cx:pt idx="1590">0.28320263811779811</cx:pt>
          <cx:pt idx="1591">0.27191724982179244</cx:pt>
          <cx:pt idx="1592">0.27168302291812607</cx:pt>
          <cx:pt idx="1593">0.28783945815372258</cx:pt>
          <cx:pt idx="1594">0.28589196849855519</cx:pt>
          <cx:pt idx="1595">0.29961243572141949</cx:pt>
          <cx:pt idx="1596">0.29612262595919464</cx:pt>
          <cx:pt idx="1597">0.29505403036254907</cx:pt>
          <cx:pt idx="1598">0.29498762211710716</cx:pt>
          <cx:pt idx="1599">0.30757787554195692</cx:pt>
          <cx:pt idx="1600">0.30300582523284103</cx:pt>
          <cx:pt idx="1601">0.28893476582432881</cx:pt>
          <cx:pt idx="1602">0.29027491731721594</cx:pt>
          <cx:pt idx="1603">0.30271621442977376</cx:pt>
          <cx:pt idx="1604">0.29723155464146356</cx:pt>
          <cx:pt idx="1605">0.30075645285637687</cx:pt>
          <cx:pt idx="1606">0.29825744572639784</cx:pt>
          <cx:pt idx="1607">0.30408927874440655</cx:pt>
          <cx:pt idx="1608">0.30235921672570215</cx:pt>
          <cx:pt idx="1609">0.2953862681787815</cx:pt>
          <cx:pt idx="1610">0.2945763606219185</cx:pt>
          <cx:pt idx="1611">0.29958080537411563</cx:pt>
          <cx:pt idx="1612">0.30791553449895898</cx:pt>
          <cx:pt idx="1613">0.29397671845124784</cx:pt>
          <cx:pt idx="1614">0.31600451401639557</cx:pt>
          <cx:pt idx="1615">0.30446223277280948</cx:pt>
          <cx:pt idx="1616">0.32086800633500645</cx:pt>
          <cx:pt idx="1617">0.32296205208503692</cx:pt>
          <cx:pt idx="1618">0.32166062377698212</cx:pt>
          <cx:pt idx="1619">0.32453427970979676</cx:pt>
          <cx:pt idx="1620">0.33244456364627101</cx:pt>
          <cx:pt idx="1621">0.3359893630132626</cx:pt>
          <cx:pt idx="1622">0.3420832158779305</cx:pt>
          <cx:pt idx="1623">0.31802691555145834</cx:pt>
          <cx:pt idx="1624">0.31686271036374924</cx:pt>
          <cx:pt idx="1625">0.31184162072705807</cx:pt>
          <cx:pt idx="1626">0.30092487848116106</cx:pt>
          <cx:pt idx="1627">0.30030832434086641</cx:pt>
          <cx:pt idx="1628">0.30044982609003967</cx:pt>
          <cx:pt idx="1629">0.30105041005277977</cx:pt>
          <cx:pt idx="1630">0.30617285999667415</cx:pt>
          <cx:pt idx="1631">0.30772638275373859</cx:pt>
          <cx:pt idx="1632">0.31156909737349259</cx:pt>
          <cx:pt idx="1633">0.30627988690252983</cx:pt>
          <cx:pt idx="1634">0.30591247999441806</cx:pt>
          <cx:pt idx="1635">0.29752490008243559</cx:pt>
          <cx:pt idx="1636">0.30618721161999352</cx:pt>
          <cx:pt idx="1637">0.31161509764487316</cx:pt>
          <cx:pt idx="1638">0.31649622644093017</cx:pt>
          <cx:pt idx="1639">0.31304701925075884</cx:pt>
          <cx:pt idx="1640">0.31710536393041888</cx:pt>
          <cx:pt idx="1641">0.29984827265775932</cx:pt>
          <cx:pt idx="1642">0.28698328680956703</cx:pt>
          <cx:pt idx="1643">0.28990811493554192</cx:pt>
          <cx:pt idx="1644">0.27413341153501913</cx:pt>
          <cx:pt idx="1645">0.26831675901629071</cx:pt>
          <cx:pt idx="1646">0.2638349663849075</cx:pt>
          <cx:pt idx="1647">0.26200157447673778</cx:pt>
          <cx:pt idx="1648">0.26091462269860927</cx:pt>
          <cx:pt idx="1649">0.2616085523384426</cx:pt>
          <cx:pt idx="1650">0.25219768083973648</cx:pt>
          <cx:pt idx="1651">0.24333762870304398</cx:pt>
          <cx:pt idx="1652">0.23852290643347446</cx:pt>
          <cx:pt idx="1653">0.24148835321375606</cx:pt>
          <cx:pt idx="1654">0.24738923661214868</cx:pt>
          <cx:pt idx="1655">0.25819003670179291</cx:pt>
          <cx:pt idx="1656">0.26974926294035106</cx:pt>
          <cx:pt idx="1657">0.26882505130970691</cx:pt>
          <cx:pt idx="1658">0.27156867820242658</cx:pt>
          <cx:pt idx="1659">0.25940870620716328</cx:pt>
          <cx:pt idx="1660">0.2561773847402159</cx:pt>
          <cx:pt idx="1661">0.28016906040985717</cx:pt>
          <cx:pt idx="1662">0.27139830101082579</cx:pt>
          <cx:pt idx="1663">0.27753831024885195</cx:pt>
          <cx:pt idx="1664">0.27507744166205506</cx:pt>
          <cx:pt idx="1665">0.28035322516175709</cx:pt>
          <cx:pt idx="1666">0.28421980357743626</cx:pt>
          <cx:pt idx="1667">0.28072698352817821</cx:pt>
          <cx:pt idx="1668">0.284366189798965</cx:pt>
          <cx:pt idx="1669">0.287379419700657</cx:pt>
          <cx:pt idx="1670">0.28373674247565156</cx:pt>
          <cx:pt idx="1671">0.28331511950258526</cx:pt>
          <cx:pt idx="1672">0.28958328816988188</cx:pt>
          <cx:pt idx="1673">0.27707849640287985</cx:pt>
          <cx:pt idx="1674">0.28377540219105474</cx:pt>
          <cx:pt idx="1675">0.29609412761767973</cx:pt>
          <cx:pt idx="1676">0.28635073758603596</cx:pt>
          <cx:pt idx="1677">0.28553848607079946</cx:pt>
          <cx:pt idx="1678">0.28901574954986975</cx:pt>
          <cx:pt idx="1679">0.29066153677996193</cx:pt>
          <cx:pt idx="1680">0.2858399503883477</cx:pt>
          <cx:pt idx="1681">0.28705159248783563</cx:pt>
          <cx:pt idx="1682">0.28953262927139134</cx:pt>
          <cx:pt idx="1683">0.28676343830600814</cx:pt>
          <cx:pt idx="1684">0.28414875387830602</cx:pt>
          <cx:pt idx="1685">0.26386091529562539</cx:pt>
          <cx:pt idx="1686">0.26234054789159594</cx:pt>
          <cx:pt idx="1687">0.26228719849128884</cx:pt>
          <cx:pt idx="1688">0.25888002982501462</cx:pt>
          <cx:pt idx="1689">0.25818481711361574</cx:pt>
          <cx:pt idx="1690">0.26828647514076476</cx:pt>
          <cx:pt idx="1691">0.27252264891232453</cx:pt>
          <cx:pt idx="1692">0.27097201749118133</cx:pt>
          <cx:pt idx="1693">0.27198910984058516</cx:pt>
          <cx:pt idx="1694">0.29305059356733137</cx:pt>
          <cx:pt idx="1695">0.28975484383421346</cx:pt>
          <cx:pt idx="1696">0.29213646949791539</cx:pt>
          <cx:pt idx="1697">0.29458433524645794</cx:pt>
          <cx:pt idx="1698">0.29802215273018556</cx:pt>
          <cx:pt idx="1699">0.30133212722061364</cx:pt>
          <cx:pt idx="1700">0.37080671022754741</cx:pt>
          <cx:pt idx="1701">0.41949442239405665</cx:pt>
          <cx:pt idx="1702">0.44911998221427757</cx:pt>
          <cx:pt idx="1703">0.46932341977184527</cx:pt>
          <cx:pt idx="1704">0.48631194866142102</cx:pt>
          <cx:pt idx="1705">0.49720560956112525</cx:pt>
          <cx:pt idx="1706">0.52658119790576152</cx:pt>
          <cx:pt idx="1707">0.54556524838158071</cx:pt>
          <cx:pt idx="1708">0.55084587410641361</cx:pt>
          <cx:pt idx="1709">0.54305958526262643</cx:pt>
          <cx:pt idx="1710">0.54812184263316621</cx:pt>
          <cx:pt idx="1711">0.54426285806644092</cx:pt>
          <cx:pt idx="1712">0.55794178317512311</cx:pt>
          <cx:pt idx="1713">0.55121174760123159</cx:pt>
          <cx:pt idx="1714">0.55728803580600605</cx:pt>
          <cx:pt idx="1715">0.5513873990925382</cx:pt>
          <cx:pt idx="1716">0.55513815234725505</cx:pt>
          <cx:pt idx="1717">0.54880801936554147</cx:pt>
          <cx:pt idx="1718">0.52878837092057351</cx:pt>
          <cx:pt idx="1719">0.51989390714900796</cx:pt>
          <cx:pt idx="1720">0.48843165474219519</cx:pt>
          <cx:pt idx="1721">0.49274630167355798</cx:pt>
          <cx:pt idx="1722">0.46489978307471463</cx:pt>
          <cx:pt idx="1723">0.46441624247481617</cx:pt>
          <cx:pt idx="1724">0.46580529502892432</cx:pt>
          <cx:pt idx="1725">0.42195501452616069</cx:pt>
          <cx:pt idx="1726">0.35791923834430173</cx:pt>
          <cx:pt idx="1727">0.34095228219256712</cx:pt>
          <cx:pt idx="1728">0.21886391225757112</cx:pt>
          <cx:pt idx="1729">0.18004951022409849</cx:pt>
          <cx:pt idx="1730">0.17601742339256576</cx:pt>
          <cx:pt idx="1731">0.18540032794594716</cx:pt>
          <cx:pt idx="1732">0.18531478218214137</cx:pt>
          <cx:pt idx="1733">0.18398479657583555</cx:pt>
          <cx:pt idx="1734">0.18497955111997985</cx:pt>
          <cx:pt idx="1735">0.18605805153402621</cx:pt>
          <cx:pt idx="1736">0.18190797685011834</cx:pt>
          <cx:pt idx="1737">0.18242799258895803</cx:pt>
          <cx:pt idx="1738">0.18556256491890538</cx:pt>
          <cx:pt idx="1739">0.18872007654784009</cx:pt>
          <cx:pt idx="1740">0.18690340479469411</cx:pt>
          <cx:pt idx="1741">0.18504140502882394</cx:pt>
          <cx:pt idx="1742">0.18302852505432293</cx:pt>
          <cx:pt idx="1743">0.19017319350883558</cx:pt>
          <cx:pt idx="1744">0.27123680458881927</cx:pt>
          <cx:pt idx="1745">0.37917467034213453</cx:pt>
          <cx:pt idx="1746">0.41824271802144908</cx:pt>
          <cx:pt idx="1747">0.46884471493019791</cx:pt>
          <cx:pt idx="1748">0.49380441768596706</cx:pt>
          <cx:pt idx="1749">0.50180036274445139</cx:pt>
          <cx:pt idx="1750">0.4931174748472763</cx:pt>
          <cx:pt idx="1751">0.50286455562755417</cx:pt>
          <cx:pt idx="1752">0.51019294018768124</cx:pt>
          <cx:pt idx="1753">0.52744142031831487</cx:pt>
          <cx:pt idx="1754">0.53703061593337786</cx:pt>
          <cx:pt idx="1755">0.55610877866351482</cx:pt>
          <cx:pt idx="1756">0.55539664398642252</cx:pt>
          <cx:pt idx="1757">0.57167560772795445</cx:pt>
          <cx:pt idx="1758">0.56489213890754741</cx:pt>
          <cx:pt idx="1759">0.55967075346394723</cx:pt>
          <cx:pt idx="1760">0.55422341262075525</cx:pt>
          <cx:pt idx="1761">0.55344418616043267</cx:pt>
          <cx:pt idx="1762">0.55382559400395381</cx:pt>
          <cx:pt idx="1763">0.54366570892328359</cx:pt>
          <cx:pt idx="1764">0.5377192521498465</cx:pt>
          <cx:pt idx="1765">0.52145323931411891</cx:pt>
          <cx:pt idx="1766">0.50523350361060526</cx:pt>
          <cx:pt idx="1767">0.48096567498681853</cx:pt>
          <cx:pt idx="1768">0.44874970869996933</cx:pt>
          <cx:pt idx="1769">0.43887649915900706</cx:pt>
          <cx:pt idx="1770">0.41298825737981254</cx:pt>
          <cx:pt idx="1771">0.38797758109190461</cx:pt>
          <cx:pt idx="1772">0.35383650861839677</cx:pt>
          <cx:pt idx="1773">0.28210977154957878</cx:pt>
          <cx:pt idx="1774">0.2826611517613829</cx:pt>
          <cx:pt idx="1775">0.26822002884866775</cx:pt>
          <cx:pt idx="1776">0.27316859941639515</cx:pt>
          <cx:pt idx="1777">0.27947565139362912</cx:pt>
          <cx:pt idx="1778">0.27938975467685362</cx:pt>
          <cx:pt idx="1779">0.30142310610390693</cx:pt>
          <cx:pt idx="1780">0.28175908732023514</cx:pt>
          <cx:pt idx="1781">0.28172179668730168</cx:pt>
          <cx:pt idx="1782">0.27960998744808163</cx:pt>
          <cx:pt idx="1783">0.27546402664025316</cx:pt>
          <cx:pt idx="1784">0.28157919020757133</cx:pt>
          <cx:pt idx="1785">0.30019035498741908</cx:pt>
          <cx:pt idx="1786">0.30070952727565647</cx:pt>
          <cx:pt idx="1787">0.31669794894549991</cx:pt>
          <cx:pt idx="1788">0.31744044421695211</cx:pt>
          <cx:pt idx="1789">0.31572851042452343</cx:pt>
          <cx:pt idx="1790">0.33417102756214928</cx:pt>
          <cx:pt idx="1791">0.35658985401292859</cx:pt>
          <cx:pt idx="1792">0.3604406588079459</cx:pt>
          <cx:pt idx="1793">0.36986804147474561</cx:pt>
          <cx:pt idx="1794">0.37637161323373736</cx:pt>
          <cx:pt idx="1795">0.37627259243926781</cx:pt>
          <cx:pt idx="1796">0.35564239206463016</cx:pt>
          <cx:pt idx="1797">0.3719550341371537</cx:pt>
          <cx:pt idx="1798">0.36472514797766753</cx:pt>
          <cx:pt idx="1799">0.3642681605647114</cx:pt>
          <cx:pt idx="1800">0.36348099905325459</cx:pt>
          <cx:pt idx="1801">0.36311942740183328</cx:pt>
          <cx:pt idx="1802">0.36120941969843767</cx:pt>
          <cx:pt idx="1803">0.35577426278298568</cx:pt>
          <cx:pt idx="1804">0.35667984463061331</cx:pt>
          <cx:pt idx="1805">0.35979382452647607</cx:pt>
          <cx:pt idx="1806">0.35536920519638532</cx:pt>
          <cx:pt idx="1807">0.34712590017122225</cx:pt>
          <cx:pt idx="1808">0.3485186252748157</cx:pt>
          <cx:pt idx="1809">0.32952028772609715</cx:pt>
          <cx:pt idx="1810">0.33043843510256088</cx:pt>
          <cx:pt idx="1811">0.33043875112768806</cx:pt>
          <cx:pt idx="1812">0.33294001084779973</cx:pt>
          <cx:pt idx="1813">0.33868569790446207</cx:pt>
          <cx:pt idx="1814">0.3320642165692832</cx:pt>
          <cx:pt idx="1815">0.32906747910430267</cx:pt>
          <cx:pt idx="1816">0.33648631784021221</cx:pt>
          <cx:pt idx="1817">0.3207606868719618</cx:pt>
          <cx:pt idx="1818">0.31876616078858172</cx:pt>
          <cx:pt idx="1819">0.32207985551892426</cx:pt>
          <cx:pt idx="1820">0.30472343489735071</cx:pt>
          <cx:pt idx="1821">0.30063210425306652</cx:pt>
          <cx:pt idx="1822">0.30685608391573083</cx:pt>
          <cx:pt idx="1823">0.29910471804207883</cx:pt>
          <cx:pt idx="1824">0.29283781035800605</cx:pt>
          <cx:pt idx="1825">0.29158839562732775</cx:pt>
          <cx:pt idx="1826">0.29491442164875636</cx:pt>
          <cx:pt idx="1827">0.27401708080329984</cx:pt>
          <cx:pt idx="1828">0.27423065117595569</cx:pt>
          <cx:pt idx="1829">0.2768065460032077</cx:pt>
          <cx:pt idx="1830">0.27623453576274687</cx:pt>
          <cx:pt idx="1831">0.27674504495641455</cx:pt>
          <cx:pt idx="1832">0.27919971367702945</cx:pt>
          <cx:pt idx="1833">0.27161667388988858</cx:pt>
          <cx:pt idx="1834">0.27662318083554543</cx:pt>
          <cx:pt idx="1835">0.27330334963569197</cx:pt>
          <cx:pt idx="1836">0.27818864984070624</cx:pt>
          <cx:pt idx="1837">0.28129514849696541</cx:pt>
          <cx:pt idx="1838">0.28006266342669056</cx:pt>
          <cx:pt idx="1839">0.27924436240567285</cx:pt>
          <cx:pt idx="1840">0.2779699488841389</cx:pt>
          <cx:pt idx="1841">0.2920271118431878</cx:pt>
          <cx:pt idx="1842">0.28994137790296526</cx:pt>
          <cx:pt idx="1843">0.28799425751631064</cx:pt>
          <cx:pt idx="1844">0.28898078657212872</cx:pt>
          <cx:pt idx="1845">0.28725283888763831</cx:pt>
          <cx:pt idx="1846">0.28322768484079736</cx:pt>
          <cx:pt idx="1847">0.27457690118252998</cx:pt>
          <cx:pt idx="1848">0.2905143336928725</cx:pt>
          <cx:pt idx="1849">0.28764709916349701</cx:pt>
          <cx:pt idx="1850">0.2953993028790628</cx:pt>
          <cx:pt idx="1851">0.29307707219114537</cx:pt>
          <cx:pt idx="1852">0.30378851057698297</cx:pt>
          <cx:pt idx="1853">0.30988048817677488</cx:pt>
          <cx:pt idx="1854">0.32250194086759526</cx:pt>
          <cx:pt idx="1855">0.32590654053148677</cx:pt>
          <cx:pt idx="1856">0.32098348361186291</cx:pt>
          <cx:pt idx="1857">0.32381575371469778</cx:pt>
          <cx:pt idx="1858">0.34058107488429795</cx:pt>
          <cx:pt idx="1859">0.35447331091418649</cx:pt>
          <cx:pt idx="1860">0.35326385203788357</cx:pt>
          <cx:pt idx="1861">0.35650894775879644</cx:pt>
          <cx:pt idx="1862">0.38112192977392856</cx:pt>
          <cx:pt idx="1863">0.38468923478275147</cx:pt>
          <cx:pt idx="1864">0.37863263248533818</cx:pt>
          <cx:pt idx="1865">0.3868948282158553</cx:pt>
          <cx:pt idx="1866">0.38641875750751331</cx:pt>
          <cx:pt idx="1867">0.39214929210991634</cx:pt>
          <cx:pt idx="1868">0.39456797353619694</cx:pt>
          <cx:pt idx="1869">0.39604673435318427</cx:pt>
          <cx:pt idx="1870">0.40491900747836651</cx:pt>
          <cx:pt idx="1871">0.3894559822184816</cx:pt>
          <cx:pt idx="1872">0.39182849585069357</cx:pt>
          <cx:pt idx="1873">0.40832261773636774</cx:pt>
          <cx:pt idx="1874">0.42033328679567328</cx:pt>
          <cx:pt idx="1875">0.4122346568917547</cx:pt>
          <cx:pt idx="1876">0.41207473281707174</cx:pt>
          <cx:pt idx="1877">0.41319211727424698</cx:pt>
          <cx:pt idx="1878">0.40524344128445688</cx:pt>
          <cx:pt idx="1879">0.40671307858055039</cx:pt>
          <cx:pt idx="1880">0.40291743015428699</cx:pt>
          <cx:pt idx="1881">0.39071154969155047</cx:pt>
          <cx:pt idx="1882">0.38326192251897451</cx:pt>
          <cx:pt idx="1883">0.37459415834167742</cx:pt>
          <cx:pt idx="1884">0.3828415279593807</cx:pt>
          <cx:pt idx="1885">0.38851370145506542</cx:pt>
          <cx:pt idx="1886">0.40248853442434979</cx:pt>
          <cx:pt idx="1887">0.40228360163213273</cx:pt>
          <cx:pt idx="1888">0.42685646817257189</cx:pt>
          <cx:pt idx="1889">0.42263199059228401</cx:pt>
          <cx:pt idx="1890">0.45215084972035191</cx:pt>
          <cx:pt idx="1891">0.4872555538043325</cx:pt>
          <cx:pt idx="1892">0.47077065610749158</cx:pt>
          <cx:pt idx="1893">0.48923037619283471</cx:pt>
          <cx:pt idx="1894">0.4950943893991287</cx:pt>
          <cx:pt idx="1895">0.49133576632173931</cx:pt>
          <cx:pt idx="1896">0.48653925145085208</cx:pt>
          <cx:pt idx="1897">0.49719024558725489</cx:pt>
          <cx:pt idx="1898">0.49005133244101573</cx:pt>
          <cx:pt idx="1899">0.50850040407979635</cx:pt>
          <cx:pt idx="1900">0.51537993454900399</cx:pt>
          <cx:pt idx="1901">0.51956154251993603</cx:pt>
          <cx:pt idx="1902">0.53384462739980065</cx:pt>
          <cx:pt idx="1903">0.4965701121700376</cx:pt>
          <cx:pt idx="1904">0.47286264926686766</cx:pt>
          <cx:pt idx="1905">0.46434443505327022</cx:pt>
          <cx:pt idx="1906">0.42394361552329268</cx:pt>
          <cx:pt idx="1907">0.41416202856202866</cx:pt>
          <cx:pt idx="1908">0.39050722177145536</cx:pt>
          <cx:pt idx="1909">0.380914649072635</cx:pt>
          <cx:pt idx="1910">0.37267185064010844</cx:pt>
          <cx:pt idx="1911">0.34322240007123694</cx:pt>
          <cx:pt idx="1912">0.33768865204946058</cx:pt>
          <cx:pt idx="1913">0.31057938837331767</cx:pt>
          <cx:pt idx="1914">0.31087234891618304</cx:pt>
          <cx:pt idx="1915">0.20269666740057862</cx:pt>
          <cx:pt idx="1916">0.1928294114405204</cx:pt>
          <cx:pt idx="1917">0.16694400428102446</cx:pt>
          <cx:pt idx="1918">0.171770855857837</cx:pt>
          <cx:pt idx="1919">0.17800258796412044</cx:pt>
          <cx:pt idx="1920">0.18512175078598478</cx:pt>
          <cx:pt idx="1921">0.1832059646292703</cx:pt>
          <cx:pt idx="1922">0.19010054233858201</cx:pt>
          <cx:pt idx="1923">0.19168088927530944</cx:pt>
          <cx:pt idx="1924">0.19067147913699831</cx:pt>
          <cx:pt idx="1925">0.19221885185095205</cx:pt>
          <cx:pt idx="1926">0.19278621944939667</cx:pt>
          <cx:pt idx="1927">0.19288853329285446</cx:pt>
          <cx:pt idx="1928">0.19119596904818945</cx:pt>
          <cx:pt idx="1929">0.19204206401425866</cx:pt>
          <cx:pt idx="1930">0.19230035901603607</cx:pt>
          <cx:pt idx="1931">0.19333301777687023</cx:pt>
          <cx:pt idx="1932">0.19942672906249428</cx:pt>
          <cx:pt idx="1933">0.26492791548401134</cx:pt>
          <cx:pt idx="1934">0.28260399215622994</cx:pt>
          <cx:pt idx="1935">0.34686471092422161</cx:pt>
          <cx:pt idx="1936">0.39847973937915016</cx:pt>
          <cx:pt idx="1937">0.40359272361099413</cx:pt>
          <cx:pt idx="1938">0.43380498815464086</cx:pt>
          <cx:pt idx="1939">0.47108042761301772</cx:pt>
          <cx:pt idx="1940">0.49218219107132399</cx:pt>
          <cx:pt idx="1941">0.49634081838353727</cx:pt>
          <cx:pt idx="1942">0.52914756444077415</cx:pt>
          <cx:pt idx="1943">0.55349635788012397</cx:pt>
          <cx:pt idx="1944">0.55235806579679436</cx:pt>
          <cx:pt idx="1945">0.55980874982228745</cx:pt>
          <cx:pt idx="1946">0.55477389136185551</cx:pt>
          <cx:pt idx="1947">0.54803576464954395</cx:pt>
          <cx:pt idx="1948">0.56934289936411853</cx:pt>
          <cx:pt idx="1949">0.56013913967759899</cx:pt>
          <cx:pt idx="1950">0.54657174596404912</cx:pt>
          <cx:pt idx="1951">0.53291719738383181</cx:pt>
          <cx:pt idx="1952">0.53220841399125429</cx:pt>
          <cx:pt idx="1953">0.52434741617594438</cx:pt>
          <cx:pt idx="1954">0.51585048219407559</cx:pt>
          <cx:pt idx="1955">0.49137746877936528</cx:pt>
          <cx:pt idx="1956">0.4569926901717325</cx:pt>
          <cx:pt idx="1957">0.43018803894361357</cx:pt>
          <cx:pt idx="1958">0.39120478116738272</cx:pt>
          <cx:pt idx="1959">0.38063733151635493</cx:pt>
          <cx:pt idx="1960">0.32904444505079139</cx:pt>
          <cx:pt idx="1961">0.3066643746349782</cx:pt>
          <cx:pt idx="1962">0.28842490389046316</cx:pt>
          <cx:pt idx="1963">0.28788159227706561</cx:pt>
          <cx:pt idx="1964">0.28830483589323114</cx:pt>
          <cx:pt idx="1965">0.32510893852670997</cx:pt>
          <cx:pt idx="1966">0.33026506854851057</cx:pt>
          <cx:pt idx="1967">0.31702580214145043</cx:pt>
          <cx:pt idx="1968">0.31824424121051686</cx:pt>
          <cx:pt idx="1969">0.31650834543182271</cx:pt>
          <cx:pt idx="1970">0.31684807771576023</cx:pt>
          <cx:pt idx="1971">0.3286800283599603</cx:pt>
          <cx:pt idx="1972">0.3274886396706258</cx:pt>
          <cx:pt idx="1973">0.32779008057814274</cx:pt>
          <cx:pt idx="1974">0.32712031723506602</cx:pt>
          <cx:pt idx="1975">0.32298347452741138</cx:pt>
          <cx:pt idx="1976">0.32394104481221231</cx:pt>
          <cx:pt idx="1977">0.31739556917728562</cx:pt>
          <cx:pt idx="1978">0.32680222297629469</cx:pt>
          <cx:pt idx="1979">0.33275414984980922</cx:pt>
          <cx:pt idx="1980">0.33929192160843424</cx:pt>
          <cx:pt idx="1981">0.34602527248108039</cx:pt>
          <cx:pt idx="1982">0.35316625762739878</cx:pt>
          <cx:pt idx="1983">0.34602605284648214</cx:pt>
          <cx:pt idx="1984">0.34644223295837762</cx:pt>
          <cx:pt idx="1985">0.34851192476848553</cx:pt>
          <cx:pt idx="1986">0.3358169571502998</cx:pt>
          <cx:pt idx="1987">0.33800459337070388</cx:pt>
          <cx:pt idx="1988">0.34490547964412888</cx:pt>
          <cx:pt idx="1989">0.33853347081812529</cx:pt>
          <cx:pt idx="1990">0.33859510375452939</cx:pt>
          <cx:pt idx="1991">0.31857299751107243</cx:pt>
          <cx:pt idx="1992">0.30701733239850648</cx:pt>
          <cx:pt idx="1993">0.32224281391331966</cx:pt>
          <cx:pt idx="1994">0.30942418985065578</cx:pt>
          <cx:pt idx="1995">0.28422738725882951</cx:pt>
          <cx:pt idx="1996">0.28039491202700084</cx:pt>
          <cx:pt idx="1997">0.31008729075823788</cx:pt>
          <cx:pt idx="1998">0.31010185225926995</cx:pt>
          <cx:pt idx="1999">0.30990194243047281</cx:pt>
          <cx:pt idx="2000">0.31352476046457545</cx:pt>
          <cx:pt idx="2001">0.29716874393997228</cx:pt>
          <cx:pt idx="2002">0.29927267164519505</cx:pt>
          <cx:pt idx="2003">0.3120499810198899</cx:pt>
          <cx:pt idx="2004">0.31197542466673306</cx:pt>
          <cx:pt idx="2005">0.31256438078519555</cx:pt>
          <cx:pt idx="2006">0.31146591863785567</cx:pt>
          <cx:pt idx="2007">0.31766887373390917</cx:pt>
          <cx:pt idx="2008">0.30136793405478896</cx:pt>
          <cx:pt idx="2009">0.29765990331574682</cx:pt>
          <cx:pt idx="2010">0.29627595351224995</cx:pt>
          <cx:pt idx="2011">0.29441263439050014</cx:pt>
          <cx:pt idx="2012">0.29308262845980437</cx:pt>
          <cx:pt idx="2013">0.29128599789480869</cx:pt>
          <cx:pt idx="2014">0.30041839182530672</cx:pt>
          <cx:pt idx="2015">0.29938485758148015</cx:pt>
          <cx:pt idx="2016">0.30179124929605394</cx:pt>
          <cx:pt idx="2017">0.31982213624934597</cx:pt>
          <cx:pt idx="2018">0.31580843380978096</cx:pt>
          <cx:pt idx="2019">0.31479283046950429</cx:pt>
          <cx:pt idx="2020">0.31608026780439286</cx:pt>
          <cx:pt idx="2021">0.32038951984404579</cx:pt>
          <cx:pt idx="2022">0.32048039124664301</cx:pt>
          <cx:pt idx="2023">0.30175031500567434</cx:pt>
          <cx:pt idx="2024">0.31021415381177719</cx:pt>
          <cx:pt idx="2025">0.3264193438844758</cx:pt>
          <cx:pt idx="2026">0.34456986937793999</cx:pt>
          <cx:pt idx="2027">0.32437883689233404</cx:pt>
          <cx:pt idx="2028">0.33716150932060102</cx:pt>
          <cx:pt idx="2029">0.34366494272908976</cx:pt>
          <cx:pt idx="2030">0.34541634362349982</cx:pt>
          <cx:pt idx="2031">0.34629407868119388</cx:pt>
          <cx:pt idx="2032">0.34002888645086515</cx:pt>
          <cx:pt idx="2033">0.32255457035415719</cx:pt>
          <cx:pt idx="2034">0.32085190953507492</cx:pt>
          <cx:pt idx="2035">0.3208500767290981</cx:pt>
          <cx:pt idx="2036">0.3180432858937226</cx:pt>
          <cx:pt idx="2037">0.31436749026659455</cx:pt>
          <cx:pt idx="2038">0.333820614593342</cx:pt>
          <cx:pt idx="2039">0.32580564101667642</cx:pt>
          <cx:pt idx="2040">0.31777744428937205</cx:pt>
          <cx:pt idx="2041">0.31590957586886864</cx:pt>
          <cx:pt idx="2042">0.31153158905884792</cx:pt>
          <cx:pt idx="2043">0.31247310218207702</cx:pt>
          <cx:pt idx="2044">0.31298844627607775</cx:pt>
          <cx:pt idx="2045">0.31665549659453446</cx:pt>
          <cx:pt idx="2046">0.31320215242034932</cx:pt>
          <cx:pt idx="2047">0.30427311975521015</cx:pt>
          <cx:pt idx="2048">0.30811760883538691</cx:pt>
          <cx:pt idx="2049">0.31192745423451007</cx:pt>
          <cx:pt idx="2050">0.31212075151171559</cx:pt>
          <cx:pt idx="2051">0.31923099843687952</cx:pt>
          <cx:pt idx="2052">0.3199420622980842</cx:pt>
          <cx:pt idx="2053">0.3233856912274965</cx:pt>
          <cx:pt idx="2054">0.32602655866129732</cx:pt>
          <cx:pt idx="2055">0.32227190143671913</cx:pt>
          <cx:pt idx="2056">0.29625140259178878</cx:pt>
          <cx:pt idx="2057">0.29151146623139745</cx:pt>
          <cx:pt idx="2058">0.28166497824065195</cx:pt>
          <cx:pt idx="2059">0.27864017102587257</cx:pt>
          <cx:pt idx="2060">0.29096504924954275</cx:pt>
          <cx:pt idx="2061">0.29129740081310446</cx:pt>
          <cx:pt idx="2062">0.29098060663646075</cx:pt>
          <cx:pt idx="2063">0.29573374710852757</cx:pt>
          <cx:pt idx="2064">0.29746232895337116</cx:pt>
          <cx:pt idx="2065">0.30278164737251179</cx:pt>
          <cx:pt idx="2066">0.30051137685914414</cx:pt>
          <cx:pt idx="2067">0.30090580210261436</cx:pt>
          <cx:pt idx="2068">0.27812359703795558</cx:pt>
          <cx:pt idx="2069">0.27821380294020148</cx:pt>
          <cx:pt idx="2070">0.27622126439629202</cx:pt>
          <cx:pt idx="2071">0.26395631159173932</cx:pt>
          <cx:pt idx="2072">0.26368268546968837</cx:pt>
          <cx:pt idx="2073">0.26628459214773176</cx:pt>
          <cx:pt idx="2074">0.2662314753221296</cx:pt>
          <cx:pt idx="2075">0.26465793090992412</cx:pt>
          <cx:pt idx="2076">0.26489047296446028</cx:pt>
          <cx:pt idx="2077">0.25763202840200178</cx:pt>
          <cx:pt idx="2078">0.25834194698801105</cx:pt>
          <cx:pt idx="2079">0.25520854371078966</cx:pt>
          <cx:pt idx="2080">0.25115914709256387</cx:pt>
          <cx:pt idx="2081">0.24095282639711968</cx:pt>
          <cx:pt idx="2082">0.24273826138289276</cx:pt>
          <cx:pt idx="2083">0.24779898460630731</cx:pt>
          <cx:pt idx="2084">0.23999772342517256</cx:pt>
          <cx:pt idx="2085">0.24049390971292103</cx:pt>
          <cx:pt idx="2086">0.24021771847020595</cx:pt>
          <cx:pt idx="2087">0.24867371784687367</cx:pt>
          <cx:pt idx="2088">0.24818588201617722</cx:pt>
          <cx:pt idx="2089">0.26485952325882861</cx:pt>
          <cx:pt idx="2090">0.25569106468938246</cx:pt>
          <cx:pt idx="2091">0.25539059769472816</cx:pt>
          <cx:pt idx="2092">0.25668220881030601</cx:pt>
          <cx:pt idx="2093">0.24533202135211102</cx:pt>
          <cx:pt idx="2094">0.2699997550536668</cx:pt>
          <cx:pt idx="2095">0.27195141330053629</cx:pt>
          <cx:pt idx="2096">0.27409444604329813</cx:pt>
          <cx:pt idx="2097">0.27619312153172443</cx:pt>
          <cx:pt idx="2098">0.28615358788097778</cx:pt>
          <cx:pt idx="2099">0.28781862777682282</cx:pt>
          <cx:pt idx="2100">0.3014918843539684</cx:pt>
          <cx:pt idx="2101">0.30991581271831292</cx:pt>
          <cx:pt idx="2102">0.31123821302450899</cx:pt>
          <cx:pt idx="2103">0.32825638084522957</cx:pt>
          <cx:pt idx="2104">0.33263938539881971</cx:pt>
          <cx:pt idx="2105">0.33444288988833187</cx:pt>
          <cx:pt idx="2106">0.34338643038219263</cx:pt>
          <cx:pt idx="2107">0.34416524452138042</cx:pt>
          <cx:pt idx="2108">0.35046767965254738</cx:pt>
          <cx:pt idx="2109">0.34568286373641766</cx:pt>
          <cx:pt idx="2110">0.34654177729548025</cx:pt>
          <cx:pt idx="2111">0.35025845051566107</cx:pt>
          <cx:pt idx="2112">0.34970155336057518</cx:pt>
          <cx:pt idx="2113">0.35207271408773677</cx:pt>
          <cx:pt idx="2114">0.35262029073492296</cx:pt>
          <cx:pt idx="2115">0.3388740878705076</cx:pt>
          <cx:pt idx="2116">0.34565832165148558</cx:pt>
          <cx:pt idx="2117">0.3330558620683931</cx:pt>
          <cx:pt idx="2118">0.31508985006264767</cx:pt>
          <cx:pt idx="2119">0.32833999094361976</cx:pt>
          <cx:pt idx="2120">0.33279659254563526</cx:pt>
          <cx:pt idx="2121">0.33316766526968261</cx:pt>
          <cx:pt idx="2122">0.33175596088814485</cx:pt>
          <cx:pt idx="2123">0.33222385077565997</cx:pt>
          <cx:pt idx="2124">0.31572798222870407</cx:pt>
          <cx:pt idx="2125">0.31515356297396824</cx:pt>
          <cx:pt idx="2126">0.31579808279946309</cx:pt>
          <cx:pt idx="2127">0.31684624831599234</cx:pt>
          <cx:pt idx="2128">0.31045687681376177</cx:pt>
          <cx:pt idx="2129">0.30849089635684213</cx:pt>
          <cx:pt idx="2130">0.31527985850898455</cx:pt>
          <cx:pt idx="2131">0.30730299048686632</cx:pt>
          <cx:pt idx="2132">0.30694327315971232</cx:pt>
          <cx:pt idx="2133">0.27595487967724353</cx:pt>
          <cx:pt idx="2134">0.27696694949671397</cx:pt>
          <cx:pt idx="2135">0.28677397047316022</cx:pt>
          <cx:pt idx="2136">0.29836615325966692</cx:pt>
          <cx:pt idx="2137">0.29911348542080846</cx:pt>
          <cx:pt idx="2138">0.28031443635276077</cx:pt>
          <cx:pt idx="2139">0.27834504413571487</cx:pt>
          <cx:pt idx="2140">0.27698209196393925</cx:pt>
          <cx:pt idx="2141">0.27385330795990059</cx:pt>
          <cx:pt idx="2142">0.27366198679584886</cx:pt>
          <cx:pt idx="2143">0.26983096678239232</cx:pt>
          <cx:pt idx="2144">0.26768190262852187</cx:pt>
          <cx:pt idx="2145">0.26085771778652322</cx:pt>
          <cx:pt idx="2146">0.26949884894826548</cx:pt>
          <cx:pt idx="2147">0.2683812012469276</cx:pt>
          <cx:pt idx="2148">0.26887775976621536</cx:pt>
          <cx:pt idx="2149">0.27751425559046788</cx:pt>
          <cx:pt idx="2150">0.27396997197248746</cx:pt>
          <cx:pt idx="2151">0.28580435746234456</cx:pt>
          <cx:pt idx="2152">0.28620910350443307</cx:pt>
          <cx:pt idx="2153">0.28634848923978146</cx:pt>
          <cx:pt idx="2154">0.28182688641506204</cx:pt>
          <cx:pt idx="2155">0.3009937682938742</cx:pt>
          <cx:pt idx="2156">0.30883358785581988</cx:pt>
          <cx:pt idx="2157">0.3046306490832924</cx:pt>
          <cx:pt idx="2158">0.30392393225457698</cx:pt>
          <cx:pt idx="2159">0.32012595530539578</cx:pt>
          <cx:pt idx="2160">0.31354457540643949</cx:pt>
          <cx:pt idx="2161">0.31359131686626207</cx:pt>
          <cx:pt idx="2162">0.3105537278459447</cx:pt>
          <cx:pt idx="2163">0.31583776481073972</cx:pt>
          <cx:pt idx="2164">0.31470268861562345</cx:pt>
          <cx:pt idx="2165">0.31311782962826806</cx:pt>
          <cx:pt idx="2166">0.29877020895591477</cx:pt>
          <cx:pt idx="2167">0.30320219518281183</cx:pt>
          <cx:pt idx="2168">0.31690045982635651</cx:pt>
          <cx:pt idx="2169">0.3254230858566135</cx:pt>
          <cx:pt idx="2170">0.34045229036903601</cx:pt>
          <cx:pt idx="2171">0.343836628431263</cx:pt>
          <cx:pt idx="2172">0.34561037611672835</cx:pt>
          <cx:pt idx="2173">0.35558308737305611</cx:pt>
          <cx:pt idx="2174">0.35621599983911428</cx:pt>
          <cx:pt idx="2175">0.35930367658564</cx:pt>
          <cx:pt idx="2176">0.35780143014738341</cx:pt>
          <cx:pt idx="2177">0.35764268824414702</cx:pt>
          <cx:pt idx="2178">0.36836703343907679</cx:pt>
          <cx:pt idx="2179">0.34267381380608586</cx:pt>
          <cx:pt idx="2180">0.34217456607434188</cx:pt>
          <cx:pt idx="2181">0.34930702532827879</cx:pt>
          <cx:pt idx="2182">0.35661129694441857</cx:pt>
          <cx:pt idx="2183">0.35707103793433131</cx:pt>
          <cx:pt idx="2184">0.36021771927559604</cx:pt>
          <cx:pt idx="2185">0.35692765334961674</cx:pt>
          <cx:pt idx="2186">0.34820750603362327</cx:pt>
          <cx:pt idx="2187">0.35271839908274072</cx:pt>
          <cx:pt idx="2188">0.35349639002331118</cx:pt>
          <cx:pt idx="2189">0.3472366500016818</cx:pt>
          <cx:pt idx="2190">0.3438767047718439</cx:pt>
          <cx:pt idx="2191">0.33946043550849725</cx:pt>
          <cx:pt idx="2192">0.33550115862363528</cx:pt>
          <cx:pt idx="2193">0.32786645331095304</cx:pt>
          <cx:pt idx="2194">0.32014220399617588</cx:pt>
          <cx:pt idx="2195">0.32091006062265304</cx:pt>
          <cx:pt idx="2196">0.32236846557390791</cx:pt>
          <cx:pt idx="2197">0.31504429815519946</cx:pt>
          <cx:pt idx="2198">0.33237229875905927</cx:pt>
          <cx:pt idx="2199">0.32749171735454191</cx:pt>
          <cx:pt idx="2200">0.33012714305075164</cx:pt>
          <cx:pt idx="2201">0.32918706342302984</cx:pt>
          <cx:pt idx="2202">0.33243068844357127</cx:pt>
          <cx:pt idx="2203">0.33248558625988128</cx:pt>
          <cx:pt idx="2204">0.33002632637338231</cx:pt>
          <cx:pt idx="2205">0.32661413865206401</cx:pt>
          <cx:pt idx="2206">0.32752326832463419</cx:pt>
          <cx:pt idx="2207">0.34950029346901479</cx:pt>
          <cx:pt idx="2208">0.33640259349041907</cx:pt>
          <cx:pt idx="2209">0.33487095972838515</cx:pt>
          <cx:pt idx="2210">0.33718351671815983</cx:pt>
          <cx:pt idx="2211">0.32024276606082414</cx:pt>
          <cx:pt idx="2212">0.30712412607812661</cx:pt>
          <cx:pt idx="2213">0.31864643015878807</cx:pt>
          <cx:pt idx="2214">0.31445906098687143</cx:pt>
          <cx:pt idx="2215">0.29981123301102458</cx:pt>
          <cx:pt idx="2216">0.30054098283812725</cx:pt>
          <cx:pt idx="2217">0.30342941155054332</cx:pt>
          <cx:pt idx="2218">0.32137369366109408</cx:pt>
          <cx:pt idx="2219">0.33403276826785916</cx:pt>
          <cx:pt idx="2220">0.34534034125534996</cx:pt>
          <cx:pt idx="2221">0.34399912330631788</cx:pt>
          <cx:pt idx="2222">0.34965071902471712</cx:pt>
          <cx:pt idx="2223">0.34967426546416086</cx:pt>
          <cx:pt idx="2224">0.42335464870636169</cx:pt>
          <cx:pt idx="2225">0.46905164483825362</cx:pt>
          <cx:pt idx="2226">0.53128904338722249</cx:pt>
          <cx:pt idx="2227">0.56569554658875287</cx:pt>
          <cx:pt idx="2228">0.60074672285940778</cx:pt>
          <cx:pt idx="2229">0.63321227076175957</cx:pt>
          <cx:pt idx="2230">0.65708801665749339</cx:pt>
          <cx:pt idx="2231">0.67081147251718365</cx:pt>
          <cx:pt idx="2232">0.67905812885590389</cx:pt>
          <cx:pt idx="2233">0.70287009791106458</cx:pt>
          <cx:pt idx="2234">0.69870858870222829</cx:pt>
          <cx:pt idx="2235">0.69084173576070218</cx:pt>
          <cx:pt idx="2236">0.6786341288477663</cx:pt>
          <cx:pt idx="2237">0.68450472965235132</cx:pt>
          <cx:pt idx="2238">0.70795108289241815</cx:pt>
          <cx:pt idx="2239">0.7110498655008658</cx:pt>
          <cx:pt idx="2240">0.69178470258985902</cx:pt>
          <cx:pt idx="2241">0.6788393364822497</cx:pt>
          <cx:pt idx="2242">0.67166203483587339</cx:pt>
          <cx:pt idx="2243">0.62141202804203932</cx:pt>
          <cx:pt idx="2244">0.58005890045762576</cx:pt>
          <cx:pt idx="2245">0.5381052889842266</cx:pt>
          <cx:pt idx="2246">0.48439762278947879</cx:pt>
          <cx:pt idx="2247">0.46131972647420888</cx:pt>
          <cx:pt idx="2248">0.47149523703587487</cx:pt>
          <cx:pt idx="2249">0.4546888000656889</cx:pt>
          <cx:pt idx="2250">0.43744716456764027</cx:pt>
          <cx:pt idx="2251">0.39642276989287206</cx:pt>
          <cx:pt idx="2252">0.3642256510625882</cx:pt>
          <cx:pt idx="2253">1.7437245299630888</cx:pt>
          <cx:pt idx="2254">1.7545669162007229</cx:pt>
          <cx:pt idx="2255">1.7775605909113272</cx:pt>
          <cx:pt idx="2256">1.7633967479526151</cx:pt>
          <cx:pt idx="2257">1.7489823028509832</cx:pt>
          <cx:pt idx="2258">1.7246657228172451</cx:pt>
          <cx:pt idx="2259">1.6894332540018182</cx:pt>
          <cx:pt idx="2260">1.6461147938458229</cx:pt>
          <cx:pt idx="2261">1.5886982773724874</cx:pt>
          <cx:pt idx="2262">1.5153334424663523</cx:pt>
          <cx:pt idx="2263">1.4351875014447313</cx:pt>
          <cx:pt idx="2264">1.3426010017550052</cx:pt>
          <cx:pt idx="2265">1.2309104907294715</cx:pt>
          <cx:pt idx="2266">1.1091619456351949</cx:pt>
          <cx:pt idx="2267">0.9360608606056251</cx:pt>
          <cx:pt idx="2268">0.71224113594434191</cx:pt>
          <cx:pt idx="2269">0.3167671286371993</cx:pt>
          <cx:pt idx="2270">0.31685548667680796</cx:pt>
          <cx:pt idx="2271">0.30659147893713395</cx:pt>
          <cx:pt idx="2272">0.29863770554012276</cx:pt>
          <cx:pt idx="2273">0.30007917965723857</cx:pt>
          <cx:pt idx="2274">0.29653518660544603</cx:pt>
          <cx:pt idx="2275">0.29026536493382077</cx:pt>
          <cx:pt idx="2276">0.29170660583374869</cx:pt>
          <cx:pt idx="2277">0.28128788004275179</cx:pt>
          <cx:pt idx="2278">0.27989599789014874</cx:pt>
          <cx:pt idx="2279">0.27699714093391176</cx:pt>
          <cx:pt idx="2280">0.27512465803108088</cx:pt>
          <cx:pt idx="2281">0.29005301556680724</cx:pt>
          <cx:pt idx="2282">0.28082353105276686</cx:pt>
          <cx:pt idx="2283">0.28498973288893503</cx:pt>
          <cx:pt idx="2284">0.30215305486015359</cx:pt>
          <cx:pt idx="2285">0.28770053868799789</cx:pt>
          <cx:pt idx="2286">0.30527853305532193</cx:pt>
          <cx:pt idx="2287">0.30164171824491548</cx:pt>
          <cx:pt idx="2288">0.30444676281256894</cx:pt>
          <cx:pt idx="2289">0.31358329777929655</cx:pt>
          <cx:pt idx="2290">0.32835895906511986</cx:pt>
          <cx:pt idx="2291">0.3280836399308647</cx:pt>
          <cx:pt idx="2292">0.32456532440505925</cx:pt>
          <cx:pt idx="2293">0.32581088080790654</cx:pt>
          <cx:pt idx="2294">0.32703895120895526</cx:pt>
          <cx:pt idx="2295">0.32491624768944255</cx:pt>
          <cx:pt idx="2296">0.28273201352862387</cx:pt>
          <cx:pt idx="2297">0.30232690375297733</cx:pt>
          <cx:pt idx="2298">0.28134741881608444</cx:pt>
          <cx:pt idx="2299">0.3024427112612797</cx:pt>
          <cx:pt idx="2300">0.30625579179545642</cx:pt>
          <cx:pt idx="2301">0.30876944335216383</cx:pt>
          <cx:pt idx="2302">0.31411411693703839</cx:pt>
          <cx:pt idx="2303">0.31760082352486407</cx:pt>
          <cx:pt idx="2304">0.315989622849078</cx:pt>
          <cx:pt idx="2305">0.33084958042243501</cx:pt>
          <cx:pt idx="2306">0.34234578375031072</cx:pt>
          <cx:pt idx="2307">0.3477306532972218</cx:pt>
          <cx:pt idx="2308">0.35178141514451094</cx:pt>
          <cx:pt idx="2309">0.36648625382157357</cx:pt>
          <cx:pt idx="2310">0.38111553869611986</cx:pt>
          <cx:pt idx="2311">0.37603250008949868</cx:pt>
          <cx:pt idx="2312">0.38972250289960125</cx:pt>
          <cx:pt idx="2313">0.38555757159607568</cx:pt>
          <cx:pt idx="2314">0.37845843728563833</cx:pt>
          <cx:pt idx="2315">0.37129868047391568</cx:pt>
          <cx:pt idx="2316">0.36219057403784372</cx:pt>
          <cx:pt idx="2317">0.37745862956819576</cx:pt>
          <cx:pt idx="2318">0.373787502218139</cx:pt>
          <cx:pt idx="2319">0.36924075520263416</cx:pt>
          <cx:pt idx="2320">0.34854728964830817</cx:pt>
          <cx:pt idx="2321">0.34947742521576797</cx:pt>
          <cx:pt idx="2322">0.34660195589671233</cx:pt>
          <cx:pt idx="2323">0.34241070661918305</cx:pt>
          <cx:pt idx="2324">0.35140868685045484</cx:pt>
          <cx:pt idx="2325">0.36686615843443793</cx:pt>
          <cx:pt idx="2326">0.36485867285014573</cx:pt>
          <cx:pt idx="2327">0.36347909940477985</cx:pt>
          <cx:pt idx="2328">0.37113746450722468</cx:pt>
          <cx:pt idx="2329">0.3619560904444038</cx:pt>
          <cx:pt idx="2330">0.36576077613246105</cx:pt>
          <cx:pt idx="2331">0.36088383843527927</cx:pt>
          <cx:pt idx="2332">0.35538419193728071</cx:pt>
          <cx:pt idx="2333">0.35517762668510194</cx:pt>
          <cx:pt idx="2334">0.3603590888073932</cx:pt>
          <cx:pt idx="2335">0.36009028907570367</cx:pt>
          <cx:pt idx="2336">0.36624395679194188</cx:pt>
          <cx:pt idx="2337">0.36528227908941857</cx:pt>
          <cx:pt idx="2338">0.37440012472075546</cx:pt>
          <cx:pt idx="2339">0.35915406556169527</cx:pt>
          <cx:pt idx="2340">0.35393983050995309</cx:pt>
          <cx:pt idx="2341">0.35026848317337789</cx:pt>
          <cx:pt idx="2342">0.33461590515161405</cx:pt>
          <cx:pt idx="2343">0.33221740682324385</cx:pt>
          <cx:pt idx="2344">0.33187875601537858</cx:pt>
          <cx:pt idx="2345">0.33638949139113655</cx:pt>
          <cx:pt idx="2346">0.33921315250470407</cx:pt>
          <cx:pt idx="2347">0.32461732282841488</cx:pt>
          <cx:pt idx="2348">0.32813453729041542</cx:pt>
          <cx:pt idx="2349">0.34371410740691655</cx:pt>
          <cx:pt idx="2350">0.34898683068946923</cx:pt>
          <cx:pt idx="2351">0.35019244721459003</cx:pt>
          <cx:pt idx="2352">0.35074763732711456</cx:pt>
          <cx:pt idx="2353">0.3554661253230309</cx:pt>
          <cx:pt idx="2354">0.34762310187416678</cx:pt>
          <cx:pt idx="2355">0.33802553476298058</cx:pt>
          <cx:pt idx="2356">0.35239800480610856</cx:pt>
          <cx:pt idx="2357">0.35510119005462731</cx:pt>
          <cx:pt idx="2358">0.34315744060422015</cx:pt>
          <cx:pt idx="2359">0.33727447254735343</cx:pt>
          <cx:pt idx="2360">0.34217752688971531</cx:pt>
          <cx:pt idx="2361">0.35146448687850418</cx:pt>
          <cx:pt idx="2362">0.35838628176279497</cx:pt>
          <cx:pt idx="2363">0.35382247688638691</cx:pt>
          <cx:pt idx="2364">0.3671633690605558</cx:pt>
          <cx:pt idx="2365">0.361391941389824</cx:pt>
          <cx:pt idx="2366">0.35165118764739589</cx:pt>
          <cx:pt idx="2367">0.35502491185489399</cx:pt>
          <cx:pt idx="2368">0.35279905328932798</cx:pt>
          <cx:pt idx="2369">0.35796460629394217</cx:pt>
          <cx:pt idx="2370">0.35517809169724374</cx:pt>
          <cx:pt idx="2371">0.35641592364230479</cx:pt>
          <cx:pt idx="2372">0.3581470816785704</cx:pt>
          <cx:pt idx="2373">0.36455734896454123</cx:pt>
          <cx:pt idx="2374">0.37026574624205078</cx:pt>
          <cx:pt idx="2375">0.37330491307347341</cx:pt>
          <cx:pt idx="2376">0.37193705557470652</cx:pt>
          <cx:pt idx="2377">0.37928679184797315</cx:pt>
          <cx:pt idx="2378">0.38304974351334486</cx:pt>
          <cx:pt idx="2379">0.36415728991004492</cx:pt>
          <cx:pt idx="2380">0.36764776721847514</cx:pt>
          <cx:pt idx="2381">0.37493002347943072</cx:pt>
          <cx:pt idx="2382">0.38417526297846816</cx:pt>
          <cx:pt idx="2383">0.38698587970354403</cx:pt>
          <cx:pt idx="2384">0.39178996255448051</cx:pt>
          <cx:pt idx="2385">0.39732475868288047</cx:pt>
          <cx:pt idx="2386">0.38357211426890025</cx:pt>
          <cx:pt idx="2387">0.36719008983809864</cx:pt>
          <cx:pt idx="2388">0.37774482267167819</cx:pt>
          <cx:pt idx="2389">0.39273852437848894</cx:pt>
          <cx:pt idx="2390">0.40234798684861989</cx:pt>
          <cx:pt idx="2391">0.40767733828021957</cx:pt>
          <cx:pt idx="2392">0.40268861611841072</cx:pt>
          <cx:pt idx="2393">0.4301902146897556</cx:pt>
          <cx:pt idx="2394">0.38077725600392393</cx:pt>
          <cx:pt idx="2395">0.4160377652396729</cx:pt>
          <cx:pt idx="2396">0.43143469780528171</cx:pt>
          <cx:pt idx="2397">0.4664874378896674</cx:pt>
          <cx:pt idx="2398">0.11425663148166298</cx:pt>
          <cx:pt idx="2399">0.14554120915130589</cx:pt>
        </cx:lvl>
      </cx:numDim>
    </cx:data>
    <cx:data id="6">
      <cx:numDim type="val">
        <cx:f>Sheet2!$G$4919:$G$7318</cx:f>
        <cx:lvl ptCount="2400" formatCode="#,##0.00">
          <cx:pt idx="0">1.7425834101123603</cx:pt>
          <cx:pt idx="1">1.8303351391925695</cx:pt>
          <cx:pt idx="2">1.8650308007931886</cx:pt>
          <cx:pt idx="3">1.9028648038838638</cx:pt>
          <cx:pt idx="4">1.8818149006276312</cx:pt>
          <cx:pt idx="5">1.9036022009371949</cx:pt>
          <cx:pt idx="6">1.8272859838256463</cx:pt>
          <cx:pt idx="7">1.842727625849327</cx:pt>
          <cx:pt idx="8">1.9341987299377357</cx:pt>
          <cx:pt idx="9">1.9391453275865891</cx:pt>
          <cx:pt idx="10">1.9277501823758776</cx:pt>
          <cx:pt idx="11">1.9239145838430072</cx:pt>
          <cx:pt idx="12">1.9690085767562309</cx:pt>
          <cx:pt idx="13">2.0341004739913919</cx:pt>
          <cx:pt idx="14">2.0195770262758654</cx:pt>
          <cx:pt idx="15">2.0176558946472762</cx:pt>
          <cx:pt idx="16">2.0295560939855757</cx:pt>
          <cx:pt idx="17">2.0668651635860775</cx:pt>
          <cx:pt idx="18">2.1522631634195881</cx:pt>
          <cx:pt idx="19">2.1074143878930989</cx:pt>
          <cx:pt idx="20">2.1815699092459799</cx:pt>
          <cx:pt idx="21">2.1929417765671966</cx:pt>
          <cx:pt idx="22">2.2560756764712537</cx:pt>
          <cx:pt idx="23">2.2549381968232178</cx:pt>
          <cx:pt idx="24">2.2685458713625142</cx:pt>
          <cx:pt idx="25">2.2108140309817603</cx:pt>
          <cx:pt idx="26">2.2082860787766205</cx:pt>
          <cx:pt idx="27">2.2373425999108596</cx:pt>
          <cx:pt idx="28">2.2398211330559343</cx:pt>
          <cx:pt idx="29">2.2731908409152641</cx:pt>
          <cx:pt idx="30">2.2805854534415748</cx:pt>
          <cx:pt idx="31">2.2259145412143715</cx:pt>
          <cx:pt idx="32">2.1803060765066506</cx:pt>
          <cx:pt idx="33">2.2471386236546227</cx:pt>
          <cx:pt idx="34">2.2925999300055508</cx:pt>
          <cx:pt idx="35">2.23071889153693</cx:pt>
          <cx:pt idx="36">2.2098344058036181</cx:pt>
          <cx:pt idx="37">2.1771029682753316</cx:pt>
          <cx:pt idx="38">2.1701342501391152</cx:pt>
          <cx:pt idx="39">2.2049243229796893</cx:pt>
          <cx:pt idx="40">2.1990092503876792</cx:pt>
          <cx:pt idx="41">2.2663707136402556</cx:pt>
          <cx:pt idx="42">2.2229440802177303</cx:pt>
          <cx:pt idx="43">2.172152484054259</cx:pt>
          <cx:pt idx="44">2.1556814856157689</cx:pt>
          <cx:pt idx="45">2.1730436586230257</cx:pt>
          <cx:pt idx="46">2.1844064237127294</cx:pt>
          <cx:pt idx="47">2.1690626790992269</cx:pt>
          <cx:pt idx="48">2.1864211285962591</cx:pt>
          <cx:pt idx="49">2.1945798842246678</cx:pt>
          <cx:pt idx="50">2.1849473381144495</cx:pt>
          <cx:pt idx="51">2.2406814092019971</cx:pt>
          <cx:pt idx="52">2.2537278997665156</cx:pt>
          <cx:pt idx="53">2.2469887177533048</cx:pt>
          <cx:pt idx="54">2.2984685614007621</cx:pt>
          <cx:pt idx="55">2.3322570221819148</cx:pt>
          <cx:pt idx="56">2.2930165622772818</cx:pt>
          <cx:pt idx="57">2.2745417208522247</cx:pt>
          <cx:pt idx="58">2.2785929739455075</cx:pt>
          <cx:pt idx="59">2.2930772112597304</cx:pt>
          <cx:pt idx="60">2.3284721308488585</cx:pt>
          <cx:pt idx="61">2.3549829539921534</cx:pt>
          <cx:pt idx="62">2.3678577366964024</cx:pt>
          <cx:pt idx="63">2.2964633867393487</cx:pt>
          <cx:pt idx="64">2.3332427346061069</cx:pt>
          <cx:pt idx="65">2.3567668843651934</cx:pt>
          <cx:pt idx="66">2.3823062187951796</cx:pt>
          <cx:pt idx="67">2.3825906681616575</cx:pt>
          <cx:pt idx="68">2.346829483673524</cx:pt>
          <cx:pt idx="69">2.3644548056530232</cx:pt>
          <cx:pt idx="70">2.3648610282848748</cx:pt>
          <cx:pt idx="71">2.3523663477904062</cx:pt>
          <cx:pt idx="72">2.3984688444022275</cx:pt>
          <cx:pt idx="73">2.3926511883930957</cx:pt>
          <cx:pt idx="74">2.4614350462562182</cx:pt>
          <cx:pt idx="75">2.4606179769208705</cx:pt>
          <cx:pt idx="76">2.453773941212587</cx:pt>
          <cx:pt idx="77">2.381325656798658</cx:pt>
          <cx:pt idx="78">2.3517518113360012</cx:pt>
          <cx:pt idx="79">2.341887642810272</cx:pt>
          <cx:pt idx="80">2.2773302603811194</cx:pt>
          <cx:pt idx="81">2.2333541609868908</cx:pt>
          <cx:pt idx="82">2.1535680670454189</cx:pt>
          <cx:pt idx="83">2.2015447481363912</cx:pt>
          <cx:pt idx="84">2.2088121139399677</cx:pt>
          <cx:pt idx="85">2.1981165024742673</cx:pt>
          <cx:pt idx="86">2.1866320979086651</cx:pt>
          <cx:pt idx="87">2.1850377673273984</cx:pt>
          <cx:pt idx="88">2.2096009748661798</cx:pt>
          <cx:pt idx="89">2.1466376491020149</cx:pt>
          <cx:pt idx="90">2.1129878781821576</cx:pt>
          <cx:pt idx="91">2.0730701470791453</cx:pt>
          <cx:pt idx="92">2.0794410871937976</cx:pt>
          <cx:pt idx="93">2.1328162370838299</cx:pt>
          <cx:pt idx="94">2.0847910127919653</cx:pt>
          <cx:pt idx="95">2.061541615636429</cx:pt>
          <cx:pt idx="96">2.1025286155656353</cx:pt>
          <cx:pt idx="97">2.188725134946925</cx:pt>
          <cx:pt idx="98">2.141160359034465</cx:pt>
          <cx:pt idx="99">2.141160359034465</cx:pt>
          <cx:pt idx="100">2.1428193440282883</cx:pt>
          <cx:pt idx="101">2.1532103054624558</cx:pt>
          <cx:pt idx="102">2.1122327335635025</cx:pt>
          <cx:pt idx="103">2.1979307522136686</cx:pt>
          <cx:pt idx="104">2.1077965977716282</cx:pt>
          <cx:pt idx="105">2.2148259898870695</cx:pt>
          <cx:pt idx="106">2.2515273728275669</cx:pt>
          <cx:pt idx="107">2.2385671026632732</cx:pt>
          <cx:pt idx="108">2.2050900985102011</cx:pt>
          <cx:pt idx="109">2.2131522196228226</cx:pt>
          <cx:pt idx="110">2.2622778380282837</cx:pt>
          <cx:pt idx="111">2.2361504770515457</cx:pt>
          <cx:pt idx="112">2.3478262331949971</cx:pt>
          <cx:pt idx="113">2.3308561264333019</cx:pt>
          <cx:pt idx="114">2.2904827853008758</cx:pt>
          <cx:pt idx="115">2.2673100746979071</cx:pt>
          <cx:pt idx="116">2.3003616502319959</cx:pt>
          <cx:pt idx="117">2.2827558053120049</cx:pt>
          <cx:pt idx="118">2.2671006630822368</cx:pt>
          <cx:pt idx="119">2.2676479081291925</cx:pt>
          <cx:pt idx="120">2.2726073949575714</cx:pt>
          <cx:pt idx="121">2.2744312107807034</cx:pt>
          <cx:pt idx="122">2.2651917708895346</cx:pt>
          <cx:pt idx="123">2.2822214233613165</cx:pt>
          <cx:pt idx="124">2.2870579329764964</cx:pt>
          <cx:pt idx="125">2.2861907590067521</cx:pt>
          <cx:pt idx="126">2.1998820317776149</cx:pt>
          <cx:pt idx="127">2.1297599977351633</cx:pt>
          <cx:pt idx="128">2.2237144288597461</cx:pt>
          <cx:pt idx="129">2.1961490341987884</cx:pt>
          <cx:pt idx="130">2.2136779566919311</cx:pt>
          <cx:pt idx="131">2.1794509101130211</cx:pt>
          <cx:pt idx="132">2.1444579978384302</cx:pt>
          <cx:pt idx="133">2.081613976560357</cx:pt>
          <cx:pt idx="134">2.0564112444332712</cx:pt>
          <cx:pt idx="135">1.9602576489703412</cx:pt>
          <cx:pt idx="136">1.8958368593233923</cx:pt>
          <cx:pt idx="137">1.9168533039259237</cx:pt>
          <cx:pt idx="138">1.9229095343333185</cx:pt>
          <cx:pt idx="139">1.9071647744660123</cx:pt>
          <cx:pt idx="140">1.9186796067756662</cx:pt>
          <cx:pt idx="141">1.9369862274892522</cx:pt>
          <cx:pt idx="142">1.8651464178113766</cx:pt>
          <cx:pt idx="143">1.9074806365060137</cx:pt>
          <cx:pt idx="144">1.8825347072763183</cx:pt>
          <cx:pt idx="145">1.8778551296378765</cx:pt>
          <cx:pt idx="146">1.8845286614594297</cx:pt>
          <cx:pt idx="147">1.9397792198282755</cx:pt>
          <cx:pt idx="148">1.9360926709318496</cx:pt>
          <cx:pt idx="149">1.9972764775147449</cx:pt>
          <cx:pt idx="150">2.064947636002409</cx:pt>
          <cx:pt idx="151">2.0298662017010392</cx:pt>
          <cx:pt idx="152">2.1235676725553403</cx:pt>
          <cx:pt idx="153">2.0913519134919176</cx:pt>
          <cx:pt idx="154">2.0547854050243433</cx:pt>
          <cx:pt idx="155">2.0433642169407777</cx:pt>
          <cx:pt idx="156">2.0469570703458562</cx:pt>
          <cx:pt idx="157">2.0617867414703985</cx:pt>
          <cx:pt idx="158">2.0110971698879356</cx:pt>
          <cx:pt idx="159">2.0039683249023508</cx:pt>
          <cx:pt idx="160">2.0757366922654201</cx:pt>
          <cx:pt idx="161">2.0742863849622011</cx:pt>
          <cx:pt idx="162">2.0736696972056929</cx:pt>
          <cx:pt idx="163">2.0907209946743159</cx:pt>
          <cx:pt idx="164">2.0819360413448793</cx:pt>
          <cx:pt idx="165">2.0935800486171301</cx:pt>
          <cx:pt idx="166">2.0859578832471923</cx:pt>
          <cx:pt idx="167">2.0669538651386876</cx:pt>
          <cx:pt idx="168">2.1166101146657743</cx:pt>
          <cx:pt idx="169">2.1232498646298801</cx:pt>
          <cx:pt idx="170">2.0648408142292176</cx:pt>
          <cx:pt idx="171">2.0032268070174628</cx:pt>
          <cx:pt idx="172">1.8858110885173518</cx:pt>
          <cx:pt idx="173">1.8775617059187788</cx:pt>
          <cx:pt idx="174">2.0019354176765867</cx:pt>
          <cx:pt idx="175">1.9961894924551051</cx:pt>
          <cx:pt idx="176">1.984400166332057</cx:pt>
          <cx:pt idx="177">2.0157168148259226</cx:pt>
          <cx:pt idx="178">2.1146376096167638</cx:pt>
          <cx:pt idx="179">2.1400183505976869</cx:pt>
          <cx:pt idx="180">2.0912996772982795</cx:pt>
          <cx:pt idx="181">2.0438362110698245</cx:pt>
          <cx:pt idx="182">1.9600727173937371</cx:pt>
          <cx:pt idx="183">2.0135575440227931</cx:pt>
          <cx:pt idx="184">2.0715610204073207</cx:pt>
          <cx:pt idx="185">2.0813804050712625</cx:pt>
          <cx:pt idx="186">2.1636217872238026</cx:pt>
          <cx:pt idx="187">2.1962124447121116</cx:pt>
          <cx:pt idx="188">2.1913893168116063</cx:pt>
          <cx:pt idx="189">2.2094957294279625</cx:pt>
          <cx:pt idx="190">2.2315407893809254</cx:pt>
          <cx:pt idx="191">2.1617084391935353</cx:pt>
          <cx:pt idx="192">2.149185074680275</cx:pt>
          <cx:pt idx="193">2.1547609114126676</cx:pt>
          <cx:pt idx="194">2.1626398484901665</cx:pt>
          <cx:pt idx="195">2.2150486634298141</cx:pt>
          <cx:pt idx="196">2.2501744124583705</cx:pt>
          <cx:pt idx="197">2.2839568757234305</cx:pt>
          <cx:pt idx="198">2.2611690212040174</cx:pt>
          <cx:pt idx="199">2.2607102152434244</cx:pt>
          <cx:pt idx="200">2.2928214306924661</cx:pt>
          <cx:pt idx="201">2.3658111528486976</cx:pt>
          <cx:pt idx="202">2.3114191111111868</cx:pt>
          <cx:pt idx="203">2.252392540679748</cx:pt>
          <cx:pt idx="204">2.2665501006577533</cx:pt>
          <cx:pt idx="205">2.2870681506576975</cx:pt>
          <cx:pt idx="206">2.2870681506576975</cx:pt>
          <cx:pt idx="207">2.2870681506576975</cx:pt>
          <cx:pt idx="208">2.2857230115590195</cx:pt>
          <cx:pt idx="209">2.2712396385196301</cx:pt>
          <cx:pt idx="210">2.2875054744668422</cx:pt>
          <cx:pt idx="211">2.2743817593347919</cx:pt>
          <cx:pt idx="212">2.2999836857851679</cx:pt>
          <cx:pt idx="213">2.3147977430526319</cx:pt>
          <cx:pt idx="214">2.2434537725315571</cx:pt>
          <cx:pt idx="215">2.2790575164515654</cx:pt>
          <cx:pt idx="216">2.2270839064397148</cx:pt>
          <cx:pt idx="217">2.2075085388041682</cx:pt>
          <cx:pt idx="218">2.2975687316302458</cx:pt>
          <cx:pt idx="219">2.4406254930997</cx:pt>
          <cx:pt idx="220">2.3985573226379326</cx:pt>
          <cx:pt idx="221">2.3985104303716289</cx:pt>
          <cx:pt idx="222">2.3937780721539701</cx:pt>
          <cx:pt idx="223">2.4355930720494285</cx:pt>
          <cx:pt idx="224">2.5623251202469546</cx:pt>
          <cx:pt idx="225">2.5113188055403675</cx:pt>
          <cx:pt idx="226">2.4964487744250987</cx:pt>
          <cx:pt idx="227">2.4579863648313767</cx:pt>
          <cx:pt idx="228">2.5757522158650965</cx:pt>
          <cx:pt idx="229">2.5721605469639401</cx:pt>
          <cx:pt idx="230">2.489842116401217</cx:pt>
          <cx:pt idx="231">2.509878346293827</cx:pt>
          <cx:pt idx="232">2.4761268044555242</cx:pt>
          <cx:pt idx="233">2.503244669383744</cx:pt>
          <cx:pt idx="234">2.3541063404011648</cx:pt>
          <cx:pt idx="235">2.3694029006150767</cx:pt>
          <cx:pt idx="236">2.3665941625222811</cx:pt>
          <cx:pt idx="237">2.1977367738083968</cx:pt>
          <cx:pt idx="238">2.038804702000697</cx:pt>
          <cx:pt idx="239">2.0202786888969646</cx:pt>
          <cx:pt idx="240">2.0130522137666951</cx:pt>
          <cx:pt idx="241">1.9634443963597872</cx:pt>
          <cx:pt idx="242">1.7861956549690559</cx:pt>
          <cx:pt idx="243">1.4871713219716276</cx:pt>
          <cx:pt idx="244">1.5216756923538834</cx:pt>
          <cx:pt idx="245">1.6150909157959779</cx:pt>
          <cx:pt idx="246">1.5828194383348544</cx:pt>
          <cx:pt idx="247">1.6200904527063069</cx:pt>
          <cx:pt idx="248">1.61223591487042</cx:pt>
          <cx:pt idx="249">1.5582957811105069</cx:pt>
          <cx:pt idx="250">1.6169281184780218</cx:pt>
          <cx:pt idx="251">1.5516534355825167</cx:pt>
          <cx:pt idx="252">1.5587510863439045</cx:pt>
          <cx:pt idx="253">1.5595447182808382</cx:pt>
          <cx:pt idx="254">1.5430178097619349</cx:pt>
          <cx:pt idx="255">1.594022747938729</cx:pt>
          <cx:pt idx="256">1.5869152436411387</cx:pt>
          <cx:pt idx="257">1.6265658143577673</cx:pt>
          <cx:pt idx="258">1.8775170812604118</cx:pt>
          <cx:pt idx="259">1.9282217059945173</cx:pt>
          <cx:pt idx="260">2.0477333178997728</cx:pt>
          <cx:pt idx="261">2.0831153642980578</cx:pt>
          <cx:pt idx="262">2.2051352451960335</cx:pt>
          <cx:pt idx="263">2.1916618763359197</cx:pt>
          <cx:pt idx="264">2.2652135776752007</cx:pt>
          <cx:pt idx="265">2.4420507867808694</cx:pt>
          <cx:pt idx="266">2.4699416511803651</cx:pt>
          <cx:pt idx="267">2.6130220985495534</cx:pt>
          <cx:pt idx="268">2.7126398808203431</cx:pt>
          <cx:pt idx="269">2.7084595983749256</cx:pt>
          <cx:pt idx="270">2.815558896707091</cx:pt>
          <cx:pt idx="271">2.8639430928262999</cx:pt>
          <cx:pt idx="272">2.8487245724955854</cx:pt>
          <cx:pt idx="273">2.840251668968738</cx:pt>
          <cx:pt idx="274">2.7550207369361197</cx:pt>
          <cx:pt idx="275">2.6473416804091925</cx:pt>
          <cx:pt idx="276">2.6414832285693119</cx:pt>
          <cx:pt idx="277">2.4847895601750074</cx:pt>
          <cx:pt idx="278">2.4963848469487306</cx:pt>
          <cx:pt idx="279">2.4393204815098106</cx:pt>
          <cx:pt idx="280">2.3101561649815094</cx:pt>
          <cx:pt idx="281">2.1941301001881648</cx:pt>
          <cx:pt idx="282">2.1861176724547429</cx:pt>
          <cx:pt idx="283">2.159142792095099</cx:pt>
          <cx:pt idx="284">2.1780580626098875</cx:pt>
          <cx:pt idx="285">2.2042562694771686</cx:pt>
          <cx:pt idx="286">2.1158506058920805</cx:pt>
          <cx:pt idx="287">2.1031336795047535</cx:pt>
          <cx:pt idx="288">2.0880666700426014</cx:pt>
          <cx:pt idx="289">2.0931913399760971</cx:pt>
          <cx:pt idx="290">2.1019321450231816</cx:pt>
          <cx:pt idx="291">2.1104672481039968</cx:pt>
          <cx:pt idx="292">2.2130352100419337</cx:pt>
          <cx:pt idx="293">2.2665859763575629</cx:pt>
          <cx:pt idx="294">2.274691731980202</cx:pt>
          <cx:pt idx="295">2.227939891121324</cx:pt>
          <cx:pt idx="296">2.3275466792783384</cx:pt>
          <cx:pt idx="297">2.2738885225564927</cx:pt>
          <cx:pt idx="298">2.2906925475273674</cx:pt>
          <cx:pt idx="299">2.3441515825492738</cx:pt>
          <cx:pt idx="300">2.3827540497088657</cx:pt>
          <cx:pt idx="301">2.3954775160050166</cx:pt>
          <cx:pt idx="302">2.4026796256450975</cx:pt>
          <cx:pt idx="303">2.4325349288958371</cx:pt>
          <cx:pt idx="304">2.5260331639092857</cx:pt>
          <cx:pt idx="305">2.4408312256873259</cx:pt>
          <cx:pt idx="306">2.4121053280511213</cx:pt>
          <cx:pt idx="307">2.4338073584023108</cx:pt>
          <cx:pt idx="308">2.4572217307334689</cx:pt>
          <cx:pt idx="309">2.5057419383741375</cx:pt>
          <cx:pt idx="310">2.456713775805504</cx:pt>
          <cx:pt idx="311">2.4569225688952581</cx:pt>
          <cx:pt idx="312">2.4434125793187</cx:pt>
          <cx:pt idx="313">2.3946799113927355</cx:pt>
          <cx:pt idx="314">2.3545017606480636</cx:pt>
          <cx:pt idx="315">2.3711399263232495</cx:pt>
          <cx:pt idx="316">2.4053039773239622</cx:pt>
          <cx:pt idx="317">2.4840774602145861</cx:pt>
          <cx:pt idx="318">2.4407782957665778</cx:pt>
          <cx:pt idx="319">2.5115101235309507</cx:pt>
          <cx:pt idx="320">2.4794560853822025</cx:pt>
          <cx:pt idx="321">2.5381462483248338</cx:pt>
          <cx:pt idx="322">2.4997862547554393</cx:pt>
          <cx:pt idx="323">2.4608961537126741</cx:pt>
          <cx:pt idx="324">2.4507632921915485</cx:pt>
          <cx:pt idx="325">2.4372400519769033</cx:pt>
          <cx:pt idx="326">2.4373151185630113</cx:pt>
          <cx:pt idx="327">2.433662158918581</cx:pt>
          <cx:pt idx="328">2.3701939417997173</cx:pt>
          <cx:pt idx="329">2.3245060128265442</cx:pt>
          <cx:pt idx="330">2.3100842037062543</cx:pt>
          <cx:pt idx="331">2.2913602746896755</cx:pt>
          <cx:pt idx="332">2.247631898199804</cx:pt>
          <cx:pt idx="333">2.2843165330944122</cx:pt>
          <cx:pt idx="334">2.2195911722605173</cx:pt>
          <cx:pt idx="335">2.2486447371238971</cx:pt>
          <cx:pt idx="336">2.1671065311154822</cx:pt>
          <cx:pt idx="337">2.1195486237371512</cx:pt>
          <cx:pt idx="338">2.1429044583068477</cx:pt>
          <cx:pt idx="339">2.108307514942366</cx:pt>
          <cx:pt idx="340">2.1803983537638767</cx:pt>
          <cx:pt idx="341">2.1848920353284282</cx:pt>
          <cx:pt idx="342">2.1881813341355367</cx:pt>
          <cx:pt idx="343">2.2449119190028215</cx:pt>
          <cx:pt idx="344">2.2205223446823461</cx:pt>
          <cx:pt idx="345">2.1475023434654288</cx:pt>
          <cx:pt idx="346">2.1279697703216263</cx:pt>
          <cx:pt idx="347">2.0280547760350673</cx:pt>
          <cx:pt idx="348">2.0106379949571864</cx:pt>
          <cx:pt idx="349">1.8831062381629513</cx:pt>
          <cx:pt idx="350">1.920444519645139</cx:pt>
          <cx:pt idx="351">1.8801058848163366</cx:pt>
          <cx:pt idx="352">1.8853507245130705</cx:pt>
          <cx:pt idx="353">1.8754217663122863</cx:pt>
          <cx:pt idx="354">1.8942455092217585</cx:pt>
          <cx:pt idx="355">1.8795334415787144</cx:pt>
          <cx:pt idx="356">1.7966762638372527</cx:pt>
          <cx:pt idx="357">1.7971744602729454</cx:pt>
          <cx:pt idx="358">1.8797823909114002</cx:pt>
          <cx:pt idx="359">1.9211515339740708</cx:pt>
          <cx:pt idx="360">1.928996685628604</cx:pt>
          <cx:pt idx="361">1.8807439172175082</cx:pt>
          <cx:pt idx="362">1.992536277448141</cx:pt>
          <cx:pt idx="363">1.9798686642817216</cx:pt>
          <cx:pt idx="364">1.9879669361397714</cx:pt>
          <cx:pt idx="365">2.0107589400899131</cx:pt>
          <cx:pt idx="366">2.1029927513894791</cx:pt>
          <cx:pt idx="367">2.1446698173470296</cx:pt>
          <cx:pt idx="368">2.0474326902879159</cx:pt>
          <cx:pt idx="369">2.041799358066259</cx:pt>
          <cx:pt idx="370">1.9457090234836589</cx:pt>
          <cx:pt idx="371">1.9443223690232396</cx:pt>
          <cx:pt idx="372">1.9235374184681155</cx:pt>
          <cx:pt idx="373">1.8562702246589651</cx:pt>
          <cx:pt idx="374">1.8373906932668449</cx:pt>
          <cx:pt idx="375">1.8479502455945174</cx:pt>
          <cx:pt idx="376">1.8336628286686183</cx:pt>
          <cx:pt idx="377">1.8497177312715714</cx:pt>
          <cx:pt idx="378">1.8899785709803907</cx:pt>
          <cx:pt idx="379">1.9054043122750721</cx:pt>
          <cx:pt idx="380">1.9839673716509145</cx:pt>
          <cx:pt idx="381">1.9451195524042342</cx:pt>
          <cx:pt idx="382">1.954583120338879</cx:pt>
          <cx:pt idx="383">1.9486326447032138</cx:pt>
          <cx:pt idx="384">1.896637993840897</cx:pt>
          <cx:pt idx="385">1.974505408031487</cx:pt>
          <cx:pt idx="386">2.0347927401096189</cx:pt>
          <cx:pt idx="387">2.019344088117351</cx:pt>
          <cx:pt idx="388">2.0333805026709926</cx:pt>
          <cx:pt idx="389">2.0153528705743962</cx:pt>
          <cx:pt idx="390">1.9784054094857113</cx:pt>
          <cx:pt idx="391">2.018098127742193</cx:pt>
          <cx:pt idx="392">1.9584916543551034</cx:pt>
          <cx:pt idx="393">1.8993225732598913</cx:pt>
          <cx:pt idx="394">1.8928220570362457</cx:pt>
          <cx:pt idx="395">1.8205319190087197</cx:pt>
          <cx:pt idx="396">1.7402281558427231</cx:pt>
          <cx:pt idx="397">1.7150039998446756</cx:pt>
          <cx:pt idx="398">1.7639989285727189</cx:pt>
          <cx:pt idx="399">1.8705747944805602</cx:pt>
          <cx:pt idx="400">1.902528802665042</cx:pt>
          <cx:pt idx="401">2.0121961185085167</cx:pt>
          <cx:pt idx="402">2.0480361277627055</cx:pt>
          <cx:pt idx="403">2.0244768946729645</cx:pt>
          <cx:pt idx="404">2.0270091342191909</cx:pt>
          <cx:pt idx="405">2.096669091348677</cx:pt>
          <cx:pt idx="406">2.1277327155864558</cx:pt>
          <cx:pt idx="407">2.0681020458394492</cx:pt>
          <cx:pt idx="408">2.1052323006743006</cx:pt>
          <cx:pt idx="409">2.0512684123155447</cx:pt>
          <cx:pt idx="410">2.0134938539172418</cx:pt>
          <cx:pt idx="411">2.0123567172170951</cx:pt>
          <cx:pt idx="412">2.0120001914984758</cx:pt>
          <cx:pt idx="413">2.06364994310549</cx:pt>
          <cx:pt idx="414">2.0508501922073159</cx:pt>
          <cx:pt idx="415">2.0847623065467502</cx:pt>
          <cx:pt idx="416">2.0486292789753384</cx:pt>
          <cx:pt idx="417">2.0607459538228836</cx:pt>
          <cx:pt idx="418">2.0091758730385489</cx:pt>
          <cx:pt idx="419">2.0252491880685186</cx:pt>
          <cx:pt idx="420">2.0983617126410734</cx:pt>
          <cx:pt idx="421">2.1016374622656762</cx:pt>
          <cx:pt idx="422">2.164276048496836</cx:pt>
          <cx:pt idx="423">2.1633510520243044</cx:pt>
          <cx:pt idx="424">2.2155528556458193</cx:pt>
          <cx:pt idx="425">2.225759620807505</cx:pt>
          <cx:pt idx="426">2.2211395735150607</cx:pt>
          <cx:pt idx="427">2.1692918017754348</cx:pt>
          <cx:pt idx="428">2.2054674412397839</cx:pt>
          <cx:pt idx="429">2.2250394194199843</cx:pt>
          <cx:pt idx="430">2.214389841704905</cx:pt>
          <cx:pt idx="431">2.1896082629131564</cx:pt>
          <cx:pt idx="432">2.1821469623403589</cx:pt>
          <cx:pt idx="433">2.2190018526356772</cx:pt>
          <cx:pt idx="434">2.2073484534237746</cx:pt>
          <cx:pt idx="435">2.1327560193009742</cx:pt>
          <cx:pt idx="436">2.1189164170771653</cx:pt>
          <cx:pt idx="437">2.1744682889612159</cx:pt>
          <cx:pt idx="438">2.119251280596671</cx:pt>
          <cx:pt idx="439">2.1837564535689067</cx:pt>
          <cx:pt idx="440">2.2307631788732269</cx:pt>
          <cx:pt idx="441">2.2297439215598001</cx:pt>
          <cx:pt idx="442">2.2600848791720258</cx:pt>
          <cx:pt idx="443">2.209592978452485</cx:pt>
          <cx:pt idx="444">2.2652035130309813</cx:pt>
          <cx:pt idx="445">2.2402249374772452</cx:pt>
          <cx:pt idx="446">2.234623954858117</cx:pt>
          <cx:pt idx="447">2.2245372919327293</cx:pt>
          <cx:pt idx="448">2.2108153200155267</cx:pt>
          <cx:pt idx="449">2.179826328682287</cx:pt>
          <cx:pt idx="450">2.1445058384523179</cx:pt>
          <cx:pt idx="451">2.0775540967646013</cx:pt>
          <cx:pt idx="452">2.0799924004800854</cx:pt>
          <cx:pt idx="453">2.0915860064598215</cx:pt>
          <cx:pt idx="454">1.994400444706705</cx:pt>
          <cx:pt idx="455">1.9660169786959039</cx:pt>
          <cx:pt idx="456">2.0802453070888194</cx:pt>
          <cx:pt idx="457">2.1077645993672047</cx:pt>
          <cx:pt idx="458">2.1412348919149333</cx:pt>
          <cx:pt idx="459">2.1274540197288907</cx:pt>
          <cx:pt idx="460">2.1357718560528971</cx:pt>
          <cx:pt idx="461">2.0951516632616416</cx:pt>
          <cx:pt idx="462">2.0967412188815708</cx:pt>
          <cx:pt idx="463">2.0549947262180255</cx:pt>
          <cx:pt idx="464">2.1448346694968454</cx:pt>
          <cx:pt idx="465">2.1505952085681268</cx:pt>
          <cx:pt idx="466">2.2337042746833937</cx:pt>
          <cx:pt idx="467">2.2026564098397459</cx:pt>
          <cx:pt idx="468">2.2755966004341133</cx:pt>
          <cx:pt idx="469">2.2284910407715994</cx:pt>
          <cx:pt idx="470">2.2451640186196706</cx:pt>
          <cx:pt idx="471">2.31580934594361</cx:pt>
          <cx:pt idx="472">2.3061759301748097</cx:pt>
          <cx:pt idx="473">2.3053550110531251</cx:pt>
          <cx:pt idx="474">2.2488318743490066</cx:pt>
          <cx:pt idx="475">2.2036274144474142</cx:pt>
          <cx:pt idx="476">2.2167449137709054</cx:pt>
          <cx:pt idx="477">2.2013945854894206</cx:pt>
          <cx:pt idx="478">2.1991454077359052</cx:pt>
          <cx:pt idx="479">2.2042146386998542</cx:pt>
          <cx:pt idx="480">2.1896086099846217</cx:pt>
          <cx:pt idx="481">2.164190018991289</cx:pt>
          <cx:pt idx="482">2.0651588710616018</cx:pt>
          <cx:pt idx="483">2.0304568946205053</cx:pt>
          <cx:pt idx="484">2.0145899862669761</cx:pt>
          <cx:pt idx="485">1.9691165449769856</cx:pt>
          <cx:pt idx="486">1.9326519437472915</cx:pt>
          <cx:pt idx="487">1.8768192402892867</cx:pt>
          <cx:pt idx="488">1.8790117842782272</cx:pt>
          <cx:pt idx="489">1.8521903008116705</cx:pt>
          <cx:pt idx="490">1.9159228900365921</cx:pt>
          <cx:pt idx="491">1.9500147727017632</cx:pt>
          <cx:pt idx="492">1.953822470838616</cx:pt>
          <cx:pt idx="493">1.982795671239526</cx:pt>
          <cx:pt idx="494">1.8485716272005925</cx:pt>
          <cx:pt idx="495">1.8633731750850868</cx:pt>
          <cx:pt idx="496">1.7884750789982997</cx:pt>
          <cx:pt idx="497">1.7356459862672684</cx:pt>
          <cx:pt idx="498">1.6718239576290801</cx:pt>
          <cx:pt idx="499">1.7171256698806885</cx:pt>
          <cx:pt idx="500">1.5967413619952644</cx:pt>
          <cx:pt idx="501">1.5221999898066672</cx:pt>
          <cx:pt idx="502">1.6478778693836187</cx:pt>
          <cx:pt idx="503">1.6610844866807131</cx:pt>
          <cx:pt idx="504">1.7459599581744676</cx:pt>
          <cx:pt idx="505">1.8324175195604879</cx:pt>
          <cx:pt idx="506">1.804698279261066</cx:pt>
          <cx:pt idx="507">1.8852403776353572</cx:pt>
          <cx:pt idx="508">1.8860596121660784</cx:pt>
          <cx:pt idx="509">1.9374919814320315</cx:pt>
          <cx:pt idx="510">1.9849860122893848</cx:pt>
          <cx:pt idx="511">2.0863200743068138</cx:pt>
          <cx:pt idx="512">2.1664239219230348</cx:pt>
          <cx:pt idx="513">2.1790062862585526</cx:pt>
          <cx:pt idx="514">2.1734300617031246</cx:pt>
          <cx:pt idx="515">2.1620403656719085</cx:pt>
          <cx:pt idx="516">2.1245071288453863</cx:pt>
          <cx:pt idx="517">2.1717760014064478</cx:pt>
          <cx:pt idx="518">2.1743064699897636</cx:pt>
          <cx:pt idx="519">2.1747612275567638</cx:pt>
          <cx:pt idx="520">2.1980414782000604</cx:pt>
          <cx:pt idx="521">2.1438436826707248</cx:pt>
          <cx:pt idx="522">2.0741764718744706</cx:pt>
          <cx:pt idx="523">2.0866954954243098</cx:pt>
          <cx:pt idx="524">2.0748070190813359</cx:pt>
          <cx:pt idx="525">2.1562434393929073</cx:pt>
          <cx:pt idx="526">2.1183866239374831</cx:pt>
          <cx:pt idx="527">2.1004999246618223</cx:pt>
          <cx:pt idx="528">2.0878598455553101</cx:pt>
          <cx:pt idx="529">2.0285111323993443</cx:pt>
          <cx:pt idx="530">2.0552010679388695</cx:pt>
          <cx:pt idx="531">2.1180727029357675</cx:pt>
          <cx:pt idx="532">2.0742299636380159</cx:pt>
          <cx:pt idx="533">2.0526839848719489</cx:pt>
          <cx:pt idx="534">1.8893506961404896</cx:pt>
          <cx:pt idx="535">1.9198204730671622</cx:pt>
          <cx:pt idx="536">1.9255074622981383</cx:pt>
          <cx:pt idx="537">1.9207694739090424</cx:pt>
          <cx:pt idx="538">2.0461327100558817</cx:pt>
          <cx:pt idx="539">2.0542949329882831</cx:pt>
          <cx:pt idx="540">2.0519630342920117</cx:pt>
          <cx:pt idx="541">1.9971972381834155</cx:pt>
          <cx:pt idx="542">2.0908664754187019</cx:pt>
          <cx:pt idx="543">2.1601826091146061</cx:pt>
          <cx:pt idx="544">2.187854415643014</cx:pt>
          <cx:pt idx="545">2.3025189719989125</cx:pt>
          <cx:pt idx="546">2.303890918778758</cx:pt>
          <cx:pt idx="547">2.2893029814707431</cx:pt>
          <cx:pt idx="548">2.2934589647492056</cx:pt>
          <cx:pt idx="549">2.291085644454836</cx:pt>
          <cx:pt idx="550">2.2684252701029415</cx:pt>
          <cx:pt idx="551">2.2795846391616466</cx:pt>
          <cx:pt idx="552">2.2795332992338464</cx:pt>
          <cx:pt idx="553">2.2514385171705702</cx:pt>
          <cx:pt idx="554">2.2747870290113354</cx:pt>
          <cx:pt idx="555">2.25333241712051</cx:pt>
          <cx:pt idx="556">2.2958849447001555</cx:pt>
          <cx:pt idx="557">2.3401362918725046</cx:pt>
          <cx:pt idx="558">2.3180085988513524</cx:pt>
          <cx:pt idx="559">2.289953193284572</cx:pt>
          <cx:pt idx="560">2.3510127494419018</cx:pt>
          <cx:pt idx="561">2.3548400746833034</cx:pt>
          <cx:pt idx="562">2.4026773325201862</cx:pt>
          <cx:pt idx="563">2.4797739043892477</cx:pt>
          <cx:pt idx="564">2.5422706614151971</cx:pt>
          <cx:pt idx="565">2.4729620639651873</cx:pt>
          <cx:pt idx="566">2.4823661173968365</cx:pt>
          <cx:pt idx="567">2.4483275863294827</cx:pt>
          <cx:pt idx="568">2.3892832515548146</cx:pt>
          <cx:pt idx="569">2.3861399606573221</cx:pt>
          <cx:pt idx="570">2.3556214887118694</cx:pt>
          <cx:pt idx="571">2.34782429109833</cx:pt>
          <cx:pt idx="572">2.3281755204276364</cx:pt>
          <cx:pt idx="573">2.2895974915509139</cx:pt>
          <cx:pt idx="574">2.3132706392966029</cx:pt>
          <cx:pt idx="575">2.3287250562431816</cx:pt>
          <cx:pt idx="576">2.3611440119001812</cx:pt>
          <cx:pt idx="577">2.3434177445694231</cx:pt>
          <cx:pt idx="578">2.298676851040125</cx:pt>
          <cx:pt idx="579">2.3081263258184483</cx:pt>
          <cx:pt idx="580">2.2730654711795366</cx:pt>
          <cx:pt idx="581">2.276949807850893</cx:pt>
          <cx:pt idx="582">2.2693788499887573</cx:pt>
          <cx:pt idx="583">2.2873665200479341</cx:pt>
          <cx:pt idx="584">2.2802126262641917</cx:pt>
          <cx:pt idx="585">2.2353597665334379</cx:pt>
          <cx:pt idx="586">2.2168552142488567</cx:pt>
          <cx:pt idx="587">2.1067460751982803</cx:pt>
          <cx:pt idx="588">2.044698199882478</cx:pt>
          <cx:pt idx="589">2.0281278449185365</cx:pt>
          <cx:pt idx="590">2.0394428316922393</cx:pt>
          <cx:pt idx="591">1.9502805404294756</cx:pt>
          <cx:pt idx="592">1.820934175888097</cx:pt>
          <cx:pt idx="593">1.7537988460266765</cx:pt>
          <cx:pt idx="594">1.6964387510934928</cx:pt>
          <cx:pt idx="595">1.7556785421983352</cx:pt>
          <cx:pt idx="596">1.8523786181757149</cx:pt>
          <cx:pt idx="597">1.9513415942086811</cx:pt>
          <cx:pt idx="598">2.0373351914316045</cx:pt>
          <cx:pt idx="599">2.0202264958461593</cx:pt>
          <cx:pt idx="600">2.0265108145540944</cx:pt>
          <cx:pt idx="601">2.0750541486352136</cx:pt>
          <cx:pt idx="602">1.9994281504119196</cx:pt>
          <cx:pt idx="603">2.1620986255070966</cx:pt>
          <cx:pt idx="604">2.1172091801812281</cx:pt>
          <cx:pt idx="605">2.0946915948088778</cx:pt>
          <cx:pt idx="606">2.1460467985120917</cx:pt>
          <cx:pt idx="607">2.1869505118051529</cx:pt>
          <cx:pt idx="608">2.1908417546245542</cx:pt>
          <cx:pt idx="609">2.2159829449418589</cx:pt>
          <cx:pt idx="610">2.2238159257855235</cx:pt>
          <cx:pt idx="611">2.2345069643236086</cx:pt>
          <cx:pt idx="612">2.2234089703461621</cx:pt>
          <cx:pt idx="613">2.1566874705077321</cx:pt>
          <cx:pt idx="614">2.1507425577970154</cx:pt>
          <cx:pt idx="615">2.0365857656129407</cx:pt>
          <cx:pt idx="616">1.9987940697949154</cx:pt>
          <cx:pt idx="617">1.9825196959973861</cx:pt>
          <cx:pt idx="618">1.9431627434947112</cx:pt>
          <cx:pt idx="619">1.8226537481555376</cx:pt>
          <cx:pt idx="620">1.8823025742176094</cx:pt>
          <cx:pt idx="621">1.896012424510344</cx:pt>
          <cx:pt idx="622">1.9313051995773982</cx:pt>
          <cx:pt idx="623">1.9186088061708084</cx:pt>
          <cx:pt idx="624">1.8064395119845054</cx:pt>
          <cx:pt idx="625">1.8600161080230084</cx:pt>
          <cx:pt idx="626">1.8648163555421227</cx:pt>
          <cx:pt idx="627">1.8643928938246714</cx:pt>
          <cx:pt idx="628">1.8848775478478497</cx:pt>
          <cx:pt idx="629">1.8846985260898552</cx:pt>
          <cx:pt idx="630">1.9011562230195642</cx:pt>
          <cx:pt idx="631">1.633034579509582</cx:pt>
          <cx:pt idx="632">1.526949386083966</cx:pt>
          <cx:pt idx="633">1.491304710871274</cx:pt>
          <cx:pt idx="634">1.520875415991719</cx:pt>
          <cx:pt idx="635">1.5160101224480855</cx:pt>
          <cx:pt idx="636">1.5446491232123229</cx:pt>
          <cx:pt idx="637">1.5560410656062829</cx:pt>
          <cx:pt idx="638">1.6023090586304622</cx:pt>
          <cx:pt idx="639">1.6026604650278227</cx:pt>
          <cx:pt idx="640">1.6590554812209157</cx:pt>
          <cx:pt idx="641">1.6349865330446578</cx:pt>
          <cx:pt idx="642">1.6494629528055109</cx:pt>
          <cx:pt idx="643">1.6567981036634611</cx:pt>
          <cx:pt idx="644">1.6429011403397957</cx:pt>
          <cx:pt idx="645">1.6427000273574934</cx:pt>
          <cx:pt idx="646">1.6785651840872842</cx:pt>
          <cx:pt idx="647">1.9437791006136775</cx:pt>
          <cx:pt idx="648">1.9519992649656712</cx:pt>
          <cx:pt idx="649">1.9226513469079316</cx:pt>
          <cx:pt idx="650">2.0487639314506088</cx:pt>
          <cx:pt idx="651">2.0941498668580962</cx:pt>
          <cx:pt idx="652">2.265891580106508</cx:pt>
          <cx:pt idx="653">2.2426713976026789</cx:pt>
          <cx:pt idx="654">2.2657861822871652</cx:pt>
          <cx:pt idx="655">2.2201324995953451</cx:pt>
          <cx:pt idx="656">2.3864034131132867</cx:pt>
          <cx:pt idx="657">2.3774349259666883</cx:pt>
          <cx:pt idx="658">2.3341480210016767</cx:pt>
          <cx:pt idx="659">2.359275456205975</cx:pt>
          <cx:pt idx="660">2.3163061233753806</cx:pt>
          <cx:pt idx="661">2.3967318871657231</cx:pt>
          <cx:pt idx="662">2.4003691809400256</cx:pt>
          <cx:pt idx="663">2.3980725137356096</cx:pt>
          <cx:pt idx="664">2.441212598539539</cx:pt>
          <cx:pt idx="665">2.4009684249882266</cx:pt>
          <cx:pt idx="666">2.4627110586761289</cx:pt>
          <cx:pt idx="667">2.4892793026809916</cx:pt>
          <cx:pt idx="668">2.4076771546236726</cx:pt>
          <cx:pt idx="669">2.4774833632038851</cx:pt>
          <cx:pt idx="670">2.5481060976920626</cx:pt>
          <cx:pt idx="671">2.4880431078856065</cx:pt>
          <cx:pt idx="672">2.3577508107776004</cx:pt>
          <cx:pt idx="673">2.3198516738648891</cx:pt>
          <cx:pt idx="674">2.3708281393440749</cx:pt>
          <cx:pt idx="675">2.3539536419917737</cx:pt>
          <cx:pt idx="676">2.4325508618032639</cx:pt>
          <cx:pt idx="677">2.3932599064782529</cx:pt>
          <cx:pt idx="678">2.3960691821003084</cx:pt>
          <cx:pt idx="679">2.3575087359151818</cx:pt>
          <cx:pt idx="680">2.4062364745992504</cx:pt>
          <cx:pt idx="681">2.4457589552332482</cx:pt>
          <cx:pt idx="682">2.364206988430904</cx:pt>
          <cx:pt idx="683">2.3509603833418651</cx:pt>
          <cx:pt idx="684">2.3881733397780067</cx:pt>
          <cx:pt idx="685">2.3891203960333716</cx:pt>
          <cx:pt idx="686">2.3952241040447406</cx:pt>
          <cx:pt idx="687">2.3622573744421431</cx:pt>
          <cx:pt idx="688">2.3620217940247477</cx:pt>
          <cx:pt idx="689">2.2708712170342262</cx:pt>
          <cx:pt idx="690">2.2979475066723496</cx:pt>
          <cx:pt idx="691">2.3171679303906405</cx:pt>
          <cx:pt idx="692">2.4135428197400421</cx:pt>
          <cx:pt idx="693">2.4656337648278064</cx:pt>
          <cx:pt idx="694">2.4054642365284562</cx:pt>
          <cx:pt idx="695">2.3926063243403579</cx:pt>
          <cx:pt idx="696">2.3630560335721689</cx:pt>
          <cx:pt idx="697">2.3755279994849623</cx:pt>
          <cx:pt idx="698">2.3350305814040091</cx:pt>
          <cx:pt idx="699">2.2775243834862362</cx:pt>
          <cx:pt idx="700">2.2063941553163233</cx:pt>
          <cx:pt idx="701">2.1538656123560833</cx:pt>
          <cx:pt idx="702">2.1731506694315765</cx:pt>
          <cx:pt idx="703">2.0891705097544744</cx:pt>
          <cx:pt idx="704">2.0223210586204714</cx:pt>
          <cx:pt idx="705">2.0099254048325648</cx:pt>
          <cx:pt idx="706">1.9362014934002862</cx:pt>
          <cx:pt idx="707">1.9192206747740337</cx:pt>
          <cx:pt idx="708">1.957073381645569</cx:pt>
          <cx:pt idx="709">1.9516901211177509</cx:pt>
          <cx:pt idx="710">1.932950470307286</cx:pt>
          <cx:pt idx="711">1.8857219263277065</cx:pt>
          <cx:pt idx="712">1.8813018539609019</cx:pt>
          <cx:pt idx="713">1.8889971042450302</cx:pt>
          <cx:pt idx="714">1.8428241261581644</cx:pt>
          <cx:pt idx="715">1.9183785623645675</cx:pt>
          <cx:pt idx="716">1.9338147283126106</cx:pt>
          <cx:pt idx="717">1.9329374961237999</cx:pt>
          <cx:pt idx="718">1.9290404148695421</cx:pt>
          <cx:pt idx="719">1.9273125525744661</cx:pt>
          <cx:pt idx="720">1.9049296340812156</cx:pt>
          <cx:pt idx="721">1.9235175656102956</cx:pt>
          <cx:pt idx="722">1.8974275756820544</cx:pt>
          <cx:pt idx="723">1.8565093991777424</cx:pt>
          <cx:pt idx="724">1.9437583793307704</cx:pt>
          <cx:pt idx="725">1.9700098778864714</cx:pt>
          <cx:pt idx="726">2.0146679757075616</cx:pt>
          <cx:pt idx="727">2.0097960908457257</cx:pt>
          <cx:pt idx="728">2.1397356611353961</cx:pt>
          <cx:pt idx="729">2.0687688833446272</cx:pt>
          <cx:pt idx="730">2.146442221695307</cx:pt>
          <cx:pt idx="731">2.1607682754589601</cx:pt>
          <cx:pt idx="732">2.2845228696801803</cx:pt>
          <cx:pt idx="733">2.3321168238368335</cx:pt>
          <cx:pt idx="734">2.3245121427547728</cx:pt>
          <cx:pt idx="735">2.3048257863830277</cx:pt>
          <cx:pt idx="736">2.3275408838456979</cx:pt>
          <cx:pt idx="737">2.3381063153385013</cx:pt>
          <cx:pt idx="738">2.334906904703808</cx:pt>
          <cx:pt idx="739">2.3318584816282084</cx:pt>
          <cx:pt idx="740">2.3059173182154442</cx:pt>
          <cx:pt idx="741">2.312145602871114</cx:pt>
          <cx:pt idx="742">2.3401509054103964</cx:pt>
          <cx:pt idx="743">2.3863088315346865</cx:pt>
          <cx:pt idx="744">2.3906282936214738</cx:pt>
          <cx:pt idx="745">2.3533399236889339</cx:pt>
          <cx:pt idx="746">2.2533859559255918</cx:pt>
          <cx:pt idx="747">2.2524182670580459</cx:pt>
          <cx:pt idx="748">2.3360955572794064</cx:pt>
          <cx:pt idx="749">2.3349020225944015</cx:pt>
          <cx:pt idx="750">2.3546264253031368</cx:pt>
          <cx:pt idx="751">2.293596473224786</cx:pt>
          <cx:pt idx="752">2.2089676208657418</cx:pt>
          <cx:pt idx="753">2.1652036331624234</cx:pt>
          <cx:pt idx="754">2.1548790574545267</cx:pt>
          <cx:pt idx="755">2.0689661378676139</cx:pt>
          <cx:pt idx="756">2.0846710818546978</cx:pt>
          <cx:pt idx="757">2.0097892846159402</cx:pt>
          <cx:pt idx="758">1.9677730335340398</cx:pt>
          <cx:pt idx="759">2.0296066429968294</cx:pt>
          <cx:pt idx="760">1.9936585129286055</cx:pt>
          <cx:pt idx="761">1.9276422626345835</cx:pt>
          <cx:pt idx="762">1.7969185069034637</cx:pt>
          <cx:pt idx="763">1.7072055453868691</cx:pt>
          <cx:pt idx="764">1.7628841753104454</cx:pt>
          <cx:pt idx="765">1.7670722437465733</cx:pt>
          <cx:pt idx="766">1.7741613576126645</cx:pt>
          <cx:pt idx="767">1.7969194584704908</cx:pt>
          <cx:pt idx="768">1.7406443864881711</cx:pt>
          <cx:pt idx="769">1.7448741851248384</cx:pt>
          <cx:pt idx="770">1.7750783113159432</cx:pt>
          <cx:pt idx="771">1.7859127032215394</cx:pt>
          <cx:pt idx="772">1.7079321979793154</cx:pt>
          <cx:pt idx="773">1.6876189606205061</cx:pt>
          <cx:pt idx="774">1.7163678205145303</cx:pt>
          <cx:pt idx="775">1.7375877449135801</cx:pt>
          <cx:pt idx="776">1.811382899328432</cx:pt>
          <cx:pt idx="777">1.8057085207995114</cx:pt>
          <cx:pt idx="778">1.7579456606387245</cx:pt>
          <cx:pt idx="779">1.7568170091417492</cx:pt>
          <cx:pt idx="780">1.7618185376773672</cx:pt>
          <cx:pt idx="781">1.8213870389627589</cx:pt>
          <cx:pt idx="782">1.8444678761058722</cx:pt>
          <cx:pt idx="783">1.8538282055961837</cx:pt>
          <cx:pt idx="784">1.7819172343610796</cx:pt>
          <cx:pt idx="785">1.8718638380435602</cx:pt>
          <cx:pt idx="786">1.8640004231913283</cx:pt>
          <cx:pt idx="787">1.8816686041947339</cx:pt>
          <cx:pt idx="788">1.8333146626336696</cx:pt>
          <cx:pt idx="789">1.8687461106898122</cx:pt>
          <cx:pt idx="790">1.8582886803741578</cx:pt>
          <cx:pt idx="791">1.9772780720330372</cx:pt>
          <cx:pt idx="792">2.0089607375429419</cx:pt>
          <cx:pt idx="793">2.0073645163996487</cx:pt>
          <cx:pt idx="794">1.9637157962184004</cx:pt>
          <cx:pt idx="795">1.9780827200268789</cx:pt>
          <cx:pt idx="796">1.9995538592355226</cx:pt>
          <cx:pt idx="797">1.9944333093200592</cx:pt>
          <cx:pt idx="798">2.026563314499108</cx:pt>
          <cx:pt idx="799">2.0128440997282855</cx:pt>
          <cx:pt idx="800">2.0191127226947629</cx:pt>
          <cx:pt idx="801">2.0286277340898651</cx:pt>
          <cx:pt idx="802">2.0983223269607079</cx:pt>
          <cx:pt idx="803">2.1513013860574075</cx:pt>
          <cx:pt idx="804">2.1405043577790583</cx:pt>
          <cx:pt idx="805">2.1204347582909353</cx:pt>
          <cx:pt idx="806">2.0592053755658726</cx:pt>
          <cx:pt idx="807">2.0589747984083426</cx:pt>
          <cx:pt idx="808">2.0662922345026877</cx:pt>
          <cx:pt idx="809">2.1141326256435948</cx:pt>
          <cx:pt idx="810">2.1049391630217733</cx:pt>
          <cx:pt idx="811">2.0548274743791235</cx:pt>
          <cx:pt idx="812">2.1085940574282112</cx:pt>
          <cx:pt idx="813">2.0639993880629413</cx:pt>
          <cx:pt idx="814">2.0632760377563351</cx:pt>
          <cx:pt idx="815">2.0666121823931296</cx:pt>
          <cx:pt idx="816">2.1019646841444146</cx:pt>
          <cx:pt idx="817">2.0783385703660384</cx:pt>
          <cx:pt idx="818">2.1379217955471952</cx:pt>
          <cx:pt idx="819">2.1076080255224627</cx:pt>
          <cx:pt idx="820">2.081269771209167</cx:pt>
          <cx:pt idx="821">1.9710164537920583</cx:pt>
          <cx:pt idx="822">2.0386020128066096</cx:pt>
          <cx:pt idx="823">2.0486637775601961</cx:pt>
          <cx:pt idx="824">2.0579248337705618</cx:pt>
          <cx:pt idx="825">2.0883893772325073</cx:pt>
          <cx:pt idx="826">2.0517277540793497</cx:pt>
          <cx:pt idx="827">2.0630057635569665</cx:pt>
          <cx:pt idx="828">2.0578287263911514</cx:pt>
          <cx:pt idx="829">2.0505569704466162</cx:pt>
          <cx:pt idx="830">2.0271707149690172</cx:pt>
          <cx:pt idx="831">1.9851839355355032</cx:pt>
          <cx:pt idx="832">1.9076384981170902</cx:pt>
          <cx:pt idx="833">1.8400189160645193</cx:pt>
          <cx:pt idx="834">1.883665492405783</cx:pt>
          <cx:pt idx="835">1.9175390524990183</cx:pt>
          <cx:pt idx="836">1.9549330130210198</cx:pt>
          <cx:pt idx="837">2.0437970760518933</cx:pt>
          <cx:pt idx="838">2.0564112444332694</cx:pt>
          <cx:pt idx="839">2.0771579073283792</cx:pt>
          <cx:pt idx="840">2.0666886683452397</cx:pt>
          <cx:pt idx="841">2.1490365577908985</cx:pt>
          <cx:pt idx="842">2.0693210200893239</cx:pt>
          <cx:pt idx="843">2.0888944908222142</cx:pt>
          <cx:pt idx="844">2.089327374114224</cx:pt>
          <cx:pt idx="845">1.9776600708771603</cx:pt>
          <cx:pt idx="846">1.8970622696839483</cx:pt>
          <cx:pt idx="847">1.9452098987767934</cx:pt>
          <cx:pt idx="848">1.9031096030705927</cx:pt>
          <cx:pt idx="849">1.8650980327066835</cx:pt>
          <cx:pt idx="850">1.8863506061414967</cx:pt>
          <cx:pt idx="851">1.8899423820996499</cx:pt>
          <cx:pt idx="852">1.8272688282682701</cx:pt>
          <cx:pt idx="853">1.9236950488131803</cx:pt>
          <cx:pt idx="854">1.9288364350951146</cx:pt>
          <cx:pt idx="855">1.9257797691320384</cx:pt>
          <cx:pt idx="856">1.9743636703318668</cx:pt>
          <cx:pt idx="857">2.0329670134886424</cx:pt>
          <cx:pt idx="858">2.0279795498060271</cx:pt>
          <cx:pt idx="859">2.0324601525915145</cx:pt>
          <cx:pt idx="860">2.0583142950596911</cx:pt>
          <cx:pt idx="861">2.1254065709997731</cx:pt>
          <cx:pt idx="862">2.1656892520290469</cx:pt>
          <cx:pt idx="863">2.2114752066282981</cx:pt>
          <cx:pt idx="864">2.1493526742720235</cx:pt>
          <cx:pt idx="865">2.2160516177403857</cx:pt>
          <cx:pt idx="866">2.2834914163078976</cx:pt>
          <cx:pt idx="867">2.2153985827820586</cx:pt>
          <cx:pt idx="868">2.2015310268024759</cx:pt>
          <cx:pt idx="869">2.120279926530257</cx:pt>
          <cx:pt idx="870">2.1020873340264923</cx:pt>
          <cx:pt idx="871">2.0683101111930609</cx:pt>
          <cx:pt idx="872">2.061833183081291</cx:pt>
          <cx:pt idx="873">2.1151837910308067</cx:pt>
          <cx:pt idx="874">2.0968933490972681</cx:pt>
          <cx:pt idx="875">2.0895401452063078</cx:pt>
          <cx:pt idx="876">2.1256805301710866</cx:pt>
          <cx:pt idx="877">2.033021215729895</cx:pt>
          <cx:pt idx="878">2.0734403620382293</cx:pt>
          <cx:pt idx="879">2.0869268333761686</cx:pt>
          <cx:pt idx="880">2.082577558362801</cx:pt>
          <cx:pt idx="881">2.1353031895304153</cx:pt>
          <cx:pt idx="882">2.1651537051934979</cx:pt>
          <cx:pt idx="883">2.121551935760694</cx:pt>
          <cx:pt idx="884">2.110483181868084</cx:pt>
          <cx:pt idx="885">2.0946673778806595</cx:pt>
          <cx:pt idx="886">2.0490087314624095</cx:pt>
          <cx:pt idx="887">1.9943388101890205</cx:pt>
          <cx:pt idx="888">1.970102843803087</cx:pt>
          <cx:pt idx="889">1.9596286358937007</cx:pt>
          <cx:pt idx="890">1.9676015540164884</cx:pt>
          <cx:pt idx="891">1.9000351473903085</cx:pt>
          <cx:pt idx="892">1.9304754445981056</cx:pt>
          <cx:pt idx="893">1.8804206341096981</cx:pt>
          <cx:pt idx="894">1.9325791973285311</cx:pt>
          <cx:pt idx="895">1.8615036347732845</cx:pt>
          <cx:pt idx="896">1.804673855547833</cx:pt>
          <cx:pt idx="897">1.7289563372592582</cx:pt>
          <cx:pt idx="898">1.7495086365232659</cx:pt>
          <cx:pt idx="899">1.737506284786956</cx:pt>
          <cx:pt idx="900">1.8446347351102095</cx:pt>
          <cx:pt idx="901">1.8427560815939652</cx:pt>
          <cx:pt idx="902">1.8269153879451412</cx:pt>
          <cx:pt idx="903">1.8017016960681635</cx:pt>
          <cx:pt idx="904">1.8599368433554446</cx:pt>
          <cx:pt idx="905">1.8601616561228891</cx:pt>
          <cx:pt idx="906">1.9260271797808775</cx:pt>
          <cx:pt idx="907">1.9473721737780616</cx:pt>
          <cx:pt idx="908">1.9611018319236544</cx:pt>
          <cx:pt idx="909">1.9806066489398246</cx:pt>
          <cx:pt idx="910">2.0539804662352279</cx:pt>
          <cx:pt idx="911">1.9739965291131343</cx:pt>
          <cx:pt idx="912">2.0118604343103761</cx:pt>
          <cx:pt idx="913">1.9983144792676466</cx:pt>
          <cx:pt idx="914">1.9949265944922308</cx:pt>
          <cx:pt idx="915">1.957848682573516</cx:pt>
          <cx:pt idx="916">1.9953836720941851</cx:pt>
          <cx:pt idx="917">1.9685668971066632</cx:pt>
          <cx:pt idx="918">2.0283226824056486</cx:pt>
          <cx:pt idx="919">2.032187556278418</cx:pt>
          <cx:pt idx="920">2.0243852995836353</cx:pt>
          <cx:pt idx="921">2.0324866997985467</cx:pt>
          <cx:pt idx="922">2.0020664730321629</cx:pt>
          <cx:pt idx="923">2.0775105671788565</cx:pt>
          <cx:pt idx="924">1.9933527799677486</cx:pt>
          <cx:pt idx="925">1.9573261549448031</cx:pt>
          <cx:pt idx="926">1.9429676778009457</cx:pt>
          <cx:pt idx="927">2.022805758518627</cx:pt>
          <cx:pt idx="928">1.9847470999176977</cx:pt>
          <cx:pt idx="929">2.0184372926123397</cx:pt>
          <cx:pt idx="930">1.9931464218358819</cx:pt>
          <cx:pt idx="931">1.9892796183113672</cx:pt>
          <cx:pt idx="932">1.989279618311367</cx:pt>
          <cx:pt idx="933">2.011087722900498</cx:pt>
          <cx:pt idx="934">1.9799086790823133</cx:pt>
          <cx:pt idx="935">1.9805920684428702</cx:pt>
          <cx:pt idx="936">1.8802205748497567</cx:pt>
          <cx:pt idx="937">1.9411601153257396</cx:pt>
          <cx:pt idx="938">1.917336425452524</cx:pt>
          <cx:pt idx="939">1.9644691333707855</cx:pt>
          <cx:pt idx="940">1.9101083023241832</cx:pt>
          <cx:pt idx="941">1.9293012923786714</cx:pt>
          <cx:pt idx="942">1.9028148817499768</cx:pt>
          <cx:pt idx="943">1.8996451399254166</cx:pt>
          <cx:pt idx="944">1.8869572280545386</cx:pt>
          <cx:pt idx="945">1.8823757496843994</cx:pt>
          <cx:pt idx="946">1.7988371110326018</cx:pt>
          <cx:pt idx="947">1.911954264099426</cx:pt>
          <cx:pt idx="948">1.8704621538904502</cx:pt>
          <cx:pt idx="949">1.8642511410481688</cx:pt>
          <cx:pt idx="950">1.8610933027555865</cx:pt>
          <cx:pt idx="951">1.9061364410375845</cx:pt>
          <cx:pt idx="952">1.8840519506202789</cx:pt>
          <cx:pt idx="953">1.8214295966697653</cx:pt>
          <cx:pt idx="954">1.8556790642750369</cx:pt>
          <cx:pt idx="955">1.9364569911905816</cx:pt>
          <cx:pt idx="956">2.0451017924085861</cx:pt>
          <cx:pt idx="957">1.9964658619831255</cx:pt>
          <cx:pt idx="958">2.0744597610186353</cx:pt>
          <cx:pt idx="959">2.0377667206874976</cx:pt>
          <cx:pt idx="960">2.085640903087469</cx:pt>
          <cx:pt idx="961">2.1332290750623479</cx:pt>
          <cx:pt idx="962">2.1953523971814612</cx:pt>
          <cx:pt idx="963">2.2279948075666449</cx:pt>
          <cx:pt idx="964">2.2033922050060464</cx:pt>
          <cx:pt idx="965">2.2033922050060464</cx:pt>
          <cx:pt idx="966">2.2018727402300811</cx:pt>
          <cx:pt idx="967">2.1587393983233958</cx:pt>
          <cx:pt idx="968">2.25382231298827</cx:pt>
          <cx:pt idx="969">2.2757088905850735</cx:pt>
          <cx:pt idx="970">2.2725596594410074</cx:pt>
          <cx:pt idx="971">2.2430383524656259</cx:pt>
          <cx:pt idx="972">2.2368857016515742</cx:pt>
          <cx:pt idx="973">2.2559139844830405</cx:pt>
          <cx:pt idx="974">2.2699731693166965</cx:pt>
          <cx:pt idx="975">2.3266162867311251</cx:pt>
          <cx:pt idx="976">2.3480625096362542</cx:pt>
          <cx:pt idx="977">2.2909572733816206</cx:pt>
          <cx:pt idx="978">2.2661182065456797</cx:pt>
          <cx:pt idx="979">2.2757438705485549</cx:pt>
          <cx:pt idx="980">2.2794126125120973</cx:pt>
          <cx:pt idx="981">2.2638245694820762</cx:pt>
          <cx:pt idx="982">2.2521202447995958</cx:pt>
          <cx:pt idx="983">2.295218782185747</cx:pt>
          <cx:pt idx="984">2.3213266516730156</cx:pt>
          <cx:pt idx="985">2.2435452308370833</cx:pt>
          <cx:pt idx="986">2.1571877769814494</cx:pt>
          <cx:pt idx="987">2.1553064451530535</cx:pt>
          <cx:pt idx="988">2.0684027004351639</cx:pt>
          <cx:pt idx="989">2.0703331789435082</cx:pt>
          <cx:pt idx="990">1.9800721843961644</cx:pt>
          <cx:pt idx="991">1.9624618183125908</cx:pt>
          <cx:pt idx="992">2.0040877765437219</cx:pt>
          <cx:pt idx="993">1.9500264641258853</cx:pt>
          <cx:pt idx="994">1.9158931410638971</cx:pt>
          <cx:pt idx="995">1.9296813678527889</cx:pt>
          <cx:pt idx="996">1.965910289862586</cx:pt>
          <cx:pt idx="997">1.9851413473350012</cx:pt>
          <cx:pt idx="998">1.881644371803497</cx:pt>
          <cx:pt idx="999">1.7817679603951793</cx:pt>
          <cx:pt idx="1000">1.7855871468805886</cx:pt>
          <cx:pt idx="1001">1.7787020926018717</cx:pt>
          <cx:pt idx="1002">1.7573178566232133</cx:pt>
          <cx:pt idx="1003">1.8241699718651208</cx:pt>
          <cx:pt idx="1004">1.8140107851709801</cx:pt>
          <cx:pt idx="1005">1.8013685518619236</cx:pt>
          <cx:pt idx="1006">1.8181550677237992</cx:pt>
          <cx:pt idx="1007">1.8277409112359144</cx:pt>
          <cx:pt idx="1008">1.830406551772199</cx:pt>
          <cx:pt idx="1009">1.9402971708085808</cx:pt>
          <cx:pt idx="1010">1.8954676383832227</cx:pt>
          <cx:pt idx="1011">1.8510452144815124</cx:pt>
          <cx:pt idx="1012">1.9232885021459833</cx:pt>
          <cx:pt idx="1013">1.8823939169457053</cx:pt>
          <cx:pt idx="1014">1.9270843345551554</cx:pt>
          <cx:pt idx="1015">1.9765480722086382</cx:pt>
          <cx:pt idx="1016">1.9609684263608123</cx:pt>
          <cx:pt idx="1017">1.9292787415067678</cx:pt>
          <cx:pt idx="1018">1.9268551035071766</cx:pt>
          <cx:pt idx="1019">1.9724987708890773</cx:pt>
          <cx:pt idx="1020">2.0654679565991376</cx:pt>
          <cx:pt idx="1021">2.0452749485765982</cx:pt>
          <cx:pt idx="1022">2.0236376498506425</cx:pt>
          <cx:pt idx="1023">2.0386433909963451</cx:pt>
          <cx:pt idx="1024">2.0425329186705765</cx:pt>
          <cx:pt idx="1025">2.0265363146972555</cx:pt>
          <cx:pt idx="1026">1.9987510111656461</cx:pt>
          <cx:pt idx="1027">2.0220147735999827</cx:pt>
          <cx:pt idx="1028">2.0254822913066133</cx:pt>
          <cx:pt idx="1029">2.0546063926010603</cx:pt>
          <cx:pt idx="1030">2.055063786439288</cx:pt>
          <cx:pt idx="1031">2.101900690060496</cx:pt>
          <cx:pt idx="1032">2.0673691951365898</cx:pt>
          <cx:pt idx="1033">2.0927345627272573</cx:pt>
          <cx:pt idx="1034">2.1685946365848645</cx:pt>
          <cx:pt idx="1035">2.1437022403183281</cx:pt>
          <cx:pt idx="1036">2.1266522865182731</cx:pt>
          <cx:pt idx="1037">2.1162643295778718</cx:pt>
          <cx:pt idx="1038">2.1414731135456169</cx:pt>
          <cx:pt idx="1039">2.0384458118904414</cx:pt>
          <cx:pt idx="1040">2.0364517073058348</cx:pt>
          <cx:pt idx="1041">2.0349073013033996</cx:pt>
          <cx:pt idx="1042">2.0023815022219846</cx:pt>
          <cx:pt idx="1043">2.0788292186926203</cx:pt>
          <cx:pt idx="1044">2.0684688330706442</cx:pt>
          <cx:pt idx="1045">2.0136572739631982</cx:pt>
          <cx:pt idx="1046">2.0418068950317569</cx:pt>
          <cx:pt idx="1047">2.1664261143327557</cx:pt>
          <cx:pt idx="1048">2.1815304582141168</cx:pt>
          <cx:pt idx="1049">2.1919695053831583</cx:pt>
          <cx:pt idx="1050">2.1266841794060696</cx:pt>
          <cx:pt idx="1051">2.0886954799174267</cx:pt>
          <cx:pt idx="1052">2.0410128483980503</cx:pt>
          <cx:pt idx="1053">2.1302063384475498</cx:pt>
          <cx:pt idx="1054">2.127239771467254</cx:pt>
          <cx:pt idx="1055">2.2034110882158284</cx:pt>
          <cx:pt idx="1056">2.2742524454044117</cx:pt>
          <cx:pt idx="1057">2.1744480185619395</cx:pt>
          <cx:pt idx="1058">2.1584640018204917</cx:pt>
          <cx:pt idx="1059">2.0959069794019221</cx:pt>
          <cx:pt idx="1060">2.1440180799425961</cx:pt>
          <cx:pt idx="1061">2.1532582163174245</cx:pt>
          <cx:pt idx="1062">2.186805862944321</cx:pt>
          <cx:pt idx="1063">1.9908452965449974</cx:pt>
          <cx:pt idx="1064">1.9969080307541922</cx:pt>
          <cx:pt idx="1065">1.8040231366404251</cx:pt>
          <cx:pt idx="1066">1.7879625575897893</cx:pt>
          <cx:pt idx="1067">1.7256632219581207</cx:pt>
          <cx:pt idx="1068">1.5765259359706894</cx:pt>
          <cx:pt idx="1069">1.5434191526366887</cx:pt>
          <cx:pt idx="1070">1.5300373048001101</cx:pt>
          <cx:pt idx="1071">1.4903025246221087</cx:pt>
          <cx:pt idx="1072">1.4994885293725211</cx:pt>
          <cx:pt idx="1073">1.5054917990938326</cx:pt>
          <cx:pt idx="1074">1.580830472687087</cx:pt>
          <cx:pt idx="1075">1.5987504620178878</cx:pt>
          <cx:pt idx="1076">1.5966442676001364</cx:pt>
          <cx:pt idx="1077">1.589402660418969</cx:pt>
          <cx:pt idx="1078">1.5784317394049263</cx:pt>
          <cx:pt idx="1079">1.6440050307358636</cx:pt>
          <cx:pt idx="1080">1.6410308455829359</cx:pt>
          <cx:pt idx="1081">1.6176879243462445</cx:pt>
          <cx:pt idx="1082">1.6205815041253711</cx:pt>
          <cx:pt idx="1083">1.5949670295060521</cx:pt>
          <cx:pt idx="1084">1.608809697427956</cx:pt>
          <cx:pt idx="1085">1.5993116216522323</cx:pt>
          <cx:pt idx="1086">1.6524440362281452</cx:pt>
          <cx:pt idx="1087">1.6799132367323637</cx:pt>
          <cx:pt idx="1088">1.7263589949660909</cx:pt>
          <cx:pt idx="1089">1.915131112413311</cx:pt>
          <cx:pt idx="1090">2.1121229961508372</cx:pt>
          <cx:pt idx="1091">2.1261762484202582</cx:pt>
          <cx:pt idx="1092">2.1589892403054995</cx:pt>
          <cx:pt idx="1093">2.2953784503769792</cx:pt>
          <cx:pt idx="1094">2.2884463716369385</cx:pt>
          <cx:pt idx="1095">2.3880408794552226</cx:pt>
          <cx:pt idx="1096">2.5051713210042958</cx:pt>
          <cx:pt idx="1097">2.6108078556937397</cx:pt>
          <cx:pt idx="1098">2.696906530672821</cx:pt>
          <cx:pt idx="1099">2.63363603360084</cx:pt>
          <cx:pt idx="1100">2.5514197903732865</cx:pt>
          <cx:pt idx="1101">2.5686834568012507</cx:pt>
          <cx:pt idx="1102">2.5640995750104976</cx:pt>
          <cx:pt idx="1103">2.5334034028097294</cx:pt>
          <cx:pt idx="1104">2.3774322888404806</cx:pt>
          <cx:pt idx="1105">2.4196030581208317</cx:pt>
          <cx:pt idx="1106">2.348932319927965</cx:pt>
          <cx:pt idx="1107">2.3392885504764158</cx:pt>
          <cx:pt idx="1108">2.3311142537232818</cx:pt>
          <cx:pt idx="1109">2.0871215525300948</cx:pt>
          <cx:pt idx="1110">2.0481673871227031</cx:pt>
          <cx:pt idx="1111">1.9254687837115398</cx:pt>
          <cx:pt idx="1112">1.835267268441704</cx:pt>
          <cx:pt idx="1113">1.6999065123294885</cx:pt>
          <cx:pt idx="1114">1.7008852795830378</cx:pt>
          <cx:pt idx="1115">1.7099383167857045</cx:pt>
          <cx:pt idx="1116">1.9158705315357072</cx:pt>
          <cx:pt idx="1117">1.8896290177284523</cx:pt>
          <cx:pt idx="1118">1.9921689567115313</cx:pt>
          <cx:pt idx="1119">1.981351646217175</cx:pt>
          <cx:pt idx="1120">1.9473277829997855</cx:pt>
          <cx:pt idx="1121">1.9795558108629971</cx:pt>
          <cx:pt idx="1122">2.1332085018574003</cx:pt>
          <cx:pt idx="1123">2.2209969802336289</cx:pt>
          <cx:pt idx="1124">2.3020920928971824</cx:pt>
          <cx:pt idx="1125">2.268610189412795</cx:pt>
          <cx:pt idx="1126">2.2183292172277906</cx:pt>
          <cx:pt idx="1127">2.1630063271372726</cx:pt>
          <cx:pt idx="1128">2.0986984979267427</cx:pt>
          <cx:pt idx="1129">2.1194399822407131</cx:pt>
          <cx:pt idx="1130">2.1385540694876011</cx:pt>
          <cx:pt idx="1131">2.1450422004257401</cx:pt>
          <cx:pt idx="1132">2.15717896977233</cx:pt>
          <cx:pt idx="1133">2.1434111729333112</cx:pt>
          <cx:pt idx="1134">2.2218056289161709</cx:pt>
          <cx:pt idx="1135">2.2326969116278539</cx:pt>
          <cx:pt idx="1136">2.2301975975715536</cx:pt>
          <cx:pt idx="1137">2.2301975975715536</cx:pt>
          <cx:pt idx="1138">2.1701237445340933</cx:pt>
          <cx:pt idx="1139">2.200742035710229</cx:pt>
          <cx:pt idx="1140">2.2161238890614952</cx:pt>
          <cx:pt idx="1141">2.1965684784795036</cx:pt>
          <cx:pt idx="1142">2.1027596572405884</cx:pt>
          <cx:pt idx="1143">2.0504546803853638</cx:pt>
          <cx:pt idx="1144">2.0458043588022203</cx:pt>
          <cx:pt idx="1145">2.0986604764881083</cx:pt>
          <cx:pt idx="1146">1.9985617513127305</cx:pt>
          <cx:pt idx="1147">1.9963756463847453</cx:pt>
          <cx:pt idx="1148">2.0399916368009747</cx:pt>
          <cx:pt idx="1149">2.0804706046311052</cx:pt>
          <cx:pt idx="1150">2.1426512333952035</cx:pt>
          <cx:pt idx="1151">2.1344353333089092</cx:pt>
          <cx:pt idx="1152">2.1178742808661886</cx:pt>
          <cx:pt idx="1153">2.0260378787385491</cx:pt>
          <cx:pt idx="1154">2.017752408966234</cx:pt>
          <cx:pt idx="1155">2.0599733185517808</cx:pt>
          <cx:pt idx="1156">2.0942864005886799</cx:pt>
          <cx:pt idx="1157">2.1277808429592722</cx:pt>
          <cx:pt idx="1158">2.1553127918564372</cx:pt>
          <cx:pt idx="1159">2.1454316099583415</cx:pt>
          <cx:pt idx="1160">2.1521596161958114</cx:pt>
          <cx:pt idx="1161">2.1767146860248832</cx:pt>
          <cx:pt idx="1162">2.2698694676168025</cx:pt>
          <cx:pt idx="1163">2.2515522652840572</cx:pt>
          <cx:pt idx="1164">2.2125752672382983</cx:pt>
          <cx:pt idx="1165">2.1955883813815964</cx:pt>
          <cx:pt idx="1166">2.2171110182437004</cx:pt>
          <cx:pt idx="1167">2.251761266681672</cx:pt>
          <cx:pt idx="1168">2.2543519652705237</cx:pt>
          <cx:pt idx="1169">2.3169920523404679</cx:pt>
          <cx:pt idx="1170">2.3338146852494419</cx:pt>
          <cx:pt idx="1171">2.4200096799299531</cx:pt>
          <cx:pt idx="1172">2.4594956855549088</cx:pt>
          <cx:pt idx="1173">2.4582006918086052</cx:pt>
          <cx:pt idx="1174">2.4454404446575762</cx:pt>
          <cx:pt idx="1175">2.4291883454888441</cx:pt>
          <cx:pt idx="1176">2.4736629245842687</cx:pt>
          <cx:pt idx="1177">2.472871715001864</cx:pt>
          <cx:pt idx="1178">2.4300887706947685</cx:pt>
          <cx:pt idx="1179">2.3827603487243159</cx:pt>
          <cx:pt idx="1180">2.4180254661468967</cx:pt>
          <cx:pt idx="1181">2.4050784589789145</cx:pt>
          <cx:pt idx="1182">2.3344739846545655</cx:pt>
          <cx:pt idx="1183">2.3346226675642887</cx:pt>
          <cx:pt idx="1184">2.294637956493824</cx:pt>
          <cx:pt idx="1185">2.266423776792891</cx:pt>
          <cx:pt idx="1186">2.2870033548330375</cx:pt>
          <cx:pt idx="1187">2.3192413830305512</cx:pt>
          <cx:pt idx="1188">2.2903899662278397</cx:pt>
          <cx:pt idx="1189">2.3241067970929641</cx:pt>
          <cx:pt idx="1190">2.2965174091450544</cx:pt>
          <cx:pt idx="1191">2.2827258432797137</cx:pt>
          <cx:pt idx="1192">2.1929267884921551</cx:pt>
          <cx:pt idx="1193">2.2589323450698826</cx:pt>
          <cx:pt idx="1194">2.2334766559854082</cx:pt>
          <cx:pt idx="1195">2.2227833115786906</cx:pt>
          <cx:pt idx="1196">2.200611243532137</cx:pt>
          <cx:pt idx="1197">2.2495631232028264</cx:pt>
          <cx:pt idx="1198">2.3190555036053202</cx:pt>
          <cx:pt idx="1199">2.217811435922417</cx:pt>
          <cx:pt idx="1200">2.1831108152739147</cx:pt>
          <cx:pt idx="1201">2.1030934798191891</cx:pt>
          <cx:pt idx="1202">2.0853577662823541</cx:pt>
          <cx:pt idx="1203">2.1180048001877418</cx:pt>
          <cx:pt idx="1204">2.0377765101571255</cx:pt>
          <cx:pt idx="1205">2.1340023411914291</cx:pt>
          <cx:pt idx="1206">2.1458834560554636</cx:pt>
          <cx:pt idx="1207">2.1820302927198565</cx:pt>
          <cx:pt idx="1208">2.1856845748851859</cx:pt>
          <cx:pt idx="1209">2.1613878009696208</cx:pt>
          <cx:pt idx="1210">2.1468763331712077</cx:pt>
          <cx:pt idx="1211">2.1118829931519651</cx:pt>
          <cx:pt idx="1212">2.1220804910123747</cx:pt>
          <cx:pt idx="1213">2.142966518670435</cx:pt>
          <cx:pt idx="1214">2.1031411773386082</cx:pt>
          <cx:pt idx="1215">2.0771370531594808</cx:pt>
          <cx:pt idx="1216">2.0385120775833325</cx:pt>
          <cx:pt idx="1217">2.0376646277015809</cx:pt>
          <cx:pt idx="1218">2.0081548385070795</cx:pt>
          <cx:pt idx="1219">2.0660131590398265</cx:pt>
          <cx:pt idx="1220">2.0845110416813823</cx:pt>
          <cx:pt idx="1221">2.0799025194364558</cx:pt>
          <cx:pt idx="1222">2.1411504211210408</cx:pt>
          <cx:pt idx="1223">2.0627784663954825</cx:pt>
          <cx:pt idx="1224">2.020632719675147</cx:pt>
          <cx:pt idx="1225">2.0408132644314305</cx:pt>
          <cx:pt idx="1226">2.0718589722821208</cx:pt>
          <cx:pt idx="1227">1.9859371650388298</cx:pt>
          <cx:pt idx="1228">2.0214900352394567</cx:pt>
          <cx:pt idx="1229">2.0445321500868263</cx:pt>
          <cx:pt idx="1230">2.0174091736469038</cx:pt>
          <cx:pt idx="1231">2.0499698450309523</cx:pt>
          <cx:pt idx="1232">2.0774457283527195</cx:pt>
          <cx:pt idx="1233">2.0595906281634879</cx:pt>
          <cx:pt idx="1234">2.1710672077037731</cx:pt>
          <cx:pt idx="1235">2.1766605706148598</cx:pt>
          <cx:pt idx="1236">2.285642218191041</cx:pt>
          <cx:pt idx="1237">2.2983875547766321</cx:pt>
          <cx:pt idx="1238">2.3922546880794204</cx:pt>
          <cx:pt idx="1239">2.5107455964664611</cx:pt>
          <cx:pt idx="1240">2.450950577772272</cx:pt>
          <cx:pt idx="1241">2.4444322017247098</cx:pt>
          <cx:pt idx="1242">2.4405615824734945</cx:pt>
          <cx:pt idx="1243">2.4312431570466626</cx:pt>
          <cx:pt idx="1244">2.5448565501485612</cx:pt>
          <cx:pt idx="1245">2.5388016507008939</cx:pt>
          <cx:pt idx="1246">2.5305415514005434</cx:pt>
          <cx:pt idx="1247">2.4943840027447726</cx:pt>
          <cx:pt idx="1248">2.483004336447125</cx:pt>
          <cx:pt idx="1249">2.3141180600272473</cx:pt>
          <cx:pt idx="1250">2.3773050640044322</cx:pt>
          <cx:pt idx="1251">2.34055030678193</cx:pt>
          <cx:pt idx="1252">2.2136823337335776</cx:pt>
          <cx:pt idx="1253">2.2831332100161044</cx:pt>
          <cx:pt idx="1254">2.2754300334619342</cx:pt>
          <cx:pt idx="1255">2.1924177395719058</cx:pt>
          <cx:pt idx="1256">2.0470049621567878</cx:pt>
          <cx:pt idx="1257">2.0539041545437433</cx:pt>
          <cx:pt idx="1258">2.0503143012065981</cx:pt>
          <cx:pt idx="1259">1.988010419476512</cx:pt>
          <cx:pt idx="1260">1.9576285857819922</cx:pt>
          <cx:pt idx="1261">1.6904332989775159</cx:pt>
          <cx:pt idx="1262">1.7112217979552737</cx:pt>
          <cx:pt idx="1263">1.6460205011096134</cx:pt>
          <cx:pt idx="1264">1.647200157101971</cx:pt>
          <cx:pt idx="1265">1.6644861959688109</cx:pt>
          <cx:pt idx="1266">1.6605504952224222</cx:pt>
          <cx:pt idx="1267">1.7280831844425188</cx:pt>
          <cx:pt idx="1268">1.7361657444935947</cx:pt>
          <cx:pt idx="1269">1.7045967947684495</cx:pt>
          <cx:pt idx="1270">1.7675869529852375</cx:pt>
          <cx:pt idx="1271">1.7065032991535189</cx:pt>
          <cx:pt idx="1272">1.643241091354678</cx:pt>
          <cx:pt idx="1273">1.6019490361286663</cx:pt>
          <cx:pt idx="1274">1.5660009823304748</cx:pt>
          <cx:pt idx="1275">1.5939160715204539</cx:pt>
          <cx:pt idx="1276">1.6471558660433254</cx:pt>
          <cx:pt idx="1277">2.0036656822057921</cx:pt>
          <cx:pt idx="1278">2.1500990232597097</cx:pt>
          <cx:pt idx="1279">2.3089410757795568</cx:pt>
          <cx:pt idx="1280">2.4744207889351295</cx:pt>
          <cx:pt idx="1281">2.4890439134185249</cx:pt>
          <cx:pt idx="1282">2.6941764032590778</cx:pt>
          <cx:pt idx="1283">2.7470909335042393</cx:pt>
          <cx:pt idx="1284">2.7240064034969498</cx:pt>
          <cx:pt idx="1285">2.7630223290799845</cx:pt>
          <cx:pt idx="1286">2.7588902903312018</cx:pt>
          <cx:pt idx="1287">2.7553500726747058</cx:pt>
          <cx:pt idx="1288">2.8144090430520214</cx:pt>
          <cx:pt idx="1289">2.7655666827361109</cx:pt>
          <cx:pt idx="1290">2.7253689628490778</cx:pt>
          <cx:pt idx="1291">2.7342195747261435</cx:pt>
          <cx:pt idx="1292">2.6933469145945246</cx:pt>
          <cx:pt idx="1293">2.6611920625337078</cx:pt>
          <cx:pt idx="1294">2.6894638724037803</cx:pt>
          <cx:pt idx="1295">2.6175327187946076</cx:pt>
          <cx:pt idx="1296">2.6202346677480213</cx:pt>
          <cx:pt idx="1297">2.5756796349385489</cx:pt>
          <cx:pt idx="1298">2.5384109144407478</cx:pt>
          <cx:pt idx="1299">2.504708968751423</cx:pt>
          <cx:pt idx="1300">2.4237905273695088</cx:pt>
          <cx:pt idx="1301">2.4473792210794847</cx:pt>
          <cx:pt idx="1302">2.4622697455397744</cx:pt>
          <cx:pt idx="1303">2.4408067068226202</cx:pt>
          <cx:pt idx="1304">2.3187819412937594</cx:pt>
          <cx:pt idx="1305">2.1267774432579762</cx:pt>
          <cx:pt idx="1306">2.1295555274661404</cx:pt>
          <cx:pt idx="1307">2.1495549962412377</cx:pt>
          <cx:pt idx="1308">2.1407266859180414</cx:pt>
          <cx:pt idx="1309">2.2007327121687026</cx:pt>
          <cx:pt idx="1310">2.1651589700599874</cx:pt>
          <cx:pt idx="1311">2.2328459901929998</cx:pt>
          <cx:pt idx="1312">2.1473947623161318</cx:pt>
          <cx:pt idx="1313">2.1305341662528705</cx:pt>
          <cx:pt idx="1314">2.1173473674879486</cx:pt>
          <cx:pt idx="1315">2.2011820101605122</cx:pt>
          <cx:pt idx="1316">2.197948126449341</cx:pt>
          <cx:pt idx="1317">2.2031097135624784</cx:pt>
          <cx:pt idx="1318">2.1827766094146615</cx:pt>
          <cx:pt idx="1319">2.2038694091020439</cx:pt>
          <cx:pt idx="1320">2.1851750560649208</cx:pt>
          <cx:pt idx="1321">2.1449930431856656</cx:pt>
          <cx:pt idx="1322">2.1483964916917548</cx:pt>
          <cx:pt idx="1323">2.1546141015213784</cx:pt>
          <cx:pt idx="1324">2.2124211302390551</cx:pt>
          <cx:pt idx="1325">2.2201283064205311</cx:pt>
          <cx:pt idx="1326">2.2031037632616259</cx:pt>
          <cx:pt idx="1327">2.1596242315520078</cx:pt>
          <cx:pt idx="1328">2.0831263087030565</cx:pt>
          <cx:pt idx="1329">2.1145722919686207</cx:pt>
          <cx:pt idx="1330">2.0852939914273474</cx:pt>
          <cx:pt idx="1331">2.1008241585055547</cx:pt>
          <cx:pt idx="1332">2.0703031710140185</cx:pt>
          <cx:pt idx="1333">2.0285898041549499</cx:pt>
          <cx:pt idx="1334">2.0707945305246485</cx:pt>
          <cx:pt idx="1335">1.9966899558768014</cx:pt>
          <cx:pt idx="1336">2.0142345161016921</cx:pt>
          <cx:pt idx="1337">1.98971622270814</cx:pt>
          <cx:pt idx="1338">2.0010208281067325</cx:pt>
          <cx:pt idx="1339">1.9463885100783207</cx:pt>
          <cx:pt idx="1340">2.0542260318917296</cx:pt>
          <cx:pt idx="1341">2.0321056580622567</cx:pt>
          <cx:pt idx="1342">2.1205006121232333</cx:pt>
          <cx:pt idx="1343">2.1693320884292602</cx:pt>
          <cx:pt idx="1344">2.213590414041434</cx:pt>
          <cx:pt idx="1345">2.1729678561118342</cx:pt>
          <cx:pt idx="1346">2.1711183997926313</cx:pt>
          <cx:pt idx="1347">2.1594014735669091</cx:pt>
          <cx:pt idx="1348">2.1792322711303753</cx:pt>
          <cx:pt idx="1349">2.1741908651531321</cx:pt>
          <cx:pt idx="1350">2.1546528991017295</cx:pt>
          <cx:pt idx="1351">2.177094852497294</cx:pt>
          <cx:pt idx="1352">2.193483617655998</cx:pt>
          <cx:pt idx="1353">2.2641854948662927</cx:pt>
          <cx:pt idx="1354">2.2259814566671592</cx:pt>
          <cx:pt idx="1355">2.2399219849623297</cx:pt>
          <cx:pt idx="1356">2.3139538554476551</cx:pt>
          <cx:pt idx="1357">2.3130225950519514</cx:pt>
          <cx:pt idx="1358">2.3257052094350059</cx:pt>
          <cx:pt idx="1359">2.2959739007118687</cx:pt>
          <cx:pt idx="1360">2.2429710141388228</cx:pt>
          <cx:pt idx="1361">2.2030313235276973</cx:pt>
          <cx:pt idx="1362">2.1983072496674234</cx:pt>
          <cx:pt idx="1363">2.1992235907278452</cx:pt>
          <cx:pt idx="1364">2.1636689406853558</cx:pt>
          <cx:pt idx="1365">2.1604105629955992</cx:pt>
          <cx:pt idx="1366">2.1717528189989905</cx:pt>
          <cx:pt idx="1367">2.2008702304008945</cx:pt>
          <cx:pt idx="1368">2.2295875629933084</cx:pt>
          <cx:pt idx="1369">2.2801576343041683</cx:pt>
          <cx:pt idx="1370">2.1545863255517932</cx:pt>
          <cx:pt idx="1371">2.1445348080830269</cx:pt>
          <cx:pt idx="1372">2.1147946512209894</cx:pt>
          <cx:pt idx="1373">2.0970575177459665</cx:pt>
          <cx:pt idx="1374">2.0241243810180887</cx:pt>
          <cx:pt idx="1375">2.0095680695988598</cx:pt>
          <cx:pt idx="1376">2.0082607967485688</cx:pt>
          <cx:pt idx="1377">2.118285725831845</cx:pt>
          <cx:pt idx="1378">2.2045376660173313</cx:pt>
          <cx:pt idx="1379">2.1857996587497142</cx:pt>
          <cx:pt idx="1380">2.2643075805258328</cx:pt>
          <cx:pt idx="1381">2.2603895840165142</cx:pt>
          <cx:pt idx="1382">2.2938914259480958</cx:pt>
          <cx:pt idx="1383">2.280902412746308</cx:pt>
          <cx:pt idx="1384">2.2083686698574976</cx:pt>
          <cx:pt idx="1385">2.2333592650793008</cx:pt>
          <cx:pt idx="1386">2.2126862048840819</cx:pt>
          <cx:pt idx="1387">2.2742464306240504</cx:pt>
          <cx:pt idx="1388">2.3154159335178988</cx:pt>
          <cx:pt idx="1389">2.2861459664422807</cx:pt>
          <cx:pt idx="1390">2.2971278650158258</cx:pt>
          <cx:pt idx="1391">2.2994734674301456</cx:pt>
          <cx:pt idx="1392">2.3287217928646493</cx:pt>
          <cx:pt idx="1393">2.3376128703860339</cx:pt>
          <cx:pt idx="1394">2.3053401769442741</cx:pt>
          <cx:pt idx="1395">2.303683347987977</cx:pt>
          <cx:pt idx="1396">2.3528945689649112</cx:pt>
          <cx:pt idx="1397">2.2845079003009534</cx:pt>
          <cx:pt idx="1398">2.2020249409578345</cx:pt>
          <cx:pt idx="1399">2.2162700533911193</cx:pt>
          <cx:pt idx="1400">2.2461690891576893</cx:pt>
          <cx:pt idx="1401">2.2406608051075385</cx:pt>
          <cx:pt idx="1402">2.1906703044125839</cx:pt>
          <cx:pt idx="1403">2.1558839186501664</cx:pt>
          <cx:pt idx="1404">2.1657292547988689</cx:pt>
          <cx:pt idx="1405">2.1907990884510626</cx:pt>
          <cx:pt idx="1406">2.1935717029098831</cx:pt>
          <cx:pt idx="1407">2.1727100903033798</cx:pt>
          <cx:pt idx="1408">2.1207637382499303</cx:pt>
          <cx:pt idx="1409">2.1214124998654431</cx:pt>
          <cx:pt idx="1410">2.0946941343956191</cx:pt>
          <cx:pt idx="1411">2.1377894706101563</cx:pt>
          <cx:pt idx="1412">2.1205575941970607</cx:pt>
          <cx:pt idx="1413">2.0418775178382118</cx:pt>
          <cx:pt idx="1414">2.0559707838315311</cx:pt>
          <cx:pt idx="1415">1.9765826754427098</cx:pt>
          <cx:pt idx="1416">1.9838902821622066</cx:pt>
          <cx:pt idx="1417">1.930861586256186</cx:pt>
          <cx:pt idx="1418">1.9442423395534132</cx:pt>
          <cx:pt idx="1419">2.019380215989627</cx:pt>
          <cx:pt idx="1420">1.9948493570800696</cx:pt>
          <cx:pt idx="1421">2.0019654064801506</cx:pt>
          <cx:pt idx="1422">1.9857189377702762</cx:pt>
          <cx:pt idx="1423">2.0088694753076988</cx:pt>
          <cx:pt idx="1424">2.0098327684650248</cx:pt>
          <cx:pt idx="1425">2.0094149064746905</cx:pt>
          <cx:pt idx="1426">1.9159744538283918</cx:pt>
          <cx:pt idx="1427">1.9985825698232382</cx:pt>
          <cx:pt idx="1428">1.9713002075805093</cx:pt>
          <cx:pt idx="1429">2.036899186928665</cx:pt>
          <cx:pt idx="1430">2.0102880634932956</cx:pt>
          <cx:pt idx="1431">2.0426330011231792</cx:pt>
          <cx:pt idx="1432">2.044666979461768</cx:pt>
          <cx:pt idx="1433">2.0616411439255371</cx:pt>
          <cx:pt idx="1434">2.0827486934966948</cx:pt>
          <cx:pt idx="1435">2.0718174321629577</cx:pt>
          <cx:pt idx="1436">2.0728960132234562</cx:pt>
          <cx:pt idx="1437">2.0512884180506386</cx:pt>
          <cx:pt idx="1438">2.0450627745099035</cx:pt>
          <cx:pt idx="1439">2.0337089914250237</cx:pt>
          <cx:pt idx="1440">2.0178834727280175</cx:pt>
          <cx:pt idx="1441">1.9294344257791667</cx:pt>
          <cx:pt idx="1442">1.9313949133695476</cx:pt>
          <cx:pt idx="1443">1.9331081193365607</cx:pt>
          <cx:pt idx="1444">2.0121341793088474</cx:pt>
          <cx:pt idx="1445">2.0399905192216696</cx:pt>
          <cx:pt idx="1446">2.0534989613415986</cx:pt>
          <cx:pt idx="1447">2.1199024767372654</cx:pt>
          <cx:pt idx="1448">2.0525461647733279</cx:pt>
          <cx:pt idx="1449">2.0115011760116444</cx:pt>
          <cx:pt idx="1450">2.0235411345665755</cx:pt>
          <cx:pt idx="1451">2.0619427405941075</cx:pt>
          <cx:pt idx="1452">2.0104547681198008</cx:pt>
          <cx:pt idx="1453">1.9638437910489919</cx:pt>
          <cx:pt idx="1454">1.9825395329992792</cx:pt>
          <cx:pt idx="1455">1.9981752861571407</cx:pt>
          <cx:pt idx="1456">1.9738755452146861</cx:pt>
          <cx:pt idx="1457">1.8983677549387923</cx:pt>
          <cx:pt idx="1458">1.9998457240772813</cx:pt>
          <cx:pt idx="1459">1.9227979834383173</cx:pt>
          <cx:pt idx="1460">1.9290905446942004</cx:pt>
          <cx:pt idx="1461">1.869543712356035</cx:pt>
          <cx:pt idx="1462">1.9062165753119222</cx:pt>
          <cx:pt idx="1463">1.8468630190959643</cx:pt>
          <cx:pt idx="1464">1.8725181731881575</cx:pt>
          <cx:pt idx="1465">1.9062357113567618</cx:pt>
          <cx:pt idx="1466">1.9572693711596161</cx:pt>
          <cx:pt idx="1467">1.9132805696590891</cx:pt>
          <cx:pt idx="1468">2.0031343350944555</cx:pt>
          <cx:pt idx="1469">2.0382217414669617</cx:pt>
          <cx:pt idx="1470">2.0489784112297436</cx:pt>
          <cx:pt idx="1471">2.0344310877637728</cx:pt>
          <cx:pt idx="1472">2.0051023544187547</cx:pt>
          <cx:pt idx="1473">1.9855188670631789</cx:pt>
          <cx:pt idx="1474">1.9400985854167621</cx:pt>
          <cx:pt idx="1475">1.9576346999158964</cx:pt>
          <cx:pt idx="1476">1.9397499346726126</cx:pt>
          <cx:pt idx="1477">1.8356060595279207</cx:pt>
          <cx:pt idx="1478">1.9294949826812868</cx:pt>
          <cx:pt idx="1479">1.8988444737071535</cx:pt>
          <cx:pt idx="1480">1.8892320350212819</cx:pt>
          <cx:pt idx="1481">1.8229476723197389</cx:pt>
          <cx:pt idx="1482">1.9142023427293198</cx:pt>
          <cx:pt idx="1483">1.9669054408878239</cx:pt>
          <cx:pt idx="1484">1.9540327873736605</cx:pt>
          <cx:pt idx="1485">2.062114114094979</cx:pt>
          <cx:pt idx="1486">2.1411313437472632</cx:pt>
          <cx:pt idx="1487">2.1415294488648215</cx:pt>
          <cx:pt idx="1488">2.1331226444360714</cx:pt>
          <cx:pt idx="1489">2.1163069722778713</cx:pt>
          <cx:pt idx="1490">2.1204106561730409</cx:pt>
          <cx:pt idx="1491">2.1412387959466841</cx:pt>
          <cx:pt idx="1492">2.1921580141063428</cx:pt>
          <cx:pt idx="1493">2.2010031651565933</cx:pt>
          <cx:pt idx="1494">2.1354922520895903</cx:pt>
          <cx:pt idx="1495">2.115999925657003</cx:pt>
          <cx:pt idx="1496">2.0524595249708057</cx:pt>
          <cx:pt idx="1497">2.1478526526239792</cx:pt>
          <cx:pt idx="1498">2.1449345844607568</cx:pt>
          <cx:pt idx="1499">2.1186969115521923</cx:pt>
          <cx:pt idx="1500">2.1497363538779743</cx:pt>
          <cx:pt idx="1501">2.1890511422945926</cx:pt>
          <cx:pt idx="1502">2.1832256867222974</cx:pt>
          <cx:pt idx="1503">2.1807507838336813</cx:pt>
          <cx:pt idx="1504">2.1651544071764364</cx:pt>
          <cx:pt idx="1505">2.1963588096025335</cx:pt>
          <cx:pt idx="1506">2.2279010053662978</cx:pt>
          <cx:pt idx="1507">2.2282401242879204</cx:pt>
          <cx:pt idx="1508">2.1278720051843854</cx:pt>
          <cx:pt idx="1509">2.0896656154382725</cx:pt>
          <cx:pt idx="1510">2.150111305581476</cx:pt>
          <cx:pt idx="1511">2.2384689905552819</cx:pt>
          <cx:pt idx="1512">2.1786964780133276</cx:pt>
          <cx:pt idx="1513">2.1314803568052767</cx:pt>
          <cx:pt idx="1514">2.222379501099653</cx:pt>
          <cx:pt idx="1515">2.1118380120439406</cx:pt>
          <cx:pt idx="1516">2.0220688935914919</cx:pt>
          <cx:pt idx="1517">2.0255182158986393</cx:pt>
          <cx:pt idx="1518">1.9553936095653617</cx:pt>
          <cx:pt idx="1519">1.9599098701125426</cx:pt>
          <cx:pt idx="1520">1.912723716776396</cx:pt>
          <cx:pt idx="1521">1.9240164917263751</cx:pt>
          <cx:pt idx="1522">1.8272621739481163</cx:pt>
          <cx:pt idx="1523">1.8027353270647175</cx:pt>
          <cx:pt idx="1524">1.8025067248190647</cx:pt>
          <cx:pt idx="1525">1.7774749274989321</cx:pt>
          <cx:pt idx="1526">1.8087050832252671</cx:pt>
          <cx:pt idx="1527">1.6644865383945353</cx:pt>
          <cx:pt idx="1528">1.7097804251740465</cx:pt>
          <cx:pt idx="1529">1.7277111031455339</cx:pt>
          <cx:pt idx="1530">1.6558621192121448</cx:pt>
          <cx:pt idx="1531">1.6218372997453379</cx:pt>
          <cx:pt idx="1532">1.7807925737035206</cx:pt>
          <cx:pt idx="1533">1.7791194669568828</cx:pt>
          <cx:pt idx="1534">1.778013552650098</cx:pt>
          <cx:pt idx="1535">1.7401051124063887</cx:pt>
          <cx:pt idx="1536">1.7387717112205545</cx:pt>
          <cx:pt idx="1537">1.7633272736506369</cx:pt>
          <cx:pt idx="1538">1.7917621782031474</cx:pt>
          <cx:pt idx="1539">1.9074770508539614</cx:pt>
          <cx:pt idx="1540">1.844233011931748</cx:pt>
          <cx:pt idx="1541">1.73236602628221</cx:pt>
          <cx:pt idx="1542">1.7270099343618814</cx:pt>
          <cx:pt idx="1543">1.723853625272201</cx:pt>
          <cx:pt idx="1544">1.6657855370081123</cx:pt>
          <cx:pt idx="1545">1.7188455259428546</cx:pt>
          <cx:pt idx="1546">1.7841428121755487</cx:pt>
          <cx:pt idx="1547">1.8202366653820954</cx:pt>
          <cx:pt idx="1548">1.8234702608360549</cx:pt>
          <cx:pt idx="1549">1.8549260985807419</cx:pt>
          <cx:pt idx="1550">1.9222177946629109</cx:pt>
          <cx:pt idx="1551">1.9104233793490011</cx:pt>
          <cx:pt idx="1552">1.915152837849893</cx:pt>
          <cx:pt idx="1553">1.9232401967940598</cx:pt>
          <cx:pt idx="1554">1.9552644785688778</cx:pt>
          <cx:pt idx="1555">1.9581229925703054</cx:pt>
          <cx:pt idx="1556">1.9896379236335024</cx:pt>
          <cx:pt idx="1557">1.9500712806023368</cx:pt>
          <cx:pt idx="1558">1.9252093605578779</cx:pt>
          <cx:pt idx="1559">1.91008244142219</cx:pt>
          <cx:pt idx="1560">1.8883629671079636</cx:pt>
          <cx:pt idx="1561">1.9021484955233028</cx:pt>
          <cx:pt idx="1562">1.8344409894315652</cx:pt>
          <cx:pt idx="1563">1.8941239450313847</cx:pt>
          <cx:pt idx="1564">1.8938194988173727</cx:pt>
          <cx:pt idx="1565">1.9453325677832167</cx:pt>
          <cx:pt idx="1566">1.9303337218631242</cx:pt>
          <cx:pt idx="1567">1.8763677067341809</cx:pt>
          <cx:pt idx="1568">1.8866769011326749</cx:pt>
          <cx:pt idx="1569">1.8388629442945676</cx:pt>
          <cx:pt idx="1570">1.8940742940462929</cx:pt>
          <cx:pt idx="1571">1.937529537491993</cx:pt>
          <cx:pt idx="1572">2.0182863086847846</cx:pt>
          <cx:pt idx="1573">2.0686066026040426</cx:pt>
          <cx:pt idx="1574">2.0463689120801072</cx:pt>
          <cx:pt idx="1575">2.0041018069041781</cx:pt>
          <cx:pt idx="1576">2.0430387684814941</cx:pt>
          <cx:pt idx="1577">2.0221534531785088</cx:pt>
          <cx:pt idx="1578">2.0042622010722324</cx:pt>
          <cx:pt idx="1579">2.0648074140394521</cx:pt>
          <cx:pt idx="1580">2.0729138855296201</cx:pt>
          <cx:pt idx="1581">2.1544857118197935</cx:pt>
          <cx:pt idx="1582">2.2243233409441334</cx:pt>
          <cx:pt idx="1583">2.2800863094228263</cx:pt>
          <cx:pt idx="1584">2.2380348183193846</cx:pt>
          <cx:pt idx="1585">2.2857383054553586</cx:pt>
          <cx:pt idx="1586">2.325183231272574</cx:pt>
          <cx:pt idx="1587">2.3302606211652455</cx:pt>
          <cx:pt idx="1588">2.3012211725022196</cx:pt>
          <cx:pt idx="1589">2.3924348009135001</cx:pt>
          <cx:pt idx="1590">2.4381338412234874</cx:pt>
          <cx:pt idx="1591">2.5229896876518021</cx:pt>
          <cx:pt idx="1592">2.5169606868361214</cx:pt>
          <cx:pt idx="1593">2.4395633942324522</cx:pt>
          <cx:pt idx="1594">2.4393690036823368</cx:pt>
          <cx:pt idx="1595">2.491098696915349</cx:pt>
          <cx:pt idx="1596">2.5471664641902079</cx:pt>
          <cx:pt idx="1597">2.5474621878187147</cx:pt>
          <cx:pt idx="1598">2.5421854660997183</cx:pt>
          <cx:pt idx="1599">2.5524475520071186</cx:pt>
          <cx:pt idx="1600">2.577873861695517</cx:pt>
          <cx:pt idx="1601">2.5907054861428134</cx:pt>
          <cx:pt idx="1602">2.5396193005443837</cx:pt>
          <cx:pt idx="1603">2.4773149555899638</cx:pt>
          <cx:pt idx="1604">2.5382249923721751</cx:pt>
          <cx:pt idx="1605">2.5460382223778706</cx:pt>
          <cx:pt idx="1606">2.506699752595587</cx:pt>
          <cx:pt idx="1607">2.5304967295196472</cx:pt>
          <cx:pt idx="1608">2.5666675425836094</cx:pt>
          <cx:pt idx="1609">2.505403678433185</cx:pt>
          <cx:pt idx="1610">2.5086747190150076</cx:pt>
          <cx:pt idx="1611">2.5043430310739954</cx:pt>
          <cx:pt idx="1612">2.4452716949271665</cx:pt>
          <cx:pt idx="1613">2.4666090791970423</cx:pt>
          <cx:pt idx="1614">2.4741541153476847</cx:pt>
          <cx:pt idx="1615">2.4533803496636839</cx:pt>
          <cx:pt idx="1616">2.4036627002068203</cx:pt>
          <cx:pt idx="1617">2.3900914009931031</cx:pt>
          <cx:pt idx="1618">2.3810898086246177</cx:pt>
          <cx:pt idx="1619">2.3683046897809144</cx:pt>
          <cx:pt idx="1620">2.3683046897809144</cx:pt>
          <cx:pt idx="1621">2.3423674531243925</cx:pt>
          <cx:pt idx="1622">2.3350106471155687</cx:pt>
          <cx:pt idx="1623">2.3574006645110117</cx:pt>
          <cx:pt idx="1624">2.3372897830544157</cx:pt>
          <cx:pt idx="1625">2.3464851566719154</cx:pt>
          <cx:pt idx="1626">2.2443667488098513</cx:pt>
          <cx:pt idx="1627">2.3192255727997373</cx:pt>
          <cx:pt idx="1628">2.3246393964137733</cx:pt>
          <cx:pt idx="1629">2.3148223655028177</cx:pt>
          <cx:pt idx="1630">2.2562188315803877</cx:pt>
          <cx:pt idx="1631">2.1985572615894942</cx:pt>
          <cx:pt idx="1632">2.2162946560576842</cx:pt>
          <cx:pt idx="1633">2.2009634582133852</cx:pt>
          <cx:pt idx="1634">2.1432682837361177</cx:pt>
          <cx:pt idx="1635">2.1557414155301</cx:pt>
          <cx:pt idx="1636">2.1077518900069974</cx:pt>
          <cx:pt idx="1637">1.9947033502015816</cx:pt>
          <cx:pt idx="1638">1.9455262245215657</cx:pt>
          <cx:pt idx="1639">1.9496190740899346</cx:pt>
          <cx:pt idx="1640">1.8417759611269477</cx:pt>
          <cx:pt idx="1641">1.8525632244588752</cx:pt>
          <cx:pt idx="1642">1.881655276418174</cx:pt>
          <cx:pt idx="1643">1.8227136833479525</cx:pt>
          <cx:pt idx="1644">1.8759350032480178</cx:pt>
          <cx:pt idx="1645">1.85582034569753</cx:pt>
          <cx:pt idx="1646">1.9682078447822</cx:pt>
          <cx:pt idx="1647">1.981187862912646</cx:pt>
          <cx:pt idx="1648">1.9598675082152295</cx:pt>
          <cx:pt idx="1649">1.9394583322643304</cx:pt>
          <cx:pt idx="1650">1.922594922460183</cx:pt>
          <cx:pt idx="1651">1.8809039217962231</cx:pt>
          <cx:pt idx="1652">1.9251822222251427</cx:pt>
          <cx:pt idx="1653">1.9015059552580016</cx:pt>
          <cx:pt idx="1654">1.9097549723292977</cx:pt>
          <cx:pt idx="1655">1.8414915419514057</cx:pt>
          <cx:pt idx="1656">1.9280798175993927</cx:pt>
          <cx:pt idx="1657">1.8742595510824505</cx:pt>
          <cx:pt idx="1658">1.8854430279905663</cx:pt>
          <cx:pt idx="1659">1.9460652953951203</cx:pt>
          <cx:pt idx="1660">1.9452786568796678</cx:pt>
          <cx:pt idx="1661">1.9065087777343774</cx:pt>
          <cx:pt idx="1662">1.9439186702928741</cx:pt>
          <cx:pt idx="1663">1.9423608444963918</cx:pt>
          <cx:pt idx="1664">1.9518872351789114</cx:pt>
          <cx:pt idx="1665">1.8923356888424019</cx:pt>
          <cx:pt idx="1666">1.8740320702290509</cx:pt>
          <cx:pt idx="1667">1.8718869791052912</cx:pt>
          <cx:pt idx="1668">1.9140966368535863</cx:pt>
          <cx:pt idx="1669">1.9174974389115003</cx:pt>
          <cx:pt idx="1670">1.8836485477470728</cx:pt>
          <cx:pt idx="1671">1.8781913975444096</cx:pt>
          <cx:pt idx="1672">1.8441572927633287</cx:pt>
          <cx:pt idx="1673">1.8386620831227702</cx:pt>
          <cx:pt idx="1674">1.8596492762876007</cx:pt>
          <cx:pt idx="1675">1.8508522449098648</cx:pt>
          <cx:pt idx="1676">1.7955671961803201</cx:pt>
          <cx:pt idx="1677">1.8009786980756843</cx:pt>
          <cx:pt idx="1678">1.8601754442996941</cx:pt>
          <cx:pt idx="1679">1.8850931376330071</cx:pt>
          <cx:pt idx="1680">1.832906830533342</cx:pt>
          <cx:pt idx="1681">1.9123398735981807</cx:pt>
          <cx:pt idx="1682">1.8944634426499727</cx:pt>
          <cx:pt idx="1683">1.9111945418513794</cx:pt>
          <cx:pt idx="1684">1.9065873019916741</cx:pt>
          <cx:pt idx="1685">1.9863181681464748</cx:pt>
          <cx:pt idx="1686">1.934940288586491</cx:pt>
          <cx:pt idx="1687">1.929014413818734</cx:pt>
          <cx:pt idx="1688">1.9305427592525775</cx:pt>
          <cx:pt idx="1689">1.9812880715187653</cx:pt>
          <cx:pt idx="1690">2.0217722493899144</cx:pt>
          <cx:pt idx="1691">2.0170034309131402</cx:pt>
          <cx:pt idx="1692">1.9524757333967513</cx:pt>
          <cx:pt idx="1693">2.0326148506287378</cx:pt>
          <cx:pt idx="1694">2.1181214085860152</cx:pt>
          <cx:pt idx="1695">2.1707529405850439</cx:pt>
          <cx:pt idx="1696">2.1985102514939117</cx:pt>
          <cx:pt idx="1697">2.2069821068483333</cx:pt>
          <cx:pt idx="1698">2.1601153264618702</cx:pt>
          <cx:pt idx="1699">2.1543290942425664</cx:pt>
          <cx:pt idx="1700">2.3537421722347029</cx:pt>
          <cx:pt idx="1701">2.3535251942023954</cx:pt>
          <cx:pt idx="1702">2.3335221734166809</cx:pt>
          <cx:pt idx="1703">2.4403078695807245</cx:pt>
          <cx:pt idx="1704">2.4302852325169093</cx:pt>
          <cx:pt idx="1705">2.4787428364408464</cx:pt>
          <cx:pt idx="1706">2.4996524124282002</cx:pt>
          <cx:pt idx="1707">2.4982854574758377</cx:pt>
          <cx:pt idx="1708">2.534644084020258</cx:pt>
          <cx:pt idx="1709">2.5810431232479925</cx:pt>
          <cx:pt idx="1710">2.6874752865799487</cx:pt>
          <cx:pt idx="1711">2.6632788159497434</cx:pt>
          <cx:pt idx="1712">2.7030942165059102</cx:pt>
          <cx:pt idx="1713">2.7711905226275388</cx:pt>
          <cx:pt idx="1714">2.788354577545467</cx:pt>
          <cx:pt idx="1715">2.7717365343729878</cx:pt>
          <cx:pt idx="1716">2.766640560409074</cx:pt>
          <cx:pt idx="1717">2.7090706415405377</cx:pt>
          <cx:pt idx="1718">2.7386016877143269</cx:pt>
          <cx:pt idx="1719">2.5838466136526037</cx:pt>
          <cx:pt idx="1720">2.5824863367849278</cx:pt>
          <cx:pt idx="1721">2.5882595849915937</cx:pt>
          <cx:pt idx="1722">2.5324823207012148</cx:pt>
          <cx:pt idx="1723">2.5827323355488083</cx:pt>
          <cx:pt idx="1724">2.3830818156053559</cx:pt>
          <cx:pt idx="1725">2.2351959809891921</cx:pt>
          <cx:pt idx="1726">1.9718031340643614</cx:pt>
          <cx:pt idx="1727">1.9760820229660274</cx:pt>
          <cx:pt idx="1728">1.8404290948983968</cx:pt>
          <cx:pt idx="1729">1.6833811822658253</cx:pt>
          <cx:pt idx="1730">1.6613100201907209</cx:pt>
          <cx:pt idx="1731">1.6103716514222366</cx:pt>
          <cx:pt idx="1732">1.6042164448178067</cx:pt>
          <cx:pt idx="1733">1.6025965679096024</cx:pt>
          <cx:pt idx="1734">1.696155499555948</cx:pt>
          <cx:pt idx="1735">1.6981400651361911</cx:pt>
          <cx:pt idx="1736">1.7045901073914445</cx:pt>
          <cx:pt idx="1737">1.6364453712316687</cx:pt>
          <cx:pt idx="1738">1.602713216758511</cx:pt>
          <cx:pt idx="1739">1.6257540650546745</cx:pt>
          <cx:pt idx="1740">1.6229171202194395</cx:pt>
          <cx:pt idx="1741">1.5998598779718505</cx:pt>
          <cx:pt idx="1742">1.5678076121303712</cx:pt>
          <cx:pt idx="1743">1.603927449134767</cx:pt>
          <cx:pt idx="1744">1.8553439385802613</cx:pt>
          <cx:pt idx="1745">1.8443451942091245</cx:pt>
          <cx:pt idx="1746">1.8243874245028493</cx:pt>
          <cx:pt idx="1747">1.7947793791588156</cx:pt>
          <cx:pt idx="1748">1.9364157841497269</cx:pt>
          <cx:pt idx="1749">1.9366048387604515</cx:pt>
          <cx:pt idx="1750">2.0774018306784554</cx:pt>
          <cx:pt idx="1751">2.0595508700354768</cx:pt>
          <cx:pt idx="1752">2.0613045715092961</cx:pt>
          <cx:pt idx="1753">2.1645563229528366</cx:pt>
          <cx:pt idx="1754">2.386756150234068</cx:pt>
          <cx:pt idx="1755">2.3964417433672547</cx:pt>
          <cx:pt idx="1756">2.3906123991988295</cx:pt>
          <cx:pt idx="1757">2.3113813009910946</cx:pt>
          <cx:pt idx="1758">2.2385891688080366</cx:pt>
          <cx:pt idx="1759">2.1669416198091387</cx:pt>
          <cx:pt idx="1760">2.1996605867871257</cx:pt>
          <cx:pt idx="1761">2.252312576158968</cx:pt>
          <cx:pt idx="1762">2.4078333895836548</cx:pt>
          <cx:pt idx="1763">2.3893879726056535</cx:pt>
          <cx:pt idx="1764">2.4247143480050348</cx:pt>
          <cx:pt idx="1765">2.3880804194319265</cx:pt>
          <cx:pt idx="1766">2.374825137428402</cx:pt>
          <cx:pt idx="1767">2.2905106551729904</cx:pt>
          <cx:pt idx="1768">2.2653735995105859</cx:pt>
          <cx:pt idx="1769">2.2776735308673275</cx:pt>
          <cx:pt idx="1770">2.354159604958006</cx:pt>
          <cx:pt idx="1771">2.4511788514805426</cx:pt>
          <cx:pt idx="1772">2.3839956704452749</cx:pt>
          <cx:pt idx="1773">2.4103778822210051</cx:pt>
          <cx:pt idx="1774">2.4002466546252705</cx:pt>
          <cx:pt idx="1775">2.3457363361784025</cx:pt>
          <cx:pt idx="1776">2.310409533071208</cx:pt>
          <cx:pt idx="1777">2.2964749689854216</cx:pt>
          <cx:pt idx="1778">2.2792015620860653</cx:pt>
          <cx:pt idx="1779">2.2107387501063118</cx:pt>
          <cx:pt idx="1780">2.1940206488933716</cx:pt>
          <cx:pt idx="1781">2.1993078179129295</cx:pt>
          <cx:pt idx="1782">2.1247950632910539</cx:pt>
          <cx:pt idx="1783">2.1657980297636543</cx:pt>
          <cx:pt idx="1784">2.0932217458924329</cx:pt>
          <cx:pt idx="1785">2.1058311745909655</cx:pt>
          <cx:pt idx="1786">2.1042354841002902</cx:pt>
          <cx:pt idx="1787">2.0821331434138042</cx:pt>
          <cx:pt idx="1788">2.0784704754774279</cx:pt>
          <cx:pt idx="1789">2.0309497558533542</cx:pt>
          <cx:pt idx="1790">1.9167414005692625</cx:pt>
          <cx:pt idx="1791">1.8775783007592763</cx:pt>
          <cx:pt idx="1792">1.8930355377196277</cx:pt>
          <cx:pt idx="1793">1.8970681784272314</cx:pt>
          <cx:pt idx="1794">1.9367920111322912</cx:pt>
          <cx:pt idx="1795">1.8768326024075412</cx:pt>
          <cx:pt idx="1796">1.910203785698612</cx:pt>
          <cx:pt idx="1797">1.9169412163298729</cx:pt>
          <cx:pt idx="1798">1.8308519871265068</cx:pt>
          <cx:pt idx="1799">1.7748060046486709</cx:pt>
          <cx:pt idx="1800">1.7662791389727186</cx:pt>
          <cx:pt idx="1801">1.7531471247118253</cx:pt>
          <cx:pt idx="1802">1.7058468734382004</cx:pt>
          <cx:pt idx="1803">1.7118992467616132</cx:pt>
          <cx:pt idx="1804">1.8272933658644077</cx:pt>
          <cx:pt idx="1805">1.886700968188832</cx:pt>
          <cx:pt idx="1806">1.8834775797161569</cx:pt>
          <cx:pt idx="1807">1.8358867336504112</cx:pt>
          <cx:pt idx="1808">1.9683913364243735</cx:pt>
          <cx:pt idx="1809">1.9684399815240849</cx:pt>
          <cx:pt idx="1810">1.9945045617523545</cx:pt>
          <cx:pt idx="1811">2.065821876323898</cx:pt>
          <cx:pt idx="1812">2.0732570955687128</cx:pt>
          <cx:pt idx="1813">2.0686421456546698</cx:pt>
          <cx:pt idx="1814">2.0609529181302269</cx:pt>
          <cx:pt idx="1815">2.0985866042951806</cx:pt>
          <cx:pt idx="1816">2.1002676393568986</cx:pt>
          <cx:pt idx="1817">2.1308719295192993</cx:pt>
          <cx:pt idx="1818">2.1284911085470983</cx:pt>
          <cx:pt idx="1819">2.2234348611848684</cx:pt>
          <cx:pt idx="1820">2.2832081009951528</cx:pt>
          <cx:pt idx="1821">2.2606547488740771</cx:pt>
          <cx:pt idx="1822">2.2381927088771567</cx:pt>
          <cx:pt idx="1823">2.26965853428637</cx:pt>
          <cx:pt idx="1824">2.2417123047318723</cx:pt>
          <cx:pt idx="1825">2.3089634567710453</cx:pt>
          <cx:pt idx="1826">2.2660487873141828</cx:pt>
          <cx:pt idx="1827">2.2723783222186942</cx:pt>
          <cx:pt idx="1828">2.267695244358932</cx:pt>
          <cx:pt idx="1829">2.3430095070057342</cx:pt>
          <cx:pt idx="1830">2.3593997881074733</cx:pt>
          <cx:pt idx="1831">2.3750315302412242</cx:pt>
          <cx:pt idx="1832">2.3761556561974926</cx:pt>
          <cx:pt idx="1833">2.4148431946199844</cx:pt>
          <cx:pt idx="1834">2.305267900503964</cx:pt>
          <cx:pt idx="1835">2.2987208208845642</cx:pt>
          <cx:pt idx="1836">2.2975141550958877</cx:pt>
          <cx:pt idx="1837">2.3168897171493747</cx:pt>
          <cx:pt idx="1838">2.2020570363668064</cx:pt>
          <cx:pt idx="1839">2.241244768744064</cx:pt>
          <cx:pt idx="1840">2.2785959756009184</cx:pt>
          <cx:pt idx="1841">2.2725328234476212</cx:pt>
          <cx:pt idx="1842">2.2652680098511158</cx:pt>
          <cx:pt idx="1843">2.2221948385001009</cx:pt>
          <cx:pt idx="1844">2.2257630351475521</cx:pt>
          <cx:pt idx="1845">2.1524284049365052</cx:pt>
          <cx:pt idx="1846">2.1687733508690852</cx:pt>
          <cx:pt idx="1847">2.2281107757367264</cx:pt>
          <cx:pt idx="1848">2.2829442241913185</cx:pt>
          <cx:pt idx="1849">2.2092855674908307</cx:pt>
          <cx:pt idx="1850">2.089145501304261</cx:pt>
          <cx:pt idx="1851">2.1670370963055774</cx:pt>
          <cx:pt idx="1852">2.1190551206494646</cx:pt>
          <cx:pt idx="1853">2.0337103927138958</cx:pt>
          <cx:pt idx="1854">2.0398184047009993</cx:pt>
          <cx:pt idx="1855">1.9961029763614409</cx:pt>
          <cx:pt idx="1856">2.0077146735321554</cx:pt>
          <cx:pt idx="1857">2.0479458646782622</cx:pt>
          <cx:pt idx="1858">2.1441839568668866</cx:pt>
          <cx:pt idx="1859">2.1020785671021787</cx:pt>
          <cx:pt idx="1860">2.0629750964793128</cx:pt>
          <cx:pt idx="1861">2.0296052388746251</cx:pt>
          <cx:pt idx="1862">2.0204183339432764</cx:pt>
          <cx:pt idx="1863">2.0321777398855079</cx:pt>
          <cx:pt idx="1864">2.1301946548608179</cx:pt>
          <cx:pt idx="1865">2.0843328503808989</cx:pt>
          <cx:pt idx="1866">2.0600923817294232</cx:pt>
          <cx:pt idx="1867">2.0292719663942553</cx:pt>
          <cx:pt idx="1868">2.0827340982981757</cx:pt>
          <cx:pt idx="1869">2.085466452362382</cx:pt>
          <cx:pt idx="1870">2.0818922383509686</cx:pt>
          <cx:pt idx="1871">2.001177671701142</cx:pt>
          <cx:pt idx="1872">2.0051227260159115</cx:pt>
          <cx:pt idx="1873">1.9747663404472779</cx:pt>
          <cx:pt idx="1874">2.0387968743783231</cx:pt>
          <cx:pt idx="1875">2.0336094974470309</cx:pt>
          <cx:pt idx="1876">2.0612257658107827</cx:pt>
          <cx:pt idx="1877">2.0362893701937477</cx:pt>
          <cx:pt idx="1878">2.0067820792676034</cx:pt>
          <cx:pt idx="1879">1.9026483320377661</cx:pt>
          <cx:pt idx="1880">1.898377662781094</cx:pt>
          <cx:pt idx="1881">1.9144452952353441</cx:pt>
          <cx:pt idx="1882">1.962755810926496</cx:pt>
          <cx:pt idx="1883">1.9813972883324202</cx:pt>
          <cx:pt idx="1884">1.964678020088285</cx:pt>
          <cx:pt idx="1885">1.9980060355695406</cx:pt>
          <cx:pt idx="1886">1.9583053918118849</cx:pt>
          <cx:pt idx="1887">1.9636054991962677</cx:pt>
          <cx:pt idx="1888">1.9312851314482709</cx:pt>
          <cx:pt idx="1889">1.9863052556047489</cx:pt>
          <cx:pt idx="1890">1.9996203686437035</cx:pt>
          <cx:pt idx="1891">1.932331937339818</cx:pt>
          <cx:pt idx="1892">1.9475700175132973</cx:pt>
          <cx:pt idx="1893">1.9531983888083422</cx:pt>
          <cx:pt idx="1894">1.9101130766062635</cx:pt>
          <cx:pt idx="1895">1.92910827202178</cx:pt>
          <cx:pt idx="1896">2.1139191842332474</cx:pt>
          <cx:pt idx="1897">2.1139924307669995</cx:pt>
          <cx:pt idx="1898">1.9737431955441589</cx:pt>
          <cx:pt idx="1899">1.9978109992761375</cx:pt>
          <cx:pt idx="1900">2.1153412411578354</cx:pt>
          <cx:pt idx="1901">2.1527814425955838</cx:pt>
          <cx:pt idx="1902">2.196760484399543</cx:pt>
          <cx:pt idx="1903">2.2094320122289148</cx:pt>
          <cx:pt idx="1904">2.1898125917194031</cx:pt>
          <cx:pt idx="1905">2.1899364811755477</cx:pt>
          <cx:pt idx="1906">2.2563313282806887</cx:pt>
          <cx:pt idx="1907">2.2527421412436266</cx:pt>
          <cx:pt idx="1908">2.2458012922954915</cx:pt>
          <cx:pt idx="1909">2.3502458897691398</cx:pt>
          <cx:pt idx="1910">2.3476077372432287</cx:pt>
          <cx:pt idx="1911">2.3095903655198944</cx:pt>
          <cx:pt idx="1912">2.2478306990773635</cx:pt>
          <cx:pt idx="1913">2.1936180393571987</cx:pt>
          <cx:pt idx="1914">2.0874944631893739</cx:pt>
          <cx:pt idx="1915">1.9673791683985318</cx:pt>
          <cx:pt idx="1916">1.8974182636560719</cx:pt>
          <cx:pt idx="1917">1.6164243212123766</cx:pt>
          <cx:pt idx="1918">1.6205224169881882</cx:pt>
          <cx:pt idx="1919">1.6798091872802479</cx:pt>
          <cx:pt idx="1920">1.6844856137806874</cx:pt>
          <cx:pt idx="1921">1.6189877414962213</cx:pt>
          <cx:pt idx="1922">1.6457988751649031</cx:pt>
          <cx:pt idx="1923">1.6616808487459911</cx:pt>
          <cx:pt idx="1924">1.6763974319824202</cx:pt>
          <cx:pt idx="1925">1.7698783205343478</cx:pt>
          <cx:pt idx="1926">1.7285884006434775</cx:pt>
          <cx:pt idx="1927">1.6917684134586177</cx:pt>
          <cx:pt idx="1928">1.6600130129585711</cx:pt>
          <cx:pt idx="1929">1.6674270897549084</cx:pt>
          <cx:pt idx="1930">1.6545126134970285</cx:pt>
          <cx:pt idx="1931">1.7434685889407815</cx:pt>
          <cx:pt idx="1932">1.8354545273403187</cx:pt>
          <cx:pt idx="1933">1.9772472283634295</cx:pt>
          <cx:pt idx="1934">1.9750552309224827</cx:pt>
          <cx:pt idx="1935">2.2693621900638226</cx:pt>
          <cx:pt idx="1936">2.2141907840893382</cx:pt>
          <cx:pt idx="1937">2.2723873518003086</cx:pt>
          <cx:pt idx="1938">2.4093154604442697</cx:pt>
          <cx:pt idx="1939">2.5009211564079763</cx:pt>
          <cx:pt idx="1940">2.556129355720596</cx:pt>
          <cx:pt idx="1941">2.5346655963993432</cx:pt>
          <cx:pt idx="1942">2.4638389024774074</cx:pt>
          <cx:pt idx="1943">2.4098370327795831</cx:pt>
          <cx:pt idx="1944">2.570042833726538</cx:pt>
          <cx:pt idx="1945">2.5611227737574302</cx:pt>
          <cx:pt idx="1946">2.5595585523486486</cx:pt>
          <cx:pt idx="1947">2.4573880362821301</cx:pt>
          <cx:pt idx="1948">2.56901915312798</cx:pt>
          <cx:pt idx="1949">2.5560315404313156</cx:pt>
          <cx:pt idx="1950">2.6395077277651757</cx:pt>
          <cx:pt idx="1951">2.6139315902499618</cx:pt>
          <cx:pt idx="1952">2.4870053844481621</cx:pt>
          <cx:pt idx="1953">2.4907554735292909</cx:pt>
          <cx:pt idx="1954">2.4080644093705255</cx:pt>
          <cx:pt idx="1955">2.4488171091691955</cx:pt>
          <cx:pt idx="1956">2.4720379056273694</cx:pt>
          <cx:pt idx="1957">2.3596130858035909</cx:pt>
          <cx:pt idx="1958">2.3111744851292491</cx:pt>
          <cx:pt idx="1959">2.190349482159065</cx:pt>
          <cx:pt idx="1960">2.1725827699922009</cx:pt>
          <cx:pt idx="1961">2.2243487086636042</cx:pt>
          <cx:pt idx="1962">2.2649509596931141</cx:pt>
          <cx:pt idx="1963">2.3000662882142189</cx:pt>
          <cx:pt idx="1964">2.2525865356304213</cx:pt>
          <cx:pt idx="1965">2.1697686251689037</cx:pt>
          <cx:pt idx="1966">2.1960543043051111</cx:pt>
          <cx:pt idx="1967">2.2582694999105546</cx:pt>
          <cx:pt idx="1968">2.2882803248848362</cx:pt>
          <cx:pt idx="1969">2.3222218570944104</cx:pt>
          <cx:pt idx="1970">2.3147327385257008</cx:pt>
          <cx:pt idx="1971">2.3156544503423486</cx:pt>
          <cx:pt idx="1972">2.369867279488461</cx:pt>
          <cx:pt idx="1973">2.31500456349477</cx:pt>
          <cx:pt idx="1974">2.3117892066521017</cx:pt>
          <cx:pt idx="1975">2.3033448611007641</cx:pt>
          <cx:pt idx="1976">2.3208322586834558</cx:pt>
          <cx:pt idx="1977">2.3264810565708598</cx:pt>
          <cx:pt idx="1978">2.28444926928786</cx:pt>
          <cx:pt idx="1979">2.23500829706833</cx:pt>
          <cx:pt idx="1980">2.1970191469230338</cx:pt>
          <cx:pt idx="1981">2.0969150940275916</cx:pt>
          <cx:pt idx="1982">2.0924360423299837</cx:pt>
          <cx:pt idx="1983">2.0525281151160577</cx:pt>
          <cx:pt idx="1984">2.0102996879036978</cx:pt>
          <cx:pt idx="1985">2.0755471294979917</cx:pt>
          <cx:pt idx="1986">2.0382693724745344</cx:pt>
          <cx:pt idx="1987">2.0537801998139673</cx:pt>
          <cx:pt idx="1988">1.9354987005706576</cx:pt>
          <cx:pt idx="1989">2.0061992836426366</cx:pt>
          <cx:pt idx="1990">2.0336832075374316</cx:pt>
          <cx:pt idx="1991">1.960902253059291</cx:pt>
          <cx:pt idx="1992">1.982237164879227</cx:pt>
          <cx:pt idx="1993">2.0003314059993396</cx:pt>
          <cx:pt idx="1994">2.0805736105397279</cx:pt>
          <cx:pt idx="1995">2.0774446309221699</cx:pt>
          <cx:pt idx="1996">2.0067847301038682</cx:pt>
          <cx:pt idx="1997">2.0016233556181953</cx:pt>
          <cx:pt idx="1998">1.980933530851682</cx:pt>
          <cx:pt idx="1999">1.895938172040192</cx:pt>
          <cx:pt idx="2000">1.8963611016753064</cx:pt>
          <cx:pt idx="2001">1.9024425211578626</cx:pt>
          <cx:pt idx="2002">1.9006961771973778</cx:pt>
          <cx:pt idx="2003">1.8996331384259588</cx:pt>
          <cx:pt idx="2004">1.9726816707864117</cx:pt>
          <cx:pt idx="2005">1.9978314452221857</cx:pt>
          <cx:pt idx="2006">1.9769797042031547</cx:pt>
          <cx:pt idx="2007">1.9626787594982664</cx:pt>
          <cx:pt idx="2008">2.0028084205180465</cx:pt>
          <cx:pt idx="2009">2.0179290417541584</cx:pt>
          <cx:pt idx="2010">1.9956674836340238</cx:pt>
          <cx:pt idx="2011">1.9957878128737498</cx:pt>
          <cx:pt idx="2012">2.0519096101806853</cx:pt>
          <cx:pt idx="2013">2.0491222197268653</cx:pt>
          <cx:pt idx="2014">2.055516087381692</cx:pt>
          <cx:pt idx="2015">1.9512408213369543</cx:pt>
          <cx:pt idx="2016">1.8735332187508926</cx:pt>
          <cx:pt idx="2017">1.9618704083584488</cx:pt>
          <cx:pt idx="2018">1.9951213413985989</cx:pt>
          <cx:pt idx="2019">1.8706454833976158</cx:pt>
          <cx:pt idx="2020">1.811381640702991</cx:pt>
          <cx:pt idx="2021">1.8427461839934944</cx:pt>
          <cx:pt idx="2022">1.8805863236448774</cx:pt>
          <cx:pt idx="2023">1.876782797665056</cx:pt>
          <cx:pt idx="2024">1.8776572254320927</cx:pt>
          <cx:pt idx="2025">1.9425216419974773</cx:pt>
          <cx:pt idx="2026">1.9474667081293966</cx:pt>
          <cx:pt idx="2027">1.8841556112078777</cx:pt>
          <cx:pt idx="2028">1.8675915416972662</cx:pt>
          <cx:pt idx="2029">1.9066238724645146</cx:pt>
          <cx:pt idx="2030">1.9136210370771478</cx:pt>
          <cx:pt idx="2031">1.9977184668667056</cx:pt>
          <cx:pt idx="2032">1.9974654786899295</cx:pt>
          <cx:pt idx="2033">1.973852059811724</cx:pt>
          <cx:pt idx="2034">1.8582404234286716</cx:pt>
          <cx:pt idx="2035">1.8685605613126017</cx:pt>
          <cx:pt idx="2036">1.8654940406173879</cx:pt>
          <cx:pt idx="2037">1.9519802855671233</cx:pt>
          <cx:pt idx="2038">2.0347535245272672</cx:pt>
          <cx:pt idx="2039">2.0663650545837675</cx:pt>
          <cx:pt idx="2040">2.081409157958765</cx:pt>
          <cx:pt idx="2041">2.1134790224692082</cx:pt>
          <cx:pt idx="2042">2.0405726951275058</cx:pt>
          <cx:pt idx="2043">2.0598551708272805</cx:pt>
          <cx:pt idx="2044">2.0690253656522324</cx:pt>
          <cx:pt idx="2045">2.1038059392532014</cx:pt>
          <cx:pt idx="2046">2.1688784700397217</cx:pt>
          <cx:pt idx="2047">2.1314264299734309</cx:pt>
          <cx:pt idx="2048">2.1385198660828126</cx:pt>
          <cx:pt idx="2049">2.226187994230481</cx:pt>
          <cx:pt idx="2050">2.2489849520026954</cx:pt>
          <cx:pt idx="2051">2.2382652838646577</cx:pt>
          <cx:pt idx="2052">2.2768176357790431</cx:pt>
          <cx:pt idx="2053">2.3024914950200133</cx:pt>
          <cx:pt idx="2054">2.3019422992349989</cx:pt>
          <cx:pt idx="2055">2.3360831955422148</cx:pt>
          <cx:pt idx="2056">2.3541644471306857</cx:pt>
          <cx:pt idx="2057">2.3383391052336435</cx:pt>
          <cx:pt idx="2058">2.3632473757564316</cx:pt>
          <cx:pt idx="2059">2.2417969695118658</cx:pt>
          <cx:pt idx="2060">2.275987296168148</cx:pt>
          <cx:pt idx="2061">2.2308479185371834</cx:pt>
          <cx:pt idx="2062">2.2562978998319734</cx:pt>
          <cx:pt idx="2063">2.2929221057493656</cx:pt>
          <cx:pt idx="2064">2.295493000702125</cx:pt>
          <cx:pt idx="2065">2.3385672412209555</cx:pt>
          <cx:pt idx="2066">2.3134825235799497</cx:pt>
          <cx:pt idx="2067">2.1943236181909938</cx:pt>
          <cx:pt idx="2068">2.1498074079617151</cx:pt>
          <cx:pt idx="2069">2.1646539233259663</cx:pt>
          <cx:pt idx="2070">2.2207412816513319</cx:pt>
          <cx:pt idx="2071">2.1791178866551366</cx:pt>
          <cx:pt idx="2072">2.3096874306620427</cx:pt>
          <cx:pt idx="2073">2.3137703430422789</cx:pt>
          <cx:pt idx="2074">2.2965323002432627</cx:pt>
          <cx:pt idx="2075">2.1899403851411399</cx:pt>
          <cx:pt idx="2076">2.0807252792837145</cx:pt>
          <cx:pt idx="2077">2.0631748387189628</cx:pt>
          <cx:pt idx="2078">1.9875172339858849</cx:pt>
          <cx:pt idx="2079">1.9934914520682014</cx:pt>
          <cx:pt idx="2080">2.0103858765572293</cx:pt>
          <cx:pt idx="2081">2.0188416178848509</cx:pt>
          <cx:pt idx="2082">1.998853665969931</cx:pt>
          <cx:pt idx="2083">2.06479112780056</cx:pt>
          <cx:pt idx="2084">2.1407245559376427</cx:pt>
          <cx:pt idx="2085">2.0944782585296986</cx:pt>
          <cx:pt idx="2086">2.1665628286200542</cx:pt>
          <cx:pt idx="2087">2.1736602098957372</cx:pt>
          <cx:pt idx="2088">2.1462811223200382</cx:pt>
          <cx:pt idx="2089">2.1636468129319266</cx:pt>
          <cx:pt idx="2090">2.1598079104254522</cx:pt>
          <cx:pt idx="2091">2.2259443290814476</cx:pt>
          <cx:pt idx="2092">2.1754163306471357</cx:pt>
          <cx:pt idx="2093">2.1569150891086086</cx:pt>
          <cx:pt idx="2094">2.1541213996580395</cx:pt>
          <cx:pt idx="2095">2.0938726896149591</cx:pt>
          <cx:pt idx="2096">2.0810287662002245</cx:pt>
          <cx:pt idx="2097">2.1083499581259075</cx:pt>
          <cx:pt idx="2098">2.1104395212672551</cx:pt>
          <cx:pt idx="2099">2.2201465338371111</cx:pt>
          <cx:pt idx="2100">2.1631370216619801</cx:pt>
          <cx:pt idx="2101">2.1463031635529632</cx:pt>
          <cx:pt idx="2102">2.0330755099745068</cx:pt>
          <cx:pt idx="2103">2.0596637774241362</cx:pt>
          <cx:pt idx="2104">2.0624545154473499</cx:pt>
          <cx:pt idx="2105">2.0147333260820428</cx:pt>
          <cx:pt idx="2106">2.0472263080052602</cx:pt>
          <cx:pt idx="2107">2.0568328598863168</cx:pt>
          <cx:pt idx="2108">2.0656960614973836</cx:pt>
          <cx:pt idx="2109">1.9749568224294736</cx:pt>
          <cx:pt idx="2110">1.9590608094820365</cx:pt>
          <cx:pt idx="2111">1.8526435224507225</cx:pt>
          <cx:pt idx="2112">1.8635452739163032</cx:pt>
          <cx:pt idx="2113">1.8252307455845556</cx:pt>
          <cx:pt idx="2114">1.843273466496576</cx:pt>
          <cx:pt idx="2115">1.8955373989895292</cx:pt>
          <cx:pt idx="2116">1.9449636584172685</cx:pt>
          <cx:pt idx="2117">1.9547630313152902</cx:pt>
          <cx:pt idx="2118">1.9894961180755677</cx:pt>
          <cx:pt idx="2119">1.9904206803232576</cx:pt>
          <cx:pt idx="2120">1.9515803126513687</cx:pt>
          <cx:pt idx="2121">1.8486579565036887</cx:pt>
          <cx:pt idx="2122">1.821199272501129</cx:pt>
          <cx:pt idx="2123">1.8102707725040657</cx:pt>
          <cx:pt idx="2124">1.8828867883989295</cx:pt>
          <cx:pt idx="2125">1.8975704544796408</cx:pt>
          <cx:pt idx="2126">1.9050513065712322</cx:pt>
          <cx:pt idx="2127">1.9290616881958971</cx:pt>
          <cx:pt idx="2128">1.9221240942074527</cx:pt>
          <cx:pt idx="2129">1.8252369909535708</cx:pt>
          <cx:pt idx="2130">1.8684788120688915</cx:pt>
          <cx:pt idx="2131">1.8683898396109606</cx:pt>
          <cx:pt idx="2132">1.8842246814877808</cx:pt>
          <cx:pt idx="2133">1.8799715824834131</cx:pt>
          <cx:pt idx="2134">1.8686866352245517</cx:pt>
          <cx:pt idx="2135">1.8686410869216532</cx:pt>
          <cx:pt idx="2136">1.8247505167997193</cx:pt>
          <cx:pt idx="2137">1.9097236350101712</cx:pt>
          <cx:pt idx="2138">1.8871384517438452</cx:pt>
          <cx:pt idx="2139">1.889449239541017</cx:pt>
          <cx:pt idx="2140">1.9152028351786938</cx:pt>
          <cx:pt idx="2141">1.9859838497403888</cx:pt>
          <cx:pt idx="2142">1.976608339116728</cx:pt>
          <cx:pt idx="2143">2.0113665792916611</cx:pt>
          <cx:pt idx="2144">2.0104354900603298</cx:pt>
          <cx:pt idx="2145">1.9720618228622648</cx:pt>
          <cx:pt idx="2146">1.8584808778068556</cx:pt>
          <cx:pt idx="2147">1.9091879360326514</cx:pt>
          <cx:pt idx="2148">1.9437114624022271</cx:pt>
          <cx:pt idx="2149">1.9357151302427589</cx:pt>
          <cx:pt idx="2150">2.0307600352796831</cx:pt>
          <cx:pt idx="2151">2.0286468392699835</cx:pt>
          <cx:pt idx="2152">2.0286468392699835</cx:pt>
          <cx:pt idx="2153">2.0671725234857092</cx:pt>
          <cx:pt idx="2154">2.0747857750040621</cx:pt>
          <cx:pt idx="2155">2.0964040285354568</cx:pt>
          <cx:pt idx="2156">2.1624835579065134</cx:pt>
          <cx:pt idx="2157">2.0932308221997693</cx:pt>
          <cx:pt idx="2158">2.092287855805063</cx:pt>
          <cx:pt idx="2159">2.0567050171793468</cx:pt>
          <cx:pt idx="2160">2.0467774660744831</cx:pt>
          <cx:pt idx="2161">2.0535034022483378</cx:pt>
          <cx:pt idx="2162">2.066770758891987</cx:pt>
          <cx:pt idx="2163">2.1035631809922726</cx:pt>
          <cx:pt idx="2164">2.1735249035419599</cx:pt>
          <cx:pt idx="2165">2.175810345642994</cx:pt>
          <cx:pt idx="2166">2.1933430376962768</cx:pt>
          <cx:pt idx="2167">2.1587415105289689</cx:pt>
          <cx:pt idx="2168">2.1955624217651808</cx:pt>
          <cx:pt idx="2169">2.1816562113338138</cx:pt>
          <cx:pt idx="2170">2.1441754506701143</cx:pt>
          <cx:pt idx="2171">2.1366627327923808</cx:pt>
          <cx:pt idx="2172">2.0820083142700589</cx:pt>
          <cx:pt idx="2173">2.0740885372105229</cx:pt>
          <cx:pt idx="2174">2.044074537377139</cx:pt>
          <cx:pt idx="2175">2.065273679661082</cx:pt>
          <cx:pt idx="2176">2.1300597092490809</cx:pt>
          <cx:pt idx="2177">2.1396401207002094</cx:pt>
          <cx:pt idx="2178">2.1143957355456853</cx:pt>
          <cx:pt idx="2179">2.0921486489759724</cx:pt>
          <cx:pt idx="2180">2.0293730773121412</cx:pt>
          <cx:pt idx="2181">2.0340658218098833</cx:pt>
          <cx:pt idx="2182">2.1243783505017548</cx:pt>
          <cx:pt idx="2183">2.1890472367431215</cx:pt>
          <cx:pt idx="2184">2.1778092741421951</cx:pt>
          <cx:pt idx="2185">2.1806994693764143</cx:pt>
          <cx:pt idx="2186">2.1766631018495186</cx:pt>
          <cx:pt idx="2187">2.1764466270058604</cx:pt>
          <cx:pt idx="2188">2.1767317931972081</cx:pt>
          <cx:pt idx="2189">2.21620207317476</cx:pt>
          <cx:pt idx="2190">2.2678643899982318</cx:pt>
          <cx:pt idx="2191">2.3094030511672421</cx:pt>
          <cx:pt idx="2192">2.2865377677675416</cx:pt>
          <cx:pt idx="2193">2.2790995307020685</cx:pt>
          <cx:pt idx="2194">2.2497488328616329</cx:pt>
          <cx:pt idx="2195">2.3007485534377921</cx:pt>
          <cx:pt idx="2196">2.3094820261327231</cx:pt>
          <cx:pt idx="2197">2.2668824320777063</cx:pt>
          <cx:pt idx="2198">2.2197811867718809</cx:pt>
          <cx:pt idx="2199">2.2198517961274358</cx:pt>
          <cx:pt idx="2200">2.2213020861890258</cx:pt>
          <cx:pt idx="2201">2.1997504111554016</cx:pt>
          <cx:pt idx="2202">2.2372067291364286</cx:pt>
          <cx:pt idx="2203">2.2638614954372565</cx:pt>
          <cx:pt idx="2204">2.2763228402472366</cx:pt>
          <cx:pt idx="2205">2.3741098235265934</cx:pt>
          <cx:pt idx="2206">2.3419097089404364</cx:pt>
          <cx:pt idx="2207">2.3165820283557568</cx:pt>
          <cx:pt idx="2208">2.2590040014484005</cx:pt>
          <cx:pt idx="2209">2.2653485234604327</cx:pt>
          <cx:pt idx="2210">2.2757639065622985</cx:pt>
          <cx:pt idx="2211">2.3272498692712351</cx:pt>
          <cx:pt idx="2212">2.2995779821897191</cx:pt>
          <cx:pt idx="2213">2.2141876951232686</cx:pt>
          <cx:pt idx="2214">2.20140986112321</cx:pt>
          <cx:pt idx="2215">2.1846425467113142</cx:pt>
          <cx:pt idx="2216">2.1883192070258222</cx:pt>
          <cx:pt idx="2217">2.1868372260622251</cx:pt>
          <cx:pt idx="2218">2.3008823234000246</cx:pt>
          <cx:pt idx="2219">2.2882638025739155</cx:pt>
          <cx:pt idx="2220">2.1622842029337104</cx:pt>
          <cx:pt idx="2221">2.1640535059714932</cx:pt>
          <cx:pt idx="2222">2.1650069857644452</cx:pt>
          <cx:pt idx="2223">2.1324032300834146</cx:pt>
          <cx:pt idx="2224">2.8180649181943269</cx:pt>
          <cx:pt idx="2225">2.8540879106717929</cx:pt>
          <cx:pt idx="2226">3.0229585395616039</cx:pt>
          <cx:pt idx="2227">3.2350263166329096</cx:pt>
          <cx:pt idx="2228">3.2589738294166533</cx:pt>
          <cx:pt idx="2229">3.2540803973549712</cx:pt>
          <cx:pt idx="2230">3.3906781614603809</cx:pt>
          <cx:pt idx="2231">3.528179708662289</cx:pt>
          <cx:pt idx="2232">3.5004346376168205</cx:pt>
          <cx:pt idx="2233">3.6415503240008165</cx:pt>
          <cx:pt idx="2234">4.10181229017563</cx:pt>
          <cx:pt idx="2235">4.3676237877201798</cx:pt>
          <cx:pt idx="2236">4.515962842536938</cx:pt>
          <cx:pt idx="2237">4.5134534547244725</cx:pt>
          <cx:pt idx="2238">4.589033313265575</cx:pt>
          <cx:pt idx="2239">4.5813378196053023</cx:pt>
          <cx:pt idx="2240">4.7822883781367089</cx:pt>
          <cx:pt idx="2241">5.0559630932610622</cx:pt>
          <cx:pt idx="2242">5.0116989002551469</cx:pt>
          <cx:pt idx="2243">5.158400991436082</cx:pt>
          <cx:pt idx="2244">5.4081228992540389</cx:pt>
          <cx:pt idx="2245">5.4711194033223984</cx:pt>
          <cx:pt idx="2246">5.5852428066361988</cx:pt>
          <cx:pt idx="2247">5.9256891230933686</cx:pt>
          <cx:pt idx="2248">6.2345804470254622</cx:pt>
          <cx:pt idx="2249">6.2559681317984417</cx:pt>
          <cx:pt idx="2250">6.4345592521220905</cx:pt>
          <cx:pt idx="2251">6.4355399174185939</cx:pt>
          <cx:pt idx="2252">6.5177650999385222</cx:pt>
          <cx:pt idx="2253">39.145379968391708</cx:pt>
          <cx:pt idx="2254">39.14246257168228</cx:pt>
          <cx:pt idx="2255">38.988232976499567</cx:pt>
          <cx:pt idx="2256">38.737139382149927</cx:pt>
          <cx:pt idx="2257">38.25119479566991</cx:pt>
          <cx:pt idx="2258">37.584304699204125</cx:pt>
          <cx:pt idx="2259">36.766108299400315</cx:pt>
          <cx:pt idx="2260">35.689118693552054</cx:pt>
          <cx:pt idx="2261">34.423860144388641</cx:pt>
          <cx:pt idx="2262">32.937789088420111</cx:pt>
          <cx:pt idx="2263">31.183718096823657</cx:pt>
          <cx:pt idx="2264">29.017499749737865</cx:pt>
          <cx:pt idx="2265">26.447222806683826</cx:pt>
          <cx:pt idx="2266">23.326793820944431</cx:pt>
          <cx:pt idx="2267">19.418407592643312</cx:pt>
          <cx:pt idx="2268">14.055336214728294</cx:pt>
          <cx:pt idx="2269">2.0259683917536599</cx:pt>
          <cx:pt idx="2270">2.0097345503467392</cx:pt>
          <cx:pt idx="2271">2.0194761775118684</cx:pt>
          <cx:pt idx="2272">2.0481103390351172</cx:pt>
          <cx:pt idx="2273">2.069453224554215</cx:pt>
          <cx:pt idx="2274">2.0649891303086703</cx:pt>
          <cx:pt idx="2275">2.0588857530991413</cx:pt>
          <cx:pt idx="2276">2.0134485619498066</cx:pt>
          <cx:pt idx="2277">2.0117561766801071</cx:pt>
          <cx:pt idx="2278">2.0789567061475585</cx:pt>
          <cx:pt idx="2279">2.1251863948560281</cx:pt>
          <cx:pt idx="2280">2.1593447246730668</cx:pt>
          <cx:pt idx="2281">2.1338420833481608</cx:pt>
          <cx:pt idx="2282">2.0628413716415293</cx:pt>
          <cx:pt idx="2283">1.9674740933415074</cx:pt>
          <cx:pt idx="2284">1.9461120579531812</cx:pt>
          <cx:pt idx="2285">2.0360707544268686</cx:pt>
          <cx:pt idx="2286">2.0611143266453253</cx:pt>
          <cx:pt idx="2287">2.1356317472840676</cx:pt>
          <cx:pt idx="2288">2.2111027557757743</cx:pt>
          <cx:pt idx="2289">2.2903454216908434</cx:pt>
          <cx:pt idx="2290">2.2516185031922142</cx:pt>
          <cx:pt idx="2291">2.3202673430802498</cx:pt>
          <cx:pt idx="2292">2.3389889254766514</cx:pt>
          <cx:pt idx="2293">2.3742970741613685</cx:pt>
          <cx:pt idx="2294">2.3246782167920022</cx:pt>
          <cx:pt idx="2295">2.3192583399977038</cx:pt>
          <cx:pt idx="2296">2.2283819130510873</cx:pt>
          <cx:pt idx="2297">2.3026691406851865</cx:pt>
          <cx:pt idx="2298">2.2911429447244114</cx:pt>
          <cx:pt idx="2299">2.285197637331243</cx:pt>
          <cx:pt idx="2300">2.3035226883861086</cx:pt>
          <cx:pt idx="2301">2.3099360797855373</cx:pt>
          <cx:pt idx="2302">2.3006606078363432</cx:pt>
          <cx:pt idx="2303">2.2830660556825877</cx:pt>
          <cx:pt idx="2304">2.2808774241246388</cx:pt>
          <cx:pt idx="2305">2.2561564339113258</cx:pt>
          <cx:pt idx="2306">2.2326642355438797</cx:pt>
          <cx:pt idx="2307">2.3087941951392494</cx:pt>
          <cx:pt idx="2308">2.2363085006498644</cx:pt>
          <cx:pt idx="2309">2.1697856995452738</cx:pt>
          <cx:pt idx="2310">2.1522231751845045</cx:pt>
          <cx:pt idx="2311">2.1887753932388914</cx:pt>
          <cx:pt idx="2312">2.1787529844622409</cx:pt>
          <cx:pt idx="2313">2.1822922682421884</cx:pt>
          <cx:pt idx="2314">2.2267511811261098</cx:pt>
          <cx:pt idx="2315">2.1485560176447662</cx:pt>
          <cx:pt idx="2316">2.1602166454230729</cx:pt>
          <cx:pt idx="2317">2.0664729008225002</cx:pt>
          <cx:pt idx="2318">2.1055991164994912</cx:pt>
          <cx:pt idx="2319">2.1117804348276077</cx:pt>
          <cx:pt idx="2320">2.1530408001232453</cx:pt>
          <cx:pt idx="2321">2.1307671644348929</cx:pt>
          <cx:pt idx="2322">2.1350349143947116</cx:pt>
          <cx:pt idx="2323">2.0939264040777394</cx:pt>
          <cx:pt idx="2324">2.1344136145798744</cx:pt>
          <cx:pt idx="2325">2.1727488270770605</cx:pt>
          <cx:pt idx="2326">2.1816872130667098</cx:pt>
          <cx:pt idx="2327">2.17202443129481</cx:pt>
          <cx:pt idx="2328">2.2470828222878967</cx:pt>
          <cx:pt idx="2329">2.2775133722186052</cx:pt>
          <cx:pt idx="2330">2.2432267196390305</cx:pt>
          <cx:pt idx="2331">2.2321135205226574</cx:pt>
          <cx:pt idx="2332">2.2271395264373175</cx:pt>
          <cx:pt idx="2333">2.1969714120989243</cx:pt>
          <cx:pt idx="2334">2.1734451842275733</cx:pt>
          <cx:pt idx="2335">2.2338310880443846</cx:pt>
          <cx:pt idx="2336">2.2308939065550724</cx:pt>
          <cx:pt idx="2337">2.1167059765417533</cx:pt>
          <cx:pt idx="2338">2.1523633514302882</cx:pt>
          <cx:pt idx="2339">2.1373884467009772</cx:pt>
          <cx:pt idx="2340">2.1537716690480093</cx:pt>
          <cx:pt idx="2341">2.1282982997015694</cx:pt>
          <cx:pt idx="2342">2.1251519763042945</cx:pt>
          <cx:pt idx="2343">2.1204909357699311</cx:pt>
          <cx:pt idx="2344">2.0777332351866593</cx:pt>
          <cx:pt idx="2345">2.1877280635364169</cx:pt>
          <cx:pt idx="2346">2.1599105632209237</cx:pt>
          <cx:pt idx="2347">2.1408661062757921</cx:pt>
          <cx:pt idx="2348">2.0787919305613802</cx:pt>
          <cx:pt idx="2349">2.0976771114253623</cx:pt>
          <cx:pt idx="2350">2.0588363843511845</cx:pt>
          <cx:pt idx="2351">2.0781227325122207</cx:pt>
          <cx:pt idx="2352">2.0283433827887465</cx:pt>
          <cx:pt idx="2353">2.0053527685716004</cx:pt>
          <cx:pt idx="2354">1.9649765154764789</cx:pt>
          <cx:pt idx="2355">1.8938844046353571</cx:pt>
          <cx:pt idx="2356">1.91704825192012</cx:pt>
          <cx:pt idx="2357">1.8441943800914116</cx:pt>
          <cx:pt idx="2358">1.7744244481414408</cx:pt>
          <cx:pt idx="2359">1.7093358947561843</cx:pt>
          <cx:pt idx="2360">1.7504482727304138</cx:pt>
          <cx:pt idx="2361">1.7704218323396297</cx:pt>
          <cx:pt idx="2362">1.6884168327634392</cx:pt>
          <cx:pt idx="2363">1.6943988213585428</cx:pt>
          <cx:pt idx="2364">1.6962376014491489</cx:pt>
          <cx:pt idx="2365">1.6270352943774158</cx:pt>
          <cx:pt idx="2366">1.6477496593441943</cx:pt>
          <cx:pt idx="2367">1.5657744610166304</cx:pt>
          <cx:pt idx="2368">1.5536656905492674</cx:pt>
          <cx:pt idx="2369">1.5761074685887018</cx:pt>
          <cx:pt idx="2370">1.5601556603206332</cx:pt>
          <cx:pt idx="2371">1.5479340856458721</cx:pt>
          <cx:pt idx="2372">1.5657158190862328</cx:pt>
          <cx:pt idx="2373">1.5691458581141864</cx:pt>
          <cx:pt idx="2374">1.5963987868546208</cx:pt>
          <cx:pt idx="2375">1.5179745262778566</cx:pt>
          <cx:pt idx="2376">1.5428944928211921</cx:pt>
          <cx:pt idx="2377">1.5753483303572955</cx:pt>
          <cx:pt idx="2378">1.5690940026925095</cx:pt>
          <cx:pt idx="2379">1.4505740746851299</cx:pt>
          <cx:pt idx="2380">1.4851938815524623</cx:pt>
          <cx:pt idx="2381">1.3743727265463883</cx:pt>
          <cx:pt idx="2382">1.4113961353195745</cx:pt>
          <cx:pt idx="2383">1.4482920388682989</cx:pt>
          <cx:pt idx="2384">1.4928601750290116</cx:pt>
          <cx:pt idx="2385">1.4830683516066234</cx:pt>
          <cx:pt idx="2386">1.4129919467700967</cx:pt>
          <cx:pt idx="2387">1.447789003242937</cx:pt>
          <cx:pt idx="2388">1.388004493447049</cx:pt>
          <cx:pt idx="2389">1.4491731020445606</cx:pt>
          <cx:pt idx="2390">1.3845297449226237</cx:pt>
          <cx:pt idx="2391">1.239947272198648</cx:pt>
          <cx:pt idx="2392">1.3147604501666101</cx:pt>
          <cx:pt idx="2393">1.3891806593702467</cx:pt>
          <cx:pt idx="2394">1.4974621059500599</cx:pt>
          <cx:pt idx="2395">1.6321325771245687</cx:pt>
          <cx:pt idx="2396">1.4966298227839341</cx:pt>
          <cx:pt idx="2397">1.6961713490031158</cx:pt>
          <cx:pt idx="2398">2.0003580946638095</cx:pt>
          <cx:pt idx="2399">1.1699403106904707</cx:pt>
        </cx:lvl>
      </cx:numDim>
    </cx:data>
  </cx:chartData>
  <cx:chart>
    <cx:title pos="t" align="ctr" overlay="0">
      <cx:tx>
        <cx:rich>
          <a:bodyPr spcFirstLastPara="1" vertOverflow="ellipsis" horzOverflow="overflow" wrap="square" lIns="0" tIns="0" rIns="0" bIns="0" anchor="ctr" anchorCtr="1"/>
          <a:lstStyle/>
          <a:p>
            <a:pPr rtl="0">
              <a:defRPr sz="1200" b="1">
                <a:solidFill>
                  <a:schemeClr val="bg1"/>
                </a:solidFill>
                <a:latin typeface="Arial" panose="020B0604020202020204" pitchFamily="34" charset="0"/>
                <a:ea typeface="Arial" panose="020B0604020202020204" pitchFamily="34" charset="0"/>
                <a:cs typeface="Arial" panose="020B0604020202020204" pitchFamily="34" charset="0"/>
              </a:defRPr>
            </a:pPr>
            <a:r>
              <a:rPr lang="en-US" sz="1200" b="1" i="0" baseline="0">
                <a:solidFill>
                  <a:schemeClr val="bg1"/>
                </a:solidFill>
                <a:effectLst/>
                <a:latin typeface="Arial" panose="020B0604020202020204" pitchFamily="34" charset="0"/>
                <a:cs typeface="Arial" panose="020B0604020202020204" pitchFamily="34" charset="0"/>
              </a:rPr>
              <a:t>DRT Rolling STD (Pump Failure=0)</a:t>
            </a:r>
            <a:endParaRPr lang="en-US" sz="1200" b="1">
              <a:solidFill>
                <a:schemeClr val="bg1"/>
              </a:solidFill>
              <a:effectLst/>
              <a:latin typeface="Arial" panose="020B0604020202020204" pitchFamily="34" charset="0"/>
              <a:cs typeface="Arial" panose="020B0604020202020204" pitchFamily="34" charset="0"/>
            </a:endParaRPr>
          </a:p>
        </cx:rich>
      </cx:tx>
      <cx:spPr>
        <a:solidFill>
          <a:schemeClr val="accent1">
            <a:lumMod val="50000"/>
          </a:schemeClr>
        </a:solidFill>
      </cx:spPr>
    </cx:title>
    <cx:plotArea>
      <cx:plotAreaRegion>
        <cx:series layoutId="boxWhisker" uniqueId="{157F375B-1824-44DE-9288-8104BCFDD68D}">
          <cx:tx>
            <cx:txData>
              <cx:f>Sheet2!$A$4918</cx:f>
              <cx:v>Volumetric Flow Meter 1</cx:v>
            </cx:txData>
          </cx:tx>
          <cx:dataId val="0"/>
          <cx:layoutPr>
            <cx:visibility meanLine="0" meanMarker="1" nonoutliers="0" outliers="1"/>
            <cx:statistics quartileMethod="exclusive"/>
          </cx:layoutPr>
        </cx:series>
        <cx:series layoutId="boxWhisker" uniqueId="{E29DCCBD-7208-4433-B92B-5D421253EC4F}">
          <cx:tx>
            <cx:txData>
              <cx:f>Sheet2!$B$4918</cx:f>
              <cx:v>Volumetric Flow Meter 2</cx:v>
            </cx:txData>
          </cx:tx>
          <cx:dataId val="1"/>
          <cx:layoutPr>
            <cx:visibility meanLine="0" meanMarker="1" nonoutliers="0" outliers="1"/>
            <cx:statistics quartileMethod="exclusive"/>
          </cx:layoutPr>
        </cx:series>
        <cx:series layoutId="boxWhisker" uniqueId="{5A1A65E9-5984-4E6B-A2C5-085EB2D9BE7B}">
          <cx:tx>
            <cx:txData>
              <cx:f>Sheet2!$C$4918</cx:f>
              <cx:v>Pump Speed (RPM)</cx:v>
            </cx:txData>
          </cx:tx>
          <cx:dataId val="2"/>
          <cx:layoutPr>
            <cx:visibility meanLine="0" meanMarker="1" nonoutliers="0" outliers="1"/>
            <cx:statistics quartileMethod="exclusive"/>
          </cx:layoutPr>
        </cx:series>
        <cx:series layoutId="boxWhisker" uniqueId="{C037FC64-57F0-43B8-B86F-EB9B14F8D589}">
          <cx:tx>
            <cx:txData>
              <cx:f>Sheet2!$D$4918</cx:f>
              <cx:v>Pump Torque </cx:v>
            </cx:txData>
          </cx:tx>
          <cx:dataId val="3"/>
          <cx:layoutPr>
            <cx:visibility meanLine="0" meanMarker="1" nonoutliers="0" outliers="1"/>
            <cx:statistics quartileMethod="exclusive"/>
          </cx:layoutPr>
        </cx:series>
        <cx:series layoutId="boxWhisker" uniqueId="{A5733212-7104-4431-B1D6-D04843702AD0}">
          <cx:tx>
            <cx:txData>
              <cx:f>Sheet2!$E$4918</cx:f>
              <cx:v>Ambient Temperature</cx:v>
            </cx:txData>
          </cx:tx>
          <cx:dataId val="4"/>
          <cx:layoutPr>
            <cx:visibility meanLine="0" meanMarker="1" nonoutliers="0" outliers="1"/>
            <cx:statistics quartileMethod="exclusive"/>
          </cx:layoutPr>
        </cx:series>
        <cx:series layoutId="boxWhisker" uniqueId="{2A3FBC32-26F9-41CD-A78B-4AC7DC2681A3}">
          <cx:tx>
            <cx:txData>
              <cx:f>Sheet2!$F$4918</cx:f>
              <cx:v>Horse Power</cx:v>
            </cx:txData>
          </cx:tx>
          <cx:dataId val="5"/>
          <cx:layoutPr>
            <cx:visibility meanLine="0" meanMarker="1" nonoutliers="0" outliers="1"/>
            <cx:statistics quartileMethod="exclusive"/>
          </cx:layoutPr>
        </cx:series>
        <cx:series layoutId="boxWhisker" uniqueId="{36FB4972-EA32-4AC0-8AB4-5553A325E08B}">
          <cx:tx>
            <cx:txData>
              <cx:f>Sheet2!$G$4918</cx:f>
              <cx:v>Pump Efficiency</cx:v>
            </cx:txData>
          </cx:tx>
          <cx:dataId val="6"/>
          <cx:layoutPr>
            <cx:visibility meanLine="0" meanMarker="1" nonoutliers="0" outliers="1"/>
            <cx:statistics quartileMethod="exclusive"/>
          </cx:layoutPr>
        </cx:series>
      </cx:plotAreaRegion>
      <cx:axis id="0" hidden="1">
        <cx:catScaling gapWidth="1"/>
        <cx:tickLabels/>
      </cx:axis>
      <cx:axis id="1">
        <cx:valScaling/>
        <cx:majorGridlines>
          <cx:spPr>
            <a:ln>
              <a:noFill/>
            </a:ln>
          </cx:spPr>
        </cx:majorGridlines>
        <cx:tickLabels/>
      </cx:axis>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heet2!$A$7322:$A$7373</cx:f>
        <cx:lvl ptCount="52" formatCode="#,##0.00">
          <cx:pt idx="0">3.6859447236423835</cx:pt>
          <cx:pt idx="1">3.6262514922516709</cx:pt>
          <cx:pt idx="2">3.549750922134594</cx:pt>
          <cx:pt idx="3">3.6957160039171288</cx:pt>
          <cx:pt idx="4">3.7049840460667567</cx:pt>
          <cx:pt idx="5">3.8056543533893437</cx:pt>
          <cx:pt idx="6">3.8042768430873397</cx:pt>
          <cx:pt idx="7">3.7540697303366497</cx:pt>
          <cx:pt idx="8">3.6815697551545816</cx:pt>
          <cx:pt idx="9">3.7168944675304707</cx:pt>
          <cx:pt idx="10">3.7393320443537825</cx:pt>
          <cx:pt idx="11">3.6925906552346737</cx:pt>
          <cx:pt idx="12">3.7510804726963243</cx:pt>
          <cx:pt idx="13">3.6521676133307563</cx:pt>
          <cx:pt idx="14">3.6787869065016907</cx:pt>
          <cx:pt idx="15">3.6275002633934488</cx:pt>
          <cx:pt idx="16">3.6352075309538314</cx:pt>
          <cx:pt idx="17">3.6307562462302854</cx:pt>
          <cx:pt idx="18">3.6082160396109528</cx:pt>
          <cx:pt idx="19">3.6289000423325772</cx:pt>
          <cx:pt idx="20">3.6305926972511435</cx:pt>
          <cx:pt idx="21">3.3859207477944353</cx:pt>
          <cx:pt idx="22">3.3891540327154308</cx:pt>
          <cx:pt idx="23">7.592318478900749</cx:pt>
          <cx:pt idx="24">10.125905896752407</cx:pt>
          <cx:pt idx="25">12.025120182447221</cx:pt>
          <cx:pt idx="26">13.539455433963202</cx:pt>
          <cx:pt idx="27">14.813072857151017</cx:pt>
          <cx:pt idx="28">15.803068652972888</cx:pt>
          <cx:pt idx="29">16.708645170936975</cx:pt>
          <cx:pt idx="30">17.500400376372333</cx:pt>
          <cx:pt idx="31">18.062269778193155</cx:pt>
          <cx:pt idx="32">18.498970648592074</cx:pt>
          <cx:pt idx="33">18.653300789533933</cx:pt>
          <cx:pt idx="34">18.687649375868599</cx:pt>
          <cx:pt idx="35">18.619695245478177</cx:pt>
          <cx:pt idx="36">18.576639108695428</cx:pt>
          <cx:pt idx="37">18.597607870523216</cx:pt>
          <cx:pt idx="38">18.548949023733325</cx:pt>
          <cx:pt idx="39">18.68809665099101</cx:pt>
          <cx:pt idx="40">18.874144401708694</cx:pt>
          <cx:pt idx="41">19.051476489678734</cx:pt>
          <cx:pt idx="42">19.370010251066898</cx:pt>
          <cx:pt idx="43">19.582697233004964</cx:pt>
          <cx:pt idx="44">19.879510936073636</cx:pt>
          <cx:pt idx="45">20.068964330785604</cx:pt>
          <cx:pt idx="46">20.235473563641342</cx:pt>
          <cx:pt idx="47">20.367988522109432</cx:pt>
          <cx:pt idx="48">20.595699096276579</cx:pt>
          <cx:pt idx="49">20.740150258824563</cx:pt>
          <cx:pt idx="50">20.960055850697721</cx:pt>
          <cx:pt idx="51">21.100652340517868</cx:pt>
        </cx:lvl>
      </cx:numDim>
    </cx:data>
    <cx:data id="1">
      <cx:numDim type="val">
        <cx:f>Sheet2!$B$7322:$B$7373</cx:f>
        <cx:lvl ptCount="52" formatCode="#,##0.00">
          <cx:pt idx="0">3.3233478481104313</cx:pt>
          <cx:pt idx="1">3.2450060836242858</cx:pt>
          <cx:pt idx="2">3.2750340175472923</cx:pt>
          <cx:pt idx="3">3.2154637140779134</cx:pt>
          <cx:pt idx="4">3.0898896308823858</cx:pt>
          <cx:pt idx="5">3.2022363772982083</cx:pt>
          <cx:pt idx="6">3.2256755329199129</cx:pt>
          <cx:pt idx="7">3.2884237218936136</cx:pt>
          <cx:pt idx="8">3.3174300397997123</cx:pt>
          <cx:pt idx="9">3.3679238974938768</cx:pt>
          <cx:pt idx="10">3.2687457786614802</cx:pt>
          <cx:pt idx="11">3.1541285478800205</cx:pt>
          <cx:pt idx="12">2.954604510944224</cx:pt>
          <cx:pt idx="13">3.0336049834153256</cx:pt>
          <cx:pt idx="14">2.8609749162242526</cx:pt>
          <cx:pt idx="15">2.8537981144714708</cx:pt>
          <cx:pt idx="16">2.8630175584913702</cx:pt>
          <cx:pt idx="17">2.8710314739023555</cx:pt>
          <cx:pt idx="18">2.8275439364656529</cx:pt>
          <cx:pt idx="19">2.8324586006044172</cx:pt>
          <cx:pt idx="20">2.9002193535749274</cx:pt>
          <cx:pt idx="21">2.9025030022656169</cx:pt>
          <cx:pt idx="22">2.8980953713791404</cx:pt>
          <cx:pt idx="23">7.4396718194829923</cx:pt>
          <cx:pt idx="24">10.020698285944512</cx:pt>
          <cx:pt idx="25">11.929076950734771</cx:pt>
          <cx:pt idx="26">13.289192934507895</cx:pt>
          <cx:pt idx="27">14.4487448287537</cx:pt>
          <cx:pt idx="28">15.354131455690373</cx:pt>
          <cx:pt idx="29">16.140814490408882</cx:pt>
          <cx:pt idx="30">16.697098808496335</cx:pt>
          <cx:pt idx="31">17.290679985697967</cx:pt>
          <cx:pt idx="32">17.789734961488332</cx:pt>
          <cx:pt idx="33">18.131687700006719</cx:pt>
          <cx:pt idx="34">18.258665462808572</cx:pt>
          <cx:pt idx="35">18.490391667646975</cx:pt>
          <cx:pt idx="36">18.586752175589517</cx:pt>
          <cx:pt idx="37">18.634483696729522</cx:pt>
          <cx:pt idx="38">18.557030442680606</cx:pt>
          <cx:pt idx="39">18.826168801010414</cx:pt>
          <cx:pt idx="40">19.058814342396303</cx:pt>
          <cx:pt idx="41">19.199724626856668</cx:pt>
          <cx:pt idx="42">19.423466033605351</cx:pt>
          <cx:pt idx="43">19.711591668151865</cx:pt>
          <cx:pt idx="44">19.818303118727073</cx:pt>
          <cx:pt idx="45">20.07091829076295</cx:pt>
          <cx:pt idx="46">20.264715637902682</cx:pt>
          <cx:pt idx="47">20.419601254733131</cx:pt>
          <cx:pt idx="48">20.62527909947001</cx:pt>
          <cx:pt idx="49">20.768136004549088</cx:pt>
          <cx:pt idx="50">21.035136727067801</cx:pt>
          <cx:pt idx="51">21.297591761220005</cx:pt>
        </cx:lvl>
      </cx:numDim>
    </cx:data>
    <cx:data id="2">
      <cx:numDim type="val">
        <cx:f>Sheet2!$C$7322:$C$7373</cx:f>
        <cx:lvl ptCount="52" formatCode="#,##0.00">
          <cx:pt idx="0">4.9597228324486684</cx:pt>
          <cx:pt idx="1">4.9785747856742812</cx:pt>
          <cx:pt idx="2">4.8953414401951525</cx:pt>
          <cx:pt idx="3">4.9452171250404264</cx:pt>
          <cx:pt idx="4">4.8457826194952558</cx:pt>
          <cx:pt idx="5">4.9304356199324664</cx:pt>
          <cx:pt idx="6">4.8258165886331028</cx:pt>
          <cx:pt idx="7">4.7773411544233602</cx:pt>
          <cx:pt idx="8">4.9251874344402182</cx:pt>
          <cx:pt idx="9">4.9874555279900159</cx:pt>
          <cx:pt idx="10">5.1523903614518192</cx:pt>
          <cx:pt idx="11">5.1417828653573814</cx:pt>
          <cx:pt idx="12">5.3170729135320389</cx:pt>
          <cx:pt idx="13">5.4810016703468385</cx:pt>
          <cx:pt idx="14">5.7300378125570282</cx:pt>
          <cx:pt idx="15">6.0114832640940428</cx:pt>
          <cx:pt idx="16">6.7654463539234495</cx:pt>
          <cx:pt idx="17">6.9725240733914271</cx:pt>
          <cx:pt idx="18">7.079596715574441</cx:pt>
          <cx:pt idx="19">7.4358559711030248</cx:pt>
          <cx:pt idx="20">7.4633972727287343</cx:pt>
          <cx:pt idx="21">7.5197823397211181</cx:pt>
          <cx:pt idx="22">7.5539439344965524</cx:pt>
          <cx:pt idx="23">21.554235256006294</cx:pt>
          <cx:pt idx="24">29.085466608189257</cx:pt>
          <cx:pt idx="25">34.607237964625703</cx:pt>
          <cx:pt idx="26">39.109689542259908</cx:pt>
          <cx:pt idx="27">42.84937532236895</cx:pt>
          <cx:pt idx="28">46.03866441035899</cx:pt>
          <cx:pt idx="29">48.776336829273667</cx:pt>
          <cx:pt idx="30">51.170674521980686</cx:pt>
          <cx:pt idx="31">53.087392706440347</cx:pt>
          <cx:pt idx="32">54.850853156118028</cx:pt>
          <cx:pt idx="33">56.083732556520026</cx:pt>
          <cx:pt idx="34">57.183672615468694</cx:pt>
          <cx:pt idx="35">58.19582479000109</cx:pt>
          <cx:pt idx="36">58.825369849504852</cx:pt>
          <cx:pt idx="37">59.309058058749272</cx:pt>
          <cx:pt idx="38">59.29920237489582</cx:pt>
          <cx:pt idx="39">58.951138933944229</cx:pt>
          <cx:pt idx="40">58.282861580596645</cx:pt>
          <cx:pt idx="41">58.041602202272955</cx:pt>
          <cx:pt idx="42">57.533038983810371</cx:pt>
          <cx:pt idx="43">56.787251685770002</cx:pt>
          <cx:pt idx="44">55.963463039757457</cx:pt>
          <cx:pt idx="45">55.177133777988345</cx:pt>
          <cx:pt idx="46">53.750049451995423</cx:pt>
          <cx:pt idx="47">52.755878901035189</cx:pt>
          <cx:pt idx="48">51.678003947076199</cx:pt>
          <cx:pt idx="49">50.215180651035119</cx:pt>
          <cx:pt idx="50">48.962112962443996</cx:pt>
          <cx:pt idx="51">47.295063045795246</cx:pt>
        </cx:lvl>
      </cx:numDim>
    </cx:data>
    <cx:data id="3">
      <cx:numDim type="val">
        <cx:f>Sheet2!$D$7322:$D$7373</cx:f>
        <cx:lvl ptCount="52" formatCode="#,##0.00">
          <cx:pt idx="0">9.2331860231412541</cx:pt>
          <cx:pt idx="1">9.2501009624810013</cx:pt>
          <cx:pt idx="2">9.0114231465644075</cx:pt>
          <cx:pt idx="3">8.9776862595388476</cx:pt>
          <cx:pt idx="4">8.9776862595388476</cx:pt>
          <cx:pt idx="5">9.2973856169540916</cx:pt>
          <cx:pt idx="6">9.2828478587024197</cx:pt>
          <cx:pt idx="7">8.9499887625948844</cx:pt>
          <cx:pt idx="8">8.7913881581424018</cx:pt>
          <cx:pt idx="9">8.4189168495442601</cx:pt>
          <cx:pt idx="10">8.3891692627780632</cx:pt>
          <cx:pt idx="11">8.4074406017089629</cx:pt>
          <cx:pt idx="12">8.2684833005790122</cx:pt>
          <cx:pt idx="13">8.143045830787079</cx:pt>
          <cx:pt idx="14">7.8198832927764128</cx:pt>
          <cx:pt idx="15">7.6282144157341172</cx:pt>
          <cx:pt idx="16">8.2101703119803879</cx:pt>
          <cx:pt idx="17">8.865599278938376</cx:pt>
          <cx:pt idx="18">9.3526688059132859</cx:pt>
          <cx:pt idx="19">9.302329457363534</cx:pt>
          <cx:pt idx="20">9.2828478587024179</cx:pt>
          <cx:pt idx="21">9.635900306283979</cx:pt>
          <cx:pt idx="22">10.611260555405876</cx:pt>
          <cx:pt idx="23">45.1796414328401</cx:pt>
          <cx:pt idx="24">62.013309657787538</cx:pt>
          <cx:pt idx="25">74.18483440146251</cx:pt>
          <cx:pt idx="26">83.916084247313989</cx:pt>
          <cx:pt idx="27">92.024116029628246</cx:pt>
          <cx:pt idx="28">98.960435609853462</cx:pt>
          <cx:pt idx="29">104.76179877588309</cx:pt>
          <cx:pt idx="30">109.848359427738</cx:pt>
          <cx:pt idx="31">114.04558475582846</cx:pt>
          <cx:pt idx="32">117.2801391305568</cx:pt>
          <cx:pt idx="33">120.14414713981711</cx:pt>
          <cx:pt idx="34">122.008050422159</cx:pt>
          <cx:pt idx="35">123.2671148733327</cx:pt>
          <cx:pt idx="36">124.28598833557918</cx:pt>
          <cx:pt idx="37">124.71141860725699</cx:pt>
          <cx:pt idx="38">124.7081420343322</cx:pt>
          <cx:pt idx="39">123.47762140770993</cx:pt>
          <cx:pt idx="40">122.00275105245707</cx:pt>
          <cx:pt idx="41">120.90021058517735</cx:pt>
          <cx:pt idx="42">119.85961136588759</cx:pt>
          <cx:pt idx="43">119.34548034241146</cx:pt>
          <cx:pt idx="44">117.41524700772491</cx:pt>
          <cx:pt idx="45">115.90071553734673</cx:pt>
          <cx:pt idx="46">113.66840258896241</cx:pt>
          <cx:pt idx="47">111.23840505248486</cx:pt>
          <cx:pt idx="48">109.7465209041941</cx:pt>
          <cx:pt idx="49">108.29910157660059</cx:pt>
          <cx:pt idx="50">107.511902575493</cx:pt>
          <cx:pt idx="51">104.92712851713124</cx:pt>
        </cx:lvl>
      </cx:numDim>
    </cx:data>
    <cx:data id="4">
      <cx:numDim type="val">
        <cx:f>Sheet2!$E$7322:$E$7373</cx:f>
        <cx:lvl ptCount="52" formatCode="#,##0.00">
          <cx:pt idx="0">1.943157757096813</cx:pt>
          <cx:pt idx="1">1.959650449712262</cx:pt>
          <cx:pt idx="2">1.9241358711314307</cx:pt>
          <cx:pt idx="3">1.8708286933869707</cx:pt>
          <cx:pt idx="4">1.9226418606016904</cx:pt>
          <cx:pt idx="5">1.9678449616530895</cx:pt>
          <cx:pt idx="6">1.9678449616530895</cx:pt>
          <cx:pt idx="7">1.9678449616530895</cx:pt>
          <cx:pt idx="8">1.9771685315872416</cx:pt>
          <cx:pt idx="9">1.9369367924460095</cx:pt>
          <cx:pt idx="10">1.9596504497122615</cx:pt>
          <cx:pt idx="11">1.9988502442280593</cx:pt>
          <cx:pt idx="12">1.9428619723691549</cx:pt>
          <cx:pt idx="13">1.9025089303036291</cx:pt>
          <cx:pt idx="14">2.1668876987168884</cx:pt>
          <cx:pt idx="15">2.5152408993194264</cx:pt>
          <cx:pt idx="16">2.6952491194863519</cx:pt>
          <cx:pt idx="17">2.7628487713469467</cx:pt>
          <cx:pt idx="18">2.7728154909994349</cx:pt>
          <cx:pt idx="19">2.9796242916750817</cx:pt>
          <cx:pt idx="20">2.9703515794846789</cx:pt>
          <cx:pt idx="21">3.0820205344404576</cx:pt>
          <cx:pt idx="22">3.110974271758002</cx:pt>
          <cx:pt idx="23">11.156978126694534</cx:pt>
          <cx:pt idx="24">15.22686675795017</cx:pt>
          <cx:pt idx="25">18.202848078279381</cx:pt>
          <cx:pt idx="26">20.562771851258201</cx:pt>
          <cx:pt idx="27">22.501315414932936</cx:pt>
          <cx:pt idx="28">24.164783913976876</cx:pt>
          <cx:pt idx="29">25.606415324037968</cx:pt>
          <cx:pt idx="30">26.832473035398774</cx:pt>
          <cx:pt idx="31">27.880471474764779</cx:pt>
          <cx:pt idx="32">28.7098245029207</cx:pt>
          <cx:pt idx="33">29.407638385329395</cx:pt>
          <cx:pt idx="34">29.914072342928016</cx:pt>
          <cx:pt idx="35">30.280223810648899</cx:pt>
          <cx:pt idx="36">30.511143620937439</cx:pt>
          <cx:pt idx="37">30.641962813394827</cx:pt>
          <cx:pt idx="38">30.646313835829229</cx:pt>
          <cx:pt idx="39">30.438273698538268</cx:pt>
          <cx:pt idx="40">30.184204592742738</cx:pt>
          <cx:pt idx="41">30.071734160209299</cx:pt>
          <cx:pt idx="42">29.728058652800854</cx:pt>
          <cx:pt idx="43">29.58807230943756</cx:pt>
          <cx:pt idx="44">29.25244856634119</cx:pt>
          <cx:pt idx="45">28.666933973626755</cx:pt>
          <cx:pt idx="46">28.072177087585878</cx:pt>
          <cx:pt idx="47">27.519710804414728</cx:pt>
          <cx:pt idx="48">27.19467916178905</cx:pt>
          <cx:pt idx="49">26.54514696863076</cx:pt>
          <cx:pt idx="50">26.173690396379286</cx:pt>
          <cx:pt idx="51">25.640216256014153</cx:pt>
        </cx:lvl>
      </cx:numDim>
    </cx:data>
    <cx:data id="5">
      <cx:numDim type="val">
        <cx:f>Sheet2!$F$7322:$F$7373</cx:f>
        <cx:lvl ptCount="52" formatCode="#,##0.00">
          <cx:pt idx="0">0.29841759708900018</cx:pt>
          <cx:pt idx="1">0.29844375424646186</cx:pt>
          <cx:pt idx="2">0.29873212587542813</cx:pt>
          <cx:pt idx="3">0.29370314730846692</cx:pt>
          <cx:pt idx="4">0.30023569702807384</cx:pt>
          <cx:pt idx="5">0.29951609052471112</cx:pt>
          <cx:pt idx="6">0.29822002425930011</cx:pt>
          <cx:pt idx="7">0.28581105405410567</cx:pt>
          <cx:pt idx="8">0.29395908129424941</cx:pt>
          <cx:pt idx="9">0.29229332491972737</cx:pt>
          <cx:pt idx="10">0.29579066277669624</cx:pt>
          <cx:pt idx="11">0.29631333839124308</cx:pt>
          <cx:pt idx="12">0.29824386325746671</cx:pt>
          <cx:pt idx="13">0.30377961612123633</cx:pt>
          <cx:pt idx="14">0.46516556678584514</cx:pt>
          <cx:pt idx="15">0.57266424350409362</cx:pt>
          <cx:pt idx="16">0.74938209397867328</cx:pt>
          <cx:pt idx="17">0.84432825697973757</cx:pt>
          <cx:pt idx="18">0.91708550563110436</cx:pt>
          <cx:pt idx="19">0.98082833049188589</cx:pt>
          <cx:pt idx="20">1.011056306955358</cx:pt>
          <cx:pt idx="21">1.0667784825930073</cx:pt>
          <cx:pt idx="22">1.1222239680811481</cx:pt>
          <cx:pt idx="23">1.5060433095362169</cx:pt>
          <cx:pt idx="24">1.789905892300542</cx:pt>
          <cx:pt idx="25">2.0245690458905723</cx:pt>
          <cx:pt idx="26">2.2213846184880786</cx:pt>
          <cx:pt idx="27">2.3920374019345618</cx:pt>
          <cx:pt idx="28">2.5414503714833838</cx:pt>
          <cx:pt idx="29">2.674702046732405</cx:pt>
          <cx:pt idx="30">2.7935807069300411</cx:pt>
          <cx:pt idx="31">2.8978632053102724</cx:pt>
          <cx:pt idx="32">2.9909762875525292</cx:pt>
          <cx:pt idx="33">3.0690770506035996</cx:pt>
          <cx:pt idx="34">3.1351082192197852</cx:pt>
          <cx:pt idx="35">3.1957076560828463</cx:pt>
          <cx:pt idx="36">3.2455269463201248</cx:pt>
          <cx:pt idx="37">3.2880552526116289</cx:pt>
          <cx:pt idx="38">3.3152274545059544</cx:pt>
          <cx:pt idx="39">3.2973429668077778</cx:pt>
          <cx:pt idx="40">3.2729573897718822</cx:pt>
          <cx:pt idx="41">3.2560311824202768</cx:pt>
          <cx:pt idx="42">3.2326202285102652</cx:pt>
          <cx:pt idx="43">3.2082985273695468</cx:pt>
          <cx:pt idx="44">3.1194549881200064</cx:pt>
          <cx:pt idx="45">3.0267268085841139</cx:pt>
          <cx:pt idx="46">2.8756596821642089</cx:pt>
          <cx:pt idx="47">2.7375017523261929</cx:pt>
          <cx:pt idx="48">2.5935841793959136</cx:pt>
          <cx:pt idx="49">2.4285217210060339</cx:pt>
          <cx:pt idx="50">2.2812875734014408</cx:pt>
          <cx:pt idx="51">2.0341035040468922</cx:pt>
        </cx:lvl>
      </cx:numDim>
    </cx:data>
    <cx:data id="6">
      <cx:numDim type="val">
        <cx:f>Sheet2!$G$7322:$G$7373</cx:f>
        <cx:lvl ptCount="52" formatCode="#,##0.00">
          <cx:pt idx="0">6.7017176793497866</cx:pt>
          <cx:pt idx="1">6.5931845313666742</cx:pt>
          <cx:pt idx="2">6.4540925856992617</cx:pt>
          <cx:pt idx="3">6.7194836434856899</cx:pt>
          <cx:pt idx="4">6.7363346292122834</cx:pt>
          <cx:pt idx="5">6.9193715516169885</cx:pt>
          <cx:pt idx="6">6.9168669874315256</cx:pt>
          <cx:pt idx="7">6.8255813278848168</cx:pt>
          <cx:pt idx="8">6.693763191190147</cx:pt>
          <cx:pt idx="9">6.7579899409644915</cx:pt>
          <cx:pt idx="10">6.798785535188693</cx:pt>
          <cx:pt idx="11">6.7138011913357687</cx:pt>
          <cx:pt idx="12">6.8201463139933143</cx:pt>
          <cx:pt idx="13">6.6403047515104632</cx:pt>
          <cx:pt idx="14">6.6887034663667082</cx:pt>
          <cx:pt idx="15">6.5954550243517236</cx:pt>
          <cx:pt idx="16">6.6094682380978726</cx:pt>
          <cx:pt idx="17">6.6013749931459706</cx:pt>
          <cx:pt idx="18">6.5603927992926385</cx:pt>
          <cx:pt idx="19">6.5980000769683205</cx:pt>
          <cx:pt idx="20">6.6010776313657145</cx:pt>
          <cx:pt idx="21">6.1562195414444263</cx:pt>
          <cx:pt idx="22">6.1620982413007823</cx:pt>
          <cx:pt idx="23">13.804215416183176</cx:pt>
          <cx:pt idx="24">18.410737994095275</cx:pt>
          <cx:pt idx="25">21.86385487717672</cx:pt>
          <cx:pt idx="26">24.617191698114919</cx:pt>
          <cx:pt idx="27">26.932859740274562</cx:pt>
          <cx:pt idx="28">28.732852096314367</cx:pt>
          <cx:pt idx="29">30.379354856249055</cx:pt>
          <cx:pt idx="30">31.818909775222433</cx:pt>
          <cx:pt idx="31">32.840490505805725</cx:pt>
          <cx:pt idx="32">33.634492088349234</cx:pt>
          <cx:pt idx="33">33.915092344607167</cx:pt>
          <cx:pt idx="34">33.977544319761115</cx:pt>
          <cx:pt idx="35">33.853991355414891</cx:pt>
          <cx:pt idx="36">33.775707470355343</cx:pt>
          <cx:pt idx="37">33.813832491860396</cx:pt>
          <cx:pt idx="38">33.725361861333319</cx:pt>
          <cx:pt idx="39">34.18087142133561</cx:pt>
          <cx:pt idx="40">34.592669071510272</cx:pt>
          <cx:pt idx="41">34.88653313754989</cx:pt>
          <cx:pt idx="42">35.366721378949286</cx:pt>
          <cx:pt idx="43">35.846069104944156</cx:pt>
          <cx:pt idx="44">36.132396212351559</cx:pt>
          <cx:pt idx="45">36.708872042006021</cx:pt>
          <cx:pt idx="46">37.000003830561624</cx:pt>
          <cx:pt idx="47">37.225328498076195</cx:pt>
          <cx:pt idx="48">37.565696209180523</cx:pt>
          <cx:pt idx="49">37.884744172032306</cx:pt>
          <cx:pt idx="50">38.258184088607315</cx:pt>
          <cx:pt idx="51">38.737927606451912</cx:pt>
        </cx:lvl>
      </cx:numDim>
    </cx:data>
  </cx:chartData>
  <cx:chart>
    <cx:title pos="t" align="ctr" overlay="0">
      <cx:tx>
        <cx:rich>
          <a:bodyPr spcFirstLastPara="1" vertOverflow="ellipsis" horzOverflow="overflow" wrap="square" lIns="0" tIns="0" rIns="0" bIns="0" anchor="ctr" anchorCtr="1"/>
          <a:lstStyle/>
          <a:p>
            <a:pPr rtl="0">
              <a:defRPr b="1">
                <a:solidFill>
                  <a:schemeClr val="bg1"/>
                </a:solidFill>
                <a:latin typeface="Arial" panose="020B0604020202020204" pitchFamily="34" charset="0"/>
                <a:ea typeface="Arial" panose="020B0604020202020204" pitchFamily="34" charset="0"/>
                <a:cs typeface="Arial" panose="020B0604020202020204" pitchFamily="34" charset="0"/>
              </a:defRPr>
            </a:pPr>
            <a:r>
              <a:rPr lang="en-US" sz="1400" b="1" i="0" baseline="0" dirty="0">
                <a:solidFill>
                  <a:schemeClr val="bg1"/>
                </a:solidFill>
                <a:effectLst/>
                <a:latin typeface="Arial" panose="020B0604020202020204" pitchFamily="34" charset="0"/>
                <a:cs typeface="Arial" panose="020B0604020202020204" pitchFamily="34" charset="0"/>
              </a:rPr>
              <a:t>DRT </a:t>
            </a:r>
            <a:r>
              <a:rPr lang="en-US" sz="1200" b="1" i="0" baseline="0" dirty="0">
                <a:solidFill>
                  <a:schemeClr val="bg1"/>
                </a:solidFill>
                <a:effectLst/>
                <a:latin typeface="Arial" panose="020B0604020202020204" pitchFamily="34" charset="0"/>
                <a:cs typeface="Arial" panose="020B0604020202020204" pitchFamily="34" charset="0"/>
              </a:rPr>
              <a:t>Rolling</a:t>
            </a:r>
            <a:r>
              <a:rPr lang="en-US" sz="1400" b="1" i="0" baseline="0" dirty="0">
                <a:solidFill>
                  <a:schemeClr val="bg1"/>
                </a:solidFill>
                <a:effectLst/>
                <a:latin typeface="Arial" panose="020B0604020202020204" pitchFamily="34" charset="0"/>
                <a:cs typeface="Arial" panose="020B0604020202020204" pitchFamily="34" charset="0"/>
              </a:rPr>
              <a:t> STD (Pump Failure=0)</a:t>
            </a:r>
            <a:endParaRPr lang="en-US" sz="1400" b="1" dirty="0">
              <a:solidFill>
                <a:schemeClr val="bg1"/>
              </a:solidFill>
              <a:effectLst/>
              <a:latin typeface="Arial" panose="020B0604020202020204" pitchFamily="34" charset="0"/>
              <a:cs typeface="Arial" panose="020B0604020202020204" pitchFamily="34" charset="0"/>
            </a:endParaRPr>
          </a:p>
        </cx:rich>
      </cx:tx>
      <cx:spPr>
        <a:solidFill>
          <a:schemeClr val="accent1">
            <a:lumMod val="50000"/>
          </a:schemeClr>
        </a:solidFill>
      </cx:spPr>
    </cx:title>
    <cx:plotArea>
      <cx:plotAreaRegion>
        <cx:series layoutId="boxWhisker" uniqueId="{E5DF33B9-6813-4662-A408-310522658E0C}">
          <cx:tx>
            <cx:txData>
              <cx:f>Sheet2!$A$7321</cx:f>
              <cx:v>Volumetric Flow Meter 1</cx:v>
            </cx:txData>
          </cx:tx>
          <cx:dataId val="0"/>
          <cx:layoutPr>
            <cx:visibility meanLine="0" meanMarker="1" nonoutliers="0" outliers="1"/>
            <cx:statistics quartileMethod="exclusive"/>
          </cx:layoutPr>
        </cx:series>
        <cx:series layoutId="boxWhisker" uniqueId="{A113F584-A8D2-4324-8B21-6EC7554183BC}">
          <cx:tx>
            <cx:txData>
              <cx:f>Sheet2!$B$7321</cx:f>
              <cx:v>Volumetric Flow Meter 2</cx:v>
            </cx:txData>
          </cx:tx>
          <cx:dataId val="1"/>
          <cx:layoutPr>
            <cx:visibility meanLine="0" meanMarker="1" nonoutliers="0" outliers="1"/>
            <cx:statistics quartileMethod="exclusive"/>
          </cx:layoutPr>
        </cx:series>
        <cx:series layoutId="boxWhisker" uniqueId="{18A2417A-6DFE-450B-8916-97C6565B587E}">
          <cx:tx>
            <cx:txData>
              <cx:f>Sheet2!$C$7321</cx:f>
              <cx:v>Pump Speed (RPM)</cx:v>
            </cx:txData>
          </cx:tx>
          <cx:dataId val="2"/>
          <cx:layoutPr>
            <cx:visibility meanLine="0" meanMarker="1" nonoutliers="0" outliers="1"/>
            <cx:statistics quartileMethod="exclusive"/>
          </cx:layoutPr>
        </cx:series>
        <cx:series layoutId="boxWhisker" uniqueId="{D47E7A7F-0A1A-41AA-BCB3-DB9B4538E0D4}">
          <cx:tx>
            <cx:txData>
              <cx:f>Sheet2!$D$7321</cx:f>
              <cx:v>Pump Torque </cx:v>
            </cx:txData>
          </cx:tx>
          <cx:dataId val="3"/>
          <cx:layoutPr>
            <cx:visibility meanLine="0" meanMarker="1" nonoutliers="0" outliers="1"/>
            <cx:statistics quartileMethod="exclusive"/>
          </cx:layoutPr>
        </cx:series>
        <cx:series layoutId="boxWhisker" uniqueId="{E3482FC0-19F8-4583-BD7B-834276B4AE06}">
          <cx:tx>
            <cx:txData>
              <cx:f>Sheet2!$E$7321</cx:f>
              <cx:v>Ambient Temperature</cx:v>
            </cx:txData>
          </cx:tx>
          <cx:dataId val="4"/>
          <cx:layoutPr>
            <cx:visibility meanLine="0" meanMarker="1" nonoutliers="0" outliers="1"/>
            <cx:statistics quartileMethod="exclusive"/>
          </cx:layoutPr>
        </cx:series>
        <cx:series layoutId="boxWhisker" uniqueId="{8A22FC55-A97C-41B6-AA94-EE7338F6B9E1}">
          <cx:tx>
            <cx:txData>
              <cx:f>Sheet2!$F$7321</cx:f>
              <cx:v>Horse Power</cx:v>
            </cx:txData>
          </cx:tx>
          <cx:dataId val="5"/>
          <cx:layoutPr>
            <cx:visibility meanLine="0" meanMarker="1" nonoutliers="0" outliers="1"/>
            <cx:statistics quartileMethod="exclusive"/>
          </cx:layoutPr>
        </cx:series>
        <cx:series layoutId="boxWhisker" uniqueId="{7ACB56AB-C905-49BE-899F-9EB0CF218B4B}">
          <cx:tx>
            <cx:txData>
              <cx:f>Sheet2!$G$7321</cx:f>
              <cx:v>Pump Efficiency</cx:v>
            </cx:txData>
          </cx:tx>
          <cx:dataId val="6"/>
          <cx:layoutPr>
            <cx:visibility meanLine="0" meanMarker="1" nonoutliers="0" outliers="1"/>
            <cx:statistics quartileMethod="exclusive"/>
          </cx:layoutPr>
        </cx:series>
      </cx:plotAreaRegion>
      <cx:axis id="0" hidden="1">
        <cx:catScaling gapWidth="1"/>
        <cx:tickLabels/>
      </cx:axis>
      <cx:axis id="1">
        <cx:valScaling/>
        <cx:majorGridlines>
          <cx:spPr>
            <a:ln>
              <a:noFill/>
            </a:ln>
          </cx:spPr>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4/11/2020</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1</a:t>
            </a:fld>
            <a:endParaRPr lang="en-AU"/>
          </a:p>
        </p:txBody>
      </p:sp>
    </p:spTree>
    <p:extLst>
      <p:ext uri="{BB962C8B-B14F-4D97-AF65-F5344CB8AC3E}">
        <p14:creationId xmlns:p14="http://schemas.microsoft.com/office/powerpoint/2010/main" val="132124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4</a:t>
            </a:fld>
            <a:endParaRPr lang="en-AU"/>
          </a:p>
        </p:txBody>
      </p:sp>
    </p:spTree>
    <p:extLst>
      <p:ext uri="{BB962C8B-B14F-4D97-AF65-F5344CB8AC3E}">
        <p14:creationId xmlns:p14="http://schemas.microsoft.com/office/powerpoint/2010/main" val="26152078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8"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4"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14/relationships/chartEx" Target="../charts/chartEx4.xml"/><Relationship Id="rId3" Type="http://schemas.openxmlformats.org/officeDocument/2006/relationships/image" Target="../media/image3.png"/><Relationship Id="rId7" Type="http://schemas.openxmlformats.org/officeDocument/2006/relationships/image" Target="../media/image5.png"/><Relationship Id="rId2" Type="http://schemas.microsoft.com/office/2014/relationships/chartEx" Target="../charts/chartEx1.xml"/><Relationship Id="rId1" Type="http://schemas.openxmlformats.org/officeDocument/2006/relationships/slideLayout" Target="../slideLayouts/slideLayout2.xml"/><Relationship Id="rId6" Type="http://schemas.microsoft.com/office/2014/relationships/chartEx" Target="../charts/chartEx3.xml"/><Relationship Id="rId5" Type="http://schemas.openxmlformats.org/officeDocument/2006/relationships/image" Target="../media/image4.png"/><Relationship Id="rId10" Type="http://schemas.openxmlformats.org/officeDocument/2006/relationships/image" Target="../media/image3.tmp"/><Relationship Id="rId4" Type="http://schemas.microsoft.com/office/2014/relationships/chartEx" Target="../charts/chartEx2.xml"/><Relationship Id="rId9"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chart" Target="../charts/chart7.xml"/><Relationship Id="rId4" Type="http://schemas.openxmlformats.org/officeDocument/2006/relationships/chart" Target="../charts/chart6.xml"/></Relationships>
</file>

<file path=ppt/slides/_rels/slide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B6EA38F3-066B-4CDF-95F7-744C23BD1484}"/>
              </a:ext>
            </a:extLst>
          </p:cNvPr>
          <p:cNvGraphicFramePr>
            <a:graphicFrameLocks/>
          </p:cNvGraphicFramePr>
          <p:nvPr>
            <p:extLst>
              <p:ext uri="{D42A27DB-BD31-4B8C-83A1-F6EECF244321}">
                <p14:modId xmlns:p14="http://schemas.microsoft.com/office/powerpoint/2010/main" val="2211770755"/>
              </p:ext>
            </p:extLst>
          </p:nvPr>
        </p:nvGraphicFramePr>
        <p:xfrm>
          <a:off x="171450" y="892104"/>
          <a:ext cx="8737600" cy="27400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FC4BE2C8-28DF-4234-A487-1B24364438D9}"/>
              </a:ext>
            </a:extLst>
          </p:cNvPr>
          <p:cNvGraphicFramePr>
            <a:graphicFrameLocks/>
          </p:cNvGraphicFramePr>
          <p:nvPr>
            <p:extLst>
              <p:ext uri="{D42A27DB-BD31-4B8C-83A1-F6EECF244321}">
                <p14:modId xmlns:p14="http://schemas.microsoft.com/office/powerpoint/2010/main" val="1889207414"/>
              </p:ext>
            </p:extLst>
          </p:nvPr>
        </p:nvGraphicFramePr>
        <p:xfrm>
          <a:off x="171450" y="3587751"/>
          <a:ext cx="8618538" cy="294857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828BF730-6E66-4130-873A-0EEE9B22A550}"/>
              </a:ext>
            </a:extLst>
          </p:cNvPr>
          <p:cNvGraphicFramePr>
            <a:graphicFrameLocks/>
          </p:cNvGraphicFramePr>
          <p:nvPr>
            <p:extLst>
              <p:ext uri="{D42A27DB-BD31-4B8C-83A1-F6EECF244321}">
                <p14:modId xmlns:p14="http://schemas.microsoft.com/office/powerpoint/2010/main" val="3695252746"/>
              </p:ext>
            </p:extLst>
          </p:nvPr>
        </p:nvGraphicFramePr>
        <p:xfrm>
          <a:off x="171451" y="931382"/>
          <a:ext cx="8678067" cy="252925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4DB5DD2D-8958-4808-9D08-C5F1D59B472F}"/>
              </a:ext>
            </a:extLst>
          </p:cNvPr>
          <p:cNvGraphicFramePr>
            <a:graphicFrameLocks/>
          </p:cNvGraphicFramePr>
          <p:nvPr>
            <p:extLst>
              <p:ext uri="{D42A27DB-BD31-4B8C-83A1-F6EECF244321}">
                <p14:modId xmlns:p14="http://schemas.microsoft.com/office/powerpoint/2010/main" val="2890834090"/>
              </p:ext>
            </p:extLst>
          </p:nvPr>
        </p:nvGraphicFramePr>
        <p:xfrm>
          <a:off x="111920" y="3549822"/>
          <a:ext cx="8737600" cy="281287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Box &amp; Whisker Plot, show a clear signature difference between that of normal behaviour and that of Failure with Pump Torque, Pump Efficiency, Horse Power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7" name="Chart 6">
                <a:extLst>
                  <a:ext uri="{FF2B5EF4-FFF2-40B4-BE49-F238E27FC236}">
                    <a16:creationId xmlns:a16="http://schemas.microsoft.com/office/drawing/2014/main" id="{1F5C18ED-5695-4456-873D-8ABD4CDA0BBB}"/>
                  </a:ext>
                </a:extLst>
              </p:cNvPr>
              <p:cNvGraphicFramePr/>
              <p:nvPr>
                <p:extLst>
                  <p:ext uri="{D42A27DB-BD31-4B8C-83A1-F6EECF244321}">
                    <p14:modId xmlns:p14="http://schemas.microsoft.com/office/powerpoint/2010/main" val="3205270253"/>
                  </p:ext>
                </p:extLst>
              </p:nvPr>
            </p:nvGraphicFramePr>
            <p:xfrm>
              <a:off x="171451" y="1033357"/>
              <a:ext cx="4309268" cy="2461351"/>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7" name="Chart 6">
                <a:extLst>
                  <a:ext uri="{FF2B5EF4-FFF2-40B4-BE49-F238E27FC236}">
                    <a16:creationId xmlns:a16="http://schemas.microsoft.com/office/drawing/2014/main" id="{1F5C18ED-5695-4456-873D-8ABD4CDA0BBB}"/>
                  </a:ext>
                </a:extLst>
              </p:cNvPr>
              <p:cNvPicPr>
                <a:picLocks noGrp="1" noRot="1" noChangeAspect="1" noMove="1" noResize="1" noEditPoints="1" noAdjustHandles="1" noChangeArrowheads="1" noChangeShapeType="1"/>
              </p:cNvPicPr>
              <p:nvPr/>
            </p:nvPicPr>
            <p:blipFill>
              <a:blip r:embed="rId3"/>
              <a:stretch>
                <a:fillRect/>
              </a:stretch>
            </p:blipFill>
            <p:spPr>
              <a:xfrm>
                <a:off x="171451" y="1033357"/>
                <a:ext cx="4309268" cy="2461351"/>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8" name="Chart 7">
                <a:extLst>
                  <a:ext uri="{FF2B5EF4-FFF2-40B4-BE49-F238E27FC236}">
                    <a16:creationId xmlns:a16="http://schemas.microsoft.com/office/drawing/2014/main" id="{89A1ADDB-C694-4924-90B3-6E7B65352E85}"/>
                  </a:ext>
                </a:extLst>
              </p:cNvPr>
              <p:cNvGraphicFramePr/>
              <p:nvPr>
                <p:extLst>
                  <p:ext uri="{D42A27DB-BD31-4B8C-83A1-F6EECF244321}">
                    <p14:modId xmlns:p14="http://schemas.microsoft.com/office/powerpoint/2010/main" val="1772289628"/>
                  </p:ext>
                </p:extLst>
              </p:nvPr>
            </p:nvGraphicFramePr>
            <p:xfrm>
              <a:off x="4480719" y="1050362"/>
              <a:ext cx="4428331" cy="2638360"/>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8" name="Chart 7">
                <a:extLst>
                  <a:ext uri="{FF2B5EF4-FFF2-40B4-BE49-F238E27FC236}">
                    <a16:creationId xmlns:a16="http://schemas.microsoft.com/office/drawing/2014/main" id="{89A1ADDB-C694-4924-90B3-6E7B65352E85}"/>
                  </a:ext>
                </a:extLst>
              </p:cNvPr>
              <p:cNvPicPr>
                <a:picLocks noGrp="1" noRot="1" noChangeAspect="1" noMove="1" noResize="1" noEditPoints="1" noAdjustHandles="1" noChangeArrowheads="1" noChangeShapeType="1"/>
              </p:cNvPicPr>
              <p:nvPr/>
            </p:nvPicPr>
            <p:blipFill>
              <a:blip r:embed="rId5"/>
              <a:stretch>
                <a:fillRect/>
              </a:stretch>
            </p:blipFill>
            <p:spPr>
              <a:xfrm>
                <a:off x="4480719" y="1050362"/>
                <a:ext cx="4428331" cy="263836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BA02439C-EF29-4806-8E49-36B865DD9D1A}"/>
                  </a:ext>
                </a:extLst>
              </p:cNvPr>
              <p:cNvGraphicFramePr/>
              <p:nvPr>
                <p:extLst>
                  <p:ext uri="{D42A27DB-BD31-4B8C-83A1-F6EECF244321}">
                    <p14:modId xmlns:p14="http://schemas.microsoft.com/office/powerpoint/2010/main" val="3771865575"/>
                  </p:ext>
                </p:extLst>
              </p:nvPr>
            </p:nvGraphicFramePr>
            <p:xfrm>
              <a:off x="216201" y="4067653"/>
              <a:ext cx="4553970" cy="2468857"/>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0" name="Chart 9">
                <a:extLst>
                  <a:ext uri="{FF2B5EF4-FFF2-40B4-BE49-F238E27FC236}">
                    <a16:creationId xmlns:a16="http://schemas.microsoft.com/office/drawing/2014/main" id="{BA02439C-EF29-4806-8E49-36B865DD9D1A}"/>
                  </a:ext>
                </a:extLst>
              </p:cNvPr>
              <p:cNvPicPr>
                <a:picLocks noGrp="1" noRot="1" noChangeAspect="1" noMove="1" noResize="1" noEditPoints="1" noAdjustHandles="1" noChangeArrowheads="1" noChangeShapeType="1"/>
              </p:cNvPicPr>
              <p:nvPr/>
            </p:nvPicPr>
            <p:blipFill>
              <a:blip r:embed="rId7"/>
              <a:stretch>
                <a:fillRect/>
              </a:stretch>
            </p:blipFill>
            <p:spPr>
              <a:xfrm>
                <a:off x="216201" y="4067653"/>
                <a:ext cx="4553970" cy="2468857"/>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18D381CD-8A15-4A96-8D21-EB562B92736E}"/>
                  </a:ext>
                </a:extLst>
              </p:cNvPr>
              <p:cNvGraphicFramePr/>
              <p:nvPr>
                <p:extLst>
                  <p:ext uri="{D42A27DB-BD31-4B8C-83A1-F6EECF244321}">
                    <p14:modId xmlns:p14="http://schemas.microsoft.com/office/powerpoint/2010/main" val="1383452432"/>
                  </p:ext>
                </p:extLst>
              </p:nvPr>
            </p:nvGraphicFramePr>
            <p:xfrm>
              <a:off x="4792545" y="4067652"/>
              <a:ext cx="4116505" cy="2359235"/>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9" name="Chart 8">
                <a:extLst>
                  <a:ext uri="{FF2B5EF4-FFF2-40B4-BE49-F238E27FC236}">
                    <a16:creationId xmlns:a16="http://schemas.microsoft.com/office/drawing/2014/main" id="{18D381CD-8A15-4A96-8D21-EB562B92736E}"/>
                  </a:ext>
                </a:extLst>
              </p:cNvPr>
              <p:cNvPicPr>
                <a:picLocks noGrp="1" noRot="1" noChangeAspect="1" noMove="1" noResize="1" noEditPoints="1" noAdjustHandles="1" noChangeArrowheads="1" noChangeShapeType="1"/>
              </p:cNvPicPr>
              <p:nvPr/>
            </p:nvPicPr>
            <p:blipFill>
              <a:blip r:embed="rId9"/>
              <a:stretch>
                <a:fillRect/>
              </a:stretch>
            </p:blipFill>
            <p:spPr>
              <a:xfrm>
                <a:off x="4792545" y="4067652"/>
                <a:ext cx="4116505" cy="2359235"/>
              </a:xfrm>
              <a:prstGeom prst="rect">
                <a:avLst/>
              </a:prstGeom>
            </p:spPr>
          </p:pic>
        </mc:Fallback>
      </mc:AlternateContent>
      <p:pic>
        <p:nvPicPr>
          <p:cNvPr id="14" name="Picture 13">
            <a:extLst>
              <a:ext uri="{FF2B5EF4-FFF2-40B4-BE49-F238E27FC236}">
                <a16:creationId xmlns:a16="http://schemas.microsoft.com/office/drawing/2014/main" id="{1ECBD371-3185-467A-97A2-EAA2189D753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5511" y="3664189"/>
            <a:ext cx="8723539" cy="311026"/>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861774"/>
          </a:xfrm>
        </p:spPr>
        <p:txBody>
          <a:bodyPr/>
          <a:lstStyle/>
          <a:p>
            <a:pPr algn="just"/>
            <a:r>
              <a:rPr lang="en-AU" sz="1400" b="1" dirty="0"/>
              <a:t>Correlation analyses across datasets yield particularly interesting insights with Pump Speed , Pump Torque, Ambient Temp., Volumetric Flow Meter 1 &amp; 2 and Pump Efficiency are negatively correlated with Pump Failure in the Rolling Mean Data, whilst Horse Power, Volumetric Flow Meter 1 and Pump Efficiency show a subsequently strong positive correlation in the Rolling </a:t>
            </a:r>
            <a:r>
              <a:rPr lang="en-AU" sz="1400" b="1" dirty="0" err="1"/>
              <a:t>Stdev</a:t>
            </a:r>
            <a:r>
              <a:rPr lang="en-AU" sz="1400" b="1" dirty="0"/>
              <a:t>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1133422"/>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79E760B0-E6BA-4098-AB5B-3535783D9CA1}"/>
              </a:ext>
            </a:extLst>
          </p:cNvPr>
          <p:cNvGraphicFramePr>
            <a:graphicFrameLocks/>
          </p:cNvGraphicFramePr>
          <p:nvPr>
            <p:extLst>
              <p:ext uri="{D42A27DB-BD31-4B8C-83A1-F6EECF244321}">
                <p14:modId xmlns:p14="http://schemas.microsoft.com/office/powerpoint/2010/main" val="1515125247"/>
              </p:ext>
            </p:extLst>
          </p:nvPr>
        </p:nvGraphicFramePr>
        <p:xfrm>
          <a:off x="171451" y="1216768"/>
          <a:ext cx="2704096" cy="53195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90EA88C8-22A2-4DF8-9D0F-0C6478E90A46}"/>
              </a:ext>
            </a:extLst>
          </p:cNvPr>
          <p:cNvGraphicFramePr>
            <a:graphicFrameLocks/>
          </p:cNvGraphicFramePr>
          <p:nvPr>
            <p:extLst>
              <p:ext uri="{D42A27DB-BD31-4B8C-83A1-F6EECF244321}">
                <p14:modId xmlns:p14="http://schemas.microsoft.com/office/powerpoint/2010/main" val="1226353976"/>
              </p:ext>
            </p:extLst>
          </p:nvPr>
        </p:nvGraphicFramePr>
        <p:xfrm>
          <a:off x="2875546" y="1216768"/>
          <a:ext cx="3068053" cy="531956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9DBC6F12-5B9C-4ADE-B177-74A59CE93752}"/>
              </a:ext>
            </a:extLst>
          </p:cNvPr>
          <p:cNvGraphicFramePr>
            <a:graphicFrameLocks/>
          </p:cNvGraphicFramePr>
          <p:nvPr>
            <p:extLst>
              <p:ext uri="{D42A27DB-BD31-4B8C-83A1-F6EECF244321}">
                <p14:modId xmlns:p14="http://schemas.microsoft.com/office/powerpoint/2010/main" val="1635374227"/>
              </p:ext>
            </p:extLst>
          </p:nvPr>
        </p:nvGraphicFramePr>
        <p:xfrm>
          <a:off x="5859378" y="1216767"/>
          <a:ext cx="3068053" cy="522012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Lastly, analysis of the statistical significance of variables contributing towards Pump Failure reveal that with a R Squared of 0.78, a linear model is a good fit for the data with both Rolling Mean and Rolling Standard Deviation datasets contributing key information to understand Pump Failure mechanics.</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58606"/>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id="{0BE1776A-7381-41BE-8DA4-29F11B6C38D3}"/>
              </a:ext>
            </a:extLst>
          </p:cNvPr>
          <p:cNvGraphicFramePr>
            <a:graphicFrameLocks noGrp="1"/>
          </p:cNvGraphicFramePr>
          <p:nvPr>
            <p:extLst>
              <p:ext uri="{D42A27DB-BD31-4B8C-83A1-F6EECF244321}">
                <p14:modId xmlns:p14="http://schemas.microsoft.com/office/powerpoint/2010/main" val="4014903457"/>
              </p:ext>
            </p:extLst>
          </p:nvPr>
        </p:nvGraphicFramePr>
        <p:xfrm>
          <a:off x="171451" y="3924247"/>
          <a:ext cx="8564776" cy="2593767"/>
        </p:xfrm>
        <a:graphic>
          <a:graphicData uri="http://schemas.openxmlformats.org/drawingml/2006/table">
            <a:tbl>
              <a:tblPr>
                <a:tableStyleId>{073A0DAA-6AF3-43AB-8588-CEC1D06C72B9}</a:tableStyleId>
              </a:tblPr>
              <a:tblGrid>
                <a:gridCol w="5946245">
                  <a:extLst>
                    <a:ext uri="{9D8B030D-6E8A-4147-A177-3AD203B41FA5}">
                      <a16:colId xmlns:a16="http://schemas.microsoft.com/office/drawing/2014/main" val="3168761024"/>
                    </a:ext>
                  </a:extLst>
                </a:gridCol>
                <a:gridCol w="2618531">
                  <a:extLst>
                    <a:ext uri="{9D8B030D-6E8A-4147-A177-3AD203B41FA5}">
                      <a16:colId xmlns:a16="http://schemas.microsoft.com/office/drawing/2014/main" val="3675497687"/>
                    </a:ext>
                  </a:extLst>
                </a:gridCol>
              </a:tblGrid>
              <a:tr h="438817">
                <a:tc>
                  <a:txBody>
                    <a:bodyPr/>
                    <a:lstStyle/>
                    <a:p>
                      <a:pPr algn="ctr" fontAlgn="b"/>
                      <a:r>
                        <a:rPr lang="en-GB" sz="1200" b="1" i="0" u="none" strike="noStrike" dirty="0">
                          <a:solidFill>
                            <a:schemeClr val="bg1"/>
                          </a:solidFill>
                          <a:effectLst/>
                          <a:latin typeface="+mj-lt"/>
                        </a:rPr>
                        <a:t>Variable </a:t>
                      </a:r>
                    </a:p>
                  </a:txBody>
                  <a:tcPr marL="1525" marR="1525" marT="1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50000"/>
                      </a:schemeClr>
                    </a:solidFill>
                  </a:tcPr>
                </a:tc>
                <a:tc>
                  <a:txBody>
                    <a:bodyPr/>
                    <a:lstStyle/>
                    <a:p>
                      <a:pPr algn="ctr" fontAlgn="b"/>
                      <a:r>
                        <a:rPr lang="en-AU" sz="1200" b="1" i="0" u="none" strike="noStrike" dirty="0">
                          <a:solidFill>
                            <a:schemeClr val="bg1"/>
                          </a:solidFill>
                          <a:effectLst/>
                          <a:latin typeface="+mj-lt"/>
                        </a:rPr>
                        <a:t>P-Value Significance</a:t>
                      </a:r>
                    </a:p>
                  </a:txBody>
                  <a:tcPr marL="1525" marR="1525" marT="1525" marB="0" anchor="b">
                    <a:lnL w="12700" cmpd="sng">
                      <a:noFill/>
                    </a:lnL>
                    <a:solidFill>
                      <a:schemeClr val="accent2">
                        <a:lumMod val="50000"/>
                      </a:schemeClr>
                    </a:solidFill>
                  </a:tcPr>
                </a:tc>
                <a:extLst>
                  <a:ext uri="{0D108BD9-81ED-4DB2-BD59-A6C34878D82A}">
                    <a16:rowId xmlns:a16="http://schemas.microsoft.com/office/drawing/2014/main" val="827866905"/>
                  </a:ext>
                </a:extLst>
              </a:tr>
              <a:tr h="147487">
                <a:tc>
                  <a:txBody>
                    <a:bodyPr/>
                    <a:lstStyle/>
                    <a:p>
                      <a:pPr algn="ctr" fontAlgn="b"/>
                      <a:r>
                        <a:rPr lang="en-GB" sz="1000" b="1" i="0" u="none" strike="noStrike" dirty="0">
                          <a:solidFill>
                            <a:srgbClr val="000000"/>
                          </a:solidFill>
                          <a:effectLst/>
                          <a:latin typeface="+mj-lt"/>
                        </a:rPr>
                        <a:t>Volumetric Flow Meter 1</a:t>
                      </a:r>
                    </a:p>
                  </a:txBody>
                  <a:tcPr marL="1525" marR="1525" marT="1525" marB="0" anchor="b">
                    <a:lnT w="12700" cmpd="sng">
                      <a:noFill/>
                    </a:lnT>
                  </a:tcPr>
                </a:tc>
                <a:tc>
                  <a:txBody>
                    <a:bodyPr/>
                    <a:lstStyle/>
                    <a:p>
                      <a:pPr algn="ctr" fontAlgn="b"/>
                      <a:r>
                        <a:rPr lang="en-AU" sz="1000" b="1" i="0" u="none" strike="noStrike" dirty="0">
                          <a:solidFill>
                            <a:srgbClr val="000000"/>
                          </a:solidFill>
                          <a:effectLst/>
                          <a:latin typeface="+mj-lt"/>
                        </a:rPr>
                        <a:t>4.01554437827692E-07</a:t>
                      </a:r>
                    </a:p>
                  </a:txBody>
                  <a:tcPr marL="1525" marR="1525" marT="1525" marB="0" anchor="b"/>
                </a:tc>
                <a:extLst>
                  <a:ext uri="{0D108BD9-81ED-4DB2-BD59-A6C34878D82A}">
                    <a16:rowId xmlns:a16="http://schemas.microsoft.com/office/drawing/2014/main" val="2116765502"/>
                  </a:ext>
                </a:extLst>
              </a:tr>
              <a:tr h="147487">
                <a:tc>
                  <a:txBody>
                    <a:bodyPr/>
                    <a:lstStyle/>
                    <a:p>
                      <a:pPr algn="ctr" fontAlgn="b"/>
                      <a:endParaRPr lang="en-GB" sz="1000" b="1" i="0" u="none" strike="noStrike" dirty="0">
                        <a:solidFill>
                          <a:srgbClr val="000000"/>
                        </a:solidFill>
                        <a:effectLst/>
                        <a:latin typeface="+mj-lt"/>
                      </a:endParaRPr>
                    </a:p>
                  </a:txBody>
                  <a:tcPr marL="1525" marR="1525" marT="1525" marB="0" anchor="b"/>
                </a:tc>
                <a:tc>
                  <a:txBody>
                    <a:bodyPr/>
                    <a:lstStyle/>
                    <a:p>
                      <a:pPr algn="ctr" fontAlgn="b"/>
                      <a:endParaRPr lang="en-AU" sz="1000" b="1" i="0" u="none" strike="noStrike" dirty="0">
                        <a:solidFill>
                          <a:srgbClr val="000000"/>
                        </a:solidFill>
                        <a:effectLst/>
                        <a:latin typeface="+mj-lt"/>
                      </a:endParaRPr>
                    </a:p>
                  </a:txBody>
                  <a:tcPr marL="1525" marR="1525" marT="1525" marB="0" anchor="b"/>
                </a:tc>
                <a:extLst>
                  <a:ext uri="{0D108BD9-81ED-4DB2-BD59-A6C34878D82A}">
                    <a16:rowId xmlns:a16="http://schemas.microsoft.com/office/drawing/2014/main" val="1629439303"/>
                  </a:ext>
                </a:extLst>
              </a:tr>
              <a:tr h="147487">
                <a:tc>
                  <a:txBody>
                    <a:bodyPr/>
                    <a:lstStyle/>
                    <a:p>
                      <a:pPr algn="ctr" fontAlgn="b"/>
                      <a:r>
                        <a:rPr lang="en-AU" sz="1000" b="1" i="0" u="none" strike="noStrike" dirty="0">
                          <a:solidFill>
                            <a:srgbClr val="000000"/>
                          </a:solidFill>
                          <a:effectLst/>
                          <a:latin typeface="+mj-lt"/>
                        </a:rPr>
                        <a:t>Volumetric Flow Meter 2</a:t>
                      </a:r>
                    </a:p>
                  </a:txBody>
                  <a:tcPr marL="1525" marR="1525" marT="1525" marB="0" anchor="b"/>
                </a:tc>
                <a:tc>
                  <a:txBody>
                    <a:bodyPr/>
                    <a:lstStyle/>
                    <a:p>
                      <a:pPr algn="ctr" fontAlgn="b"/>
                      <a:r>
                        <a:rPr lang="en-AU" sz="1000" b="1" i="0" u="none" strike="noStrike" dirty="0">
                          <a:solidFill>
                            <a:srgbClr val="000000"/>
                          </a:solidFill>
                          <a:effectLst/>
                          <a:latin typeface="+mj-lt"/>
                        </a:rPr>
                        <a:t>2.03296768001937E-174</a:t>
                      </a:r>
                    </a:p>
                  </a:txBody>
                  <a:tcPr marL="1525" marR="1525" marT="1525" marB="0" anchor="b"/>
                </a:tc>
                <a:extLst>
                  <a:ext uri="{0D108BD9-81ED-4DB2-BD59-A6C34878D82A}">
                    <a16:rowId xmlns:a16="http://schemas.microsoft.com/office/drawing/2014/main" val="2077524446"/>
                  </a:ext>
                </a:extLst>
              </a:tr>
              <a:tr h="147487">
                <a:tc>
                  <a:txBody>
                    <a:bodyPr/>
                    <a:lstStyle/>
                    <a:p>
                      <a:pPr algn="ctr" fontAlgn="b"/>
                      <a:endParaRPr lang="en-AU" sz="1000" b="1" i="0" u="none" strike="noStrike" dirty="0">
                        <a:solidFill>
                          <a:srgbClr val="000000"/>
                        </a:solidFill>
                        <a:effectLst/>
                        <a:latin typeface="+mj-lt"/>
                      </a:endParaRPr>
                    </a:p>
                  </a:txBody>
                  <a:tcPr marL="1525" marR="1525" marT="1525" marB="0" anchor="b"/>
                </a:tc>
                <a:tc>
                  <a:txBody>
                    <a:bodyPr/>
                    <a:lstStyle/>
                    <a:p>
                      <a:pPr algn="ctr" fontAlgn="b"/>
                      <a:endParaRPr lang="en-AU" sz="1000" b="1" i="0" u="none" strike="noStrike" dirty="0">
                        <a:solidFill>
                          <a:srgbClr val="000000"/>
                        </a:solidFill>
                        <a:effectLst/>
                        <a:latin typeface="+mj-lt"/>
                      </a:endParaRPr>
                    </a:p>
                  </a:txBody>
                  <a:tcPr marL="1525" marR="1525" marT="1525" marB="0" anchor="b"/>
                </a:tc>
                <a:extLst>
                  <a:ext uri="{0D108BD9-81ED-4DB2-BD59-A6C34878D82A}">
                    <a16:rowId xmlns:a16="http://schemas.microsoft.com/office/drawing/2014/main" val="2388985088"/>
                  </a:ext>
                </a:extLst>
              </a:tr>
              <a:tr h="147487">
                <a:tc>
                  <a:txBody>
                    <a:bodyPr/>
                    <a:lstStyle/>
                    <a:p>
                      <a:pPr algn="ctr" fontAlgn="b"/>
                      <a:r>
                        <a:rPr lang="en-AU" sz="1000" b="1" i="0" u="none" strike="noStrike" dirty="0">
                          <a:solidFill>
                            <a:srgbClr val="000000"/>
                          </a:solidFill>
                          <a:effectLst/>
                          <a:latin typeface="+mj-lt"/>
                        </a:rPr>
                        <a:t>Pump Speed (RPM)</a:t>
                      </a:r>
                    </a:p>
                  </a:txBody>
                  <a:tcPr marL="1525" marR="1525" marT="1525" marB="0" anchor="b"/>
                </a:tc>
                <a:tc>
                  <a:txBody>
                    <a:bodyPr/>
                    <a:lstStyle/>
                    <a:p>
                      <a:pPr algn="ctr" fontAlgn="b"/>
                      <a:r>
                        <a:rPr lang="en-AU" sz="1000" b="1" i="0" u="none" strike="noStrike" dirty="0">
                          <a:solidFill>
                            <a:srgbClr val="000000"/>
                          </a:solidFill>
                          <a:effectLst/>
                          <a:latin typeface="+mj-lt"/>
                        </a:rPr>
                        <a:t>1.68298540159804E-19</a:t>
                      </a:r>
                    </a:p>
                  </a:txBody>
                  <a:tcPr marL="1525" marR="1525" marT="1525" marB="0" anchor="b"/>
                </a:tc>
                <a:extLst>
                  <a:ext uri="{0D108BD9-81ED-4DB2-BD59-A6C34878D82A}">
                    <a16:rowId xmlns:a16="http://schemas.microsoft.com/office/drawing/2014/main" val="59883782"/>
                  </a:ext>
                </a:extLst>
              </a:tr>
              <a:tr h="147487">
                <a:tc>
                  <a:txBody>
                    <a:bodyPr/>
                    <a:lstStyle/>
                    <a:p>
                      <a:pPr algn="ctr" fontAlgn="b"/>
                      <a:endParaRPr lang="en-GB" sz="1000" b="1" i="0" u="none" strike="noStrike" dirty="0">
                        <a:solidFill>
                          <a:srgbClr val="000000"/>
                        </a:solidFill>
                        <a:effectLst/>
                        <a:latin typeface="+mj-lt"/>
                      </a:endParaRPr>
                    </a:p>
                  </a:txBody>
                  <a:tcPr marL="1525" marR="1525" marT="1525" marB="0" anchor="b"/>
                </a:tc>
                <a:tc>
                  <a:txBody>
                    <a:bodyPr/>
                    <a:lstStyle/>
                    <a:p>
                      <a:pPr algn="ctr" fontAlgn="b"/>
                      <a:endParaRPr lang="en-AU" sz="1000" b="1" i="0" u="none" strike="noStrike" dirty="0">
                        <a:solidFill>
                          <a:srgbClr val="000000"/>
                        </a:solidFill>
                        <a:effectLst/>
                        <a:latin typeface="+mj-lt"/>
                      </a:endParaRPr>
                    </a:p>
                  </a:txBody>
                  <a:tcPr marL="1525" marR="1525" marT="1525" marB="0" anchor="b"/>
                </a:tc>
                <a:extLst>
                  <a:ext uri="{0D108BD9-81ED-4DB2-BD59-A6C34878D82A}">
                    <a16:rowId xmlns:a16="http://schemas.microsoft.com/office/drawing/2014/main" val="3521281964"/>
                  </a:ext>
                </a:extLst>
              </a:tr>
              <a:tr h="147487">
                <a:tc>
                  <a:txBody>
                    <a:bodyPr/>
                    <a:lstStyle/>
                    <a:p>
                      <a:pPr algn="ctr" fontAlgn="b"/>
                      <a:r>
                        <a:rPr lang="en-GB" sz="1000" b="1" i="0" u="none" strike="noStrike" dirty="0">
                          <a:solidFill>
                            <a:srgbClr val="000000"/>
                          </a:solidFill>
                          <a:effectLst/>
                          <a:latin typeface="+mj-lt"/>
                        </a:rPr>
                        <a:t>Pump Torque </a:t>
                      </a:r>
                    </a:p>
                  </a:txBody>
                  <a:tcPr marL="1525" marR="1525" marT="1525" marB="0" anchor="b"/>
                </a:tc>
                <a:tc>
                  <a:txBody>
                    <a:bodyPr/>
                    <a:lstStyle/>
                    <a:p>
                      <a:pPr algn="ctr" fontAlgn="b"/>
                      <a:r>
                        <a:rPr lang="en-AU" sz="1000" b="1" i="0" u="none" strike="noStrike" dirty="0">
                          <a:solidFill>
                            <a:srgbClr val="000000"/>
                          </a:solidFill>
                          <a:effectLst/>
                          <a:latin typeface="+mj-lt"/>
                        </a:rPr>
                        <a:t>1.05511672349945E-102</a:t>
                      </a:r>
                    </a:p>
                  </a:txBody>
                  <a:tcPr marL="1525" marR="1525" marT="1525" marB="0" anchor="b"/>
                </a:tc>
                <a:extLst>
                  <a:ext uri="{0D108BD9-81ED-4DB2-BD59-A6C34878D82A}">
                    <a16:rowId xmlns:a16="http://schemas.microsoft.com/office/drawing/2014/main" val="3002673970"/>
                  </a:ext>
                </a:extLst>
              </a:tr>
              <a:tr h="147487">
                <a:tc>
                  <a:txBody>
                    <a:bodyPr/>
                    <a:lstStyle/>
                    <a:p>
                      <a:pPr algn="ctr" fontAlgn="b"/>
                      <a:endParaRPr lang="en-AU" sz="1000" b="1" i="0" u="none" strike="noStrike" dirty="0">
                        <a:solidFill>
                          <a:srgbClr val="000000"/>
                        </a:solidFill>
                        <a:effectLst/>
                        <a:latin typeface="+mj-lt"/>
                      </a:endParaRPr>
                    </a:p>
                  </a:txBody>
                  <a:tcPr marL="1525" marR="1525" marT="1525" marB="0" anchor="b"/>
                </a:tc>
                <a:tc>
                  <a:txBody>
                    <a:bodyPr/>
                    <a:lstStyle/>
                    <a:p>
                      <a:pPr algn="ctr" fontAlgn="b"/>
                      <a:endParaRPr lang="en-AU" sz="1000" b="1" i="0" u="none" strike="noStrike" dirty="0">
                        <a:solidFill>
                          <a:srgbClr val="000000"/>
                        </a:solidFill>
                        <a:effectLst/>
                        <a:latin typeface="+mj-lt"/>
                      </a:endParaRPr>
                    </a:p>
                  </a:txBody>
                  <a:tcPr marL="1525" marR="1525" marT="1525" marB="0" anchor="b"/>
                </a:tc>
                <a:extLst>
                  <a:ext uri="{0D108BD9-81ED-4DB2-BD59-A6C34878D82A}">
                    <a16:rowId xmlns:a16="http://schemas.microsoft.com/office/drawing/2014/main" val="2742560865"/>
                  </a:ext>
                </a:extLst>
              </a:tr>
              <a:tr h="147487">
                <a:tc>
                  <a:txBody>
                    <a:bodyPr/>
                    <a:lstStyle/>
                    <a:p>
                      <a:pPr algn="ctr" fontAlgn="b"/>
                      <a:r>
                        <a:rPr lang="en-GB" sz="1000" b="1" i="0" u="none" strike="noStrike" dirty="0">
                          <a:solidFill>
                            <a:srgbClr val="000000"/>
                          </a:solidFill>
                          <a:effectLst/>
                          <a:latin typeface="+mj-lt"/>
                        </a:rPr>
                        <a:t>Ambient Temperature</a:t>
                      </a:r>
                    </a:p>
                  </a:txBody>
                  <a:tcPr marL="1525" marR="1525" marT="1525" marB="0" anchor="b"/>
                </a:tc>
                <a:tc>
                  <a:txBody>
                    <a:bodyPr/>
                    <a:lstStyle/>
                    <a:p>
                      <a:pPr algn="ctr" fontAlgn="b"/>
                      <a:r>
                        <a:rPr lang="en-AU" sz="1000" b="1" i="0" u="none" strike="noStrike" dirty="0">
                          <a:solidFill>
                            <a:srgbClr val="000000"/>
                          </a:solidFill>
                          <a:effectLst/>
                          <a:latin typeface="+mj-lt"/>
                        </a:rPr>
                        <a:t>4.2051606515157E-09</a:t>
                      </a:r>
                    </a:p>
                  </a:txBody>
                  <a:tcPr marL="1525" marR="1525" marT="1525" marB="0" anchor="b"/>
                </a:tc>
                <a:extLst>
                  <a:ext uri="{0D108BD9-81ED-4DB2-BD59-A6C34878D82A}">
                    <a16:rowId xmlns:a16="http://schemas.microsoft.com/office/drawing/2014/main" val="973506622"/>
                  </a:ext>
                </a:extLst>
              </a:tr>
              <a:tr h="147487">
                <a:tc>
                  <a:txBody>
                    <a:bodyPr/>
                    <a:lstStyle/>
                    <a:p>
                      <a:pPr algn="ctr" fontAlgn="b"/>
                      <a:endParaRPr lang="en-AU" sz="1000" b="1" i="0" u="none" strike="noStrike" dirty="0">
                        <a:solidFill>
                          <a:srgbClr val="000000"/>
                        </a:solidFill>
                        <a:effectLst/>
                        <a:latin typeface="+mj-lt"/>
                      </a:endParaRPr>
                    </a:p>
                  </a:txBody>
                  <a:tcPr marL="1525" marR="1525" marT="1525" marB="0" anchor="b"/>
                </a:tc>
                <a:tc>
                  <a:txBody>
                    <a:bodyPr/>
                    <a:lstStyle/>
                    <a:p>
                      <a:pPr algn="ctr" fontAlgn="b"/>
                      <a:endParaRPr lang="en-AU" sz="1000" b="1" i="0" u="none" strike="noStrike" dirty="0">
                        <a:solidFill>
                          <a:srgbClr val="000000"/>
                        </a:solidFill>
                        <a:effectLst/>
                        <a:latin typeface="+mj-lt"/>
                      </a:endParaRPr>
                    </a:p>
                  </a:txBody>
                  <a:tcPr marL="1525" marR="1525" marT="1525" marB="0" anchor="b"/>
                </a:tc>
                <a:extLst>
                  <a:ext uri="{0D108BD9-81ED-4DB2-BD59-A6C34878D82A}">
                    <a16:rowId xmlns:a16="http://schemas.microsoft.com/office/drawing/2014/main" val="1388433810"/>
                  </a:ext>
                </a:extLst>
              </a:tr>
              <a:tr h="147487">
                <a:tc>
                  <a:txBody>
                    <a:bodyPr/>
                    <a:lstStyle/>
                    <a:p>
                      <a:pPr algn="ctr" fontAlgn="b"/>
                      <a:r>
                        <a:rPr lang="en-AU" sz="1000" b="1" i="0" u="none" strike="noStrike" dirty="0">
                          <a:solidFill>
                            <a:srgbClr val="000000"/>
                          </a:solidFill>
                          <a:effectLst/>
                          <a:latin typeface="+mj-lt"/>
                        </a:rPr>
                        <a:t>Horse Power</a:t>
                      </a:r>
                    </a:p>
                  </a:txBody>
                  <a:tcPr marL="1525" marR="1525" marT="1525" marB="0" anchor="b"/>
                </a:tc>
                <a:tc>
                  <a:txBody>
                    <a:bodyPr/>
                    <a:lstStyle/>
                    <a:p>
                      <a:pPr algn="ctr" fontAlgn="b"/>
                      <a:r>
                        <a:rPr lang="en-AU" sz="1000" b="1" i="0" u="none" strike="noStrike" dirty="0">
                          <a:solidFill>
                            <a:srgbClr val="000000"/>
                          </a:solidFill>
                          <a:effectLst/>
                          <a:latin typeface="+mj-lt"/>
                        </a:rPr>
                        <a:t>3.55241509315848E-219</a:t>
                      </a:r>
                    </a:p>
                  </a:txBody>
                  <a:tcPr marL="1525" marR="1525" marT="1525" marB="0" anchor="b"/>
                </a:tc>
                <a:extLst>
                  <a:ext uri="{0D108BD9-81ED-4DB2-BD59-A6C34878D82A}">
                    <a16:rowId xmlns:a16="http://schemas.microsoft.com/office/drawing/2014/main" val="2361535788"/>
                  </a:ext>
                </a:extLst>
              </a:tr>
              <a:tr h="147487">
                <a:tc>
                  <a:txBody>
                    <a:bodyPr/>
                    <a:lstStyle/>
                    <a:p>
                      <a:pPr algn="ctr" fontAlgn="b"/>
                      <a:endParaRPr lang="en-AU" sz="1000" b="1" i="0" u="none" strike="noStrike" dirty="0">
                        <a:solidFill>
                          <a:srgbClr val="000000"/>
                        </a:solidFill>
                        <a:effectLst/>
                        <a:latin typeface="+mj-lt"/>
                      </a:endParaRPr>
                    </a:p>
                  </a:txBody>
                  <a:tcPr marL="1525" marR="1525" marT="1525" marB="0" anchor="b"/>
                </a:tc>
                <a:tc>
                  <a:txBody>
                    <a:bodyPr/>
                    <a:lstStyle/>
                    <a:p>
                      <a:pPr algn="ctr" fontAlgn="b"/>
                      <a:endParaRPr lang="en-AU" sz="1000" b="1" i="0" u="none" strike="noStrike" dirty="0">
                        <a:solidFill>
                          <a:srgbClr val="000000"/>
                        </a:solidFill>
                        <a:effectLst/>
                        <a:latin typeface="+mj-lt"/>
                      </a:endParaRPr>
                    </a:p>
                  </a:txBody>
                  <a:tcPr marL="1525" marR="1525" marT="1525" marB="0" anchor="b"/>
                </a:tc>
                <a:extLst>
                  <a:ext uri="{0D108BD9-81ED-4DB2-BD59-A6C34878D82A}">
                    <a16:rowId xmlns:a16="http://schemas.microsoft.com/office/drawing/2014/main" val="3899383999"/>
                  </a:ext>
                </a:extLst>
              </a:tr>
              <a:tr h="147487">
                <a:tc>
                  <a:txBody>
                    <a:bodyPr/>
                    <a:lstStyle/>
                    <a:p>
                      <a:pPr algn="ctr" fontAlgn="b"/>
                      <a:r>
                        <a:rPr lang="en-AU" sz="1000" b="1" i="0" u="none" strike="noStrike" dirty="0">
                          <a:solidFill>
                            <a:srgbClr val="000000"/>
                          </a:solidFill>
                          <a:effectLst/>
                          <a:latin typeface="+mj-lt"/>
                        </a:rPr>
                        <a:t>Pump Efficiency</a:t>
                      </a:r>
                    </a:p>
                  </a:txBody>
                  <a:tcPr marL="1525" marR="1525" marT="1525" marB="0" anchor="b"/>
                </a:tc>
                <a:tc>
                  <a:txBody>
                    <a:bodyPr/>
                    <a:lstStyle/>
                    <a:p>
                      <a:pPr algn="ctr" fontAlgn="b"/>
                      <a:r>
                        <a:rPr lang="en-AU" sz="1000" b="1" i="0" u="none" strike="noStrike" dirty="0">
                          <a:solidFill>
                            <a:srgbClr val="000000"/>
                          </a:solidFill>
                          <a:effectLst/>
                          <a:latin typeface="+mj-lt"/>
                        </a:rPr>
                        <a:t>2.59198226750818E-152</a:t>
                      </a:r>
                    </a:p>
                  </a:txBody>
                  <a:tcPr marL="1525" marR="1525" marT="1525" marB="0" anchor="b"/>
                </a:tc>
                <a:extLst>
                  <a:ext uri="{0D108BD9-81ED-4DB2-BD59-A6C34878D82A}">
                    <a16:rowId xmlns:a16="http://schemas.microsoft.com/office/drawing/2014/main" val="1161402769"/>
                  </a:ext>
                </a:extLst>
              </a:tr>
              <a:tr h="147487">
                <a:tc>
                  <a:txBody>
                    <a:bodyPr/>
                    <a:lstStyle/>
                    <a:p>
                      <a:pPr algn="ctr" fontAlgn="b"/>
                      <a:endParaRPr lang="en-GB" sz="1000" b="1" i="0" u="none" strike="noStrike" dirty="0">
                        <a:solidFill>
                          <a:srgbClr val="000000"/>
                        </a:solidFill>
                        <a:effectLst/>
                        <a:latin typeface="+mj-lt"/>
                      </a:endParaRPr>
                    </a:p>
                  </a:txBody>
                  <a:tcPr marL="1525" marR="1525" marT="1525" marB="0" anchor="b"/>
                </a:tc>
                <a:tc>
                  <a:txBody>
                    <a:bodyPr/>
                    <a:lstStyle/>
                    <a:p>
                      <a:pPr algn="ctr" fontAlgn="b"/>
                      <a:endParaRPr lang="en-AU" sz="1000" b="1" i="0" u="none" strike="noStrike" dirty="0">
                        <a:solidFill>
                          <a:srgbClr val="000000"/>
                        </a:solidFill>
                        <a:effectLst/>
                        <a:latin typeface="+mj-lt"/>
                      </a:endParaRPr>
                    </a:p>
                  </a:txBody>
                  <a:tcPr marL="1525" marR="1525" marT="1525" marB="0" anchor="b"/>
                </a:tc>
                <a:extLst>
                  <a:ext uri="{0D108BD9-81ED-4DB2-BD59-A6C34878D82A}">
                    <a16:rowId xmlns:a16="http://schemas.microsoft.com/office/drawing/2014/main" val="101322389"/>
                  </a:ext>
                </a:extLst>
              </a:tr>
            </a:tbl>
          </a:graphicData>
        </a:graphic>
      </p:graphicFrame>
      <p:graphicFrame>
        <p:nvGraphicFramePr>
          <p:cNvPr id="6" name="Chart 5">
            <a:extLst>
              <a:ext uri="{FF2B5EF4-FFF2-40B4-BE49-F238E27FC236}">
                <a16:creationId xmlns:a16="http://schemas.microsoft.com/office/drawing/2014/main" id="{D1ABC37A-BBA1-48A2-B637-09CCB2463660}"/>
              </a:ext>
            </a:extLst>
          </p:cNvPr>
          <p:cNvGraphicFramePr>
            <a:graphicFrameLocks/>
          </p:cNvGraphicFramePr>
          <p:nvPr>
            <p:extLst>
              <p:ext uri="{D42A27DB-BD31-4B8C-83A1-F6EECF244321}">
                <p14:modId xmlns:p14="http://schemas.microsoft.com/office/powerpoint/2010/main" val="3242805481"/>
              </p:ext>
            </p:extLst>
          </p:nvPr>
        </p:nvGraphicFramePr>
        <p:xfrm>
          <a:off x="171451" y="986591"/>
          <a:ext cx="8564776" cy="268302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247</TotalTime>
  <Words>377</Words>
  <Application>Microsoft Office PowerPoint</Application>
  <PresentationFormat>Custom</PresentationFormat>
  <Paragraphs>35</Paragraphs>
  <Slides>5</Slides>
  <Notes>2</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Box &amp; Whisker Plot, show a clear signature difference between that of normal behaviour and that of Failure with Pump Torque, Pump Efficiency, Horse Power showing the 3 largest variances.</vt:lpstr>
      <vt:lpstr>Correlation analyses across datasets yield particularly interesting insights with Pump Speed , Pump Torque, Ambient Temp., Volumetric Flow Meter 1 &amp; 2 and Pump Efficiency are negatively correlated with Pump Failure in the Rolling Mean Data, whilst Horse Power, Volumetric Flow Meter 1 and Pump Efficiency show a subsequently strong positive correlation in the Rolling Stdev  Dataset. </vt:lpstr>
      <vt:lpstr>Lastly, analysis of the statistical significance of variables contributing towards Pump Failure reveal that with a R Squared of 0.78, a linear model is a good fit for the data with both Rolling Mean and Rolling Standard Deviation datasets contributing key information to understand Pump Failure mechan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Ravi Chandra.dcp</cp:lastModifiedBy>
  <cp:revision>103</cp:revision>
  <dcterms:created xsi:type="dcterms:W3CDTF">2020-04-12T13:23:13Z</dcterms:created>
  <dcterms:modified xsi:type="dcterms:W3CDTF">2020-11-24T07:44:30Z</dcterms:modified>
</cp:coreProperties>
</file>